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3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3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5" r:id="rId3"/>
    <p:sldMasterId id="2147483721" r:id="rId4"/>
    <p:sldMasterId id="2147483743" r:id="rId5"/>
  </p:sldMasterIdLst>
  <p:notesMasterIdLst>
    <p:notesMasterId r:id="rId120"/>
  </p:notesMasterIdLst>
  <p:handoutMasterIdLst>
    <p:handoutMasterId r:id="rId121"/>
  </p:handoutMasterIdLst>
  <p:sldIdLst>
    <p:sldId id="1511" r:id="rId6"/>
    <p:sldId id="1510" r:id="rId7"/>
    <p:sldId id="1512" r:id="rId8"/>
    <p:sldId id="1236" r:id="rId9"/>
    <p:sldId id="1277" r:id="rId10"/>
    <p:sldId id="1238" r:id="rId11"/>
    <p:sldId id="571" r:id="rId12"/>
    <p:sldId id="1296" r:id="rId13"/>
    <p:sldId id="584" r:id="rId14"/>
    <p:sldId id="1276" r:id="rId15"/>
    <p:sldId id="1298" r:id="rId16"/>
    <p:sldId id="413" r:id="rId17"/>
    <p:sldId id="1240" r:id="rId18"/>
    <p:sldId id="540" r:id="rId19"/>
    <p:sldId id="615" r:id="rId20"/>
    <p:sldId id="468" r:id="rId21"/>
    <p:sldId id="677" r:id="rId22"/>
    <p:sldId id="1241" r:id="rId23"/>
    <p:sldId id="1507" r:id="rId24"/>
    <p:sldId id="1242" r:id="rId25"/>
    <p:sldId id="707" r:id="rId26"/>
    <p:sldId id="1243" r:id="rId27"/>
    <p:sldId id="1244" r:id="rId28"/>
    <p:sldId id="1245" r:id="rId29"/>
    <p:sldId id="626" r:id="rId30"/>
    <p:sldId id="744" r:id="rId31"/>
    <p:sldId id="261" r:id="rId32"/>
    <p:sldId id="270" r:id="rId33"/>
    <p:sldId id="745" r:id="rId34"/>
    <p:sldId id="1247" r:id="rId35"/>
    <p:sldId id="1248" r:id="rId36"/>
    <p:sldId id="260" r:id="rId37"/>
    <p:sldId id="748" r:id="rId38"/>
    <p:sldId id="749" r:id="rId39"/>
    <p:sldId id="1249" r:id="rId40"/>
    <p:sldId id="1250" r:id="rId41"/>
    <p:sldId id="752" r:id="rId42"/>
    <p:sldId id="753" r:id="rId43"/>
    <p:sldId id="258" r:id="rId44"/>
    <p:sldId id="772" r:id="rId45"/>
    <p:sldId id="1503" r:id="rId46"/>
    <p:sldId id="1504" r:id="rId47"/>
    <p:sldId id="776" r:id="rId48"/>
    <p:sldId id="756" r:id="rId49"/>
    <p:sldId id="1251" r:id="rId50"/>
    <p:sldId id="1252" r:id="rId51"/>
    <p:sldId id="1253" r:id="rId52"/>
    <p:sldId id="1255" r:id="rId53"/>
    <p:sldId id="1264" r:id="rId54"/>
    <p:sldId id="1337" r:id="rId55"/>
    <p:sldId id="1338" r:id="rId56"/>
    <p:sldId id="1460" r:id="rId57"/>
    <p:sldId id="1287" r:id="rId58"/>
    <p:sldId id="1299" r:id="rId59"/>
    <p:sldId id="1300" r:id="rId60"/>
    <p:sldId id="1290" r:id="rId61"/>
    <p:sldId id="905" r:id="rId62"/>
    <p:sldId id="1301" r:id="rId63"/>
    <p:sldId id="1302" r:id="rId64"/>
    <p:sldId id="1292" r:id="rId65"/>
    <p:sldId id="1303" r:id="rId66"/>
    <p:sldId id="1304" r:id="rId67"/>
    <p:sldId id="1305" r:id="rId68"/>
    <p:sldId id="1306" r:id="rId69"/>
    <p:sldId id="1286" r:id="rId70"/>
    <p:sldId id="1307" r:id="rId71"/>
    <p:sldId id="1308" r:id="rId72"/>
    <p:sldId id="1291" r:id="rId73"/>
    <p:sldId id="489" r:id="rId74"/>
    <p:sldId id="1288" r:id="rId75"/>
    <p:sldId id="1497" r:id="rId76"/>
    <p:sldId id="1498" r:id="rId77"/>
    <p:sldId id="1499" r:id="rId78"/>
    <p:sldId id="1501" r:id="rId79"/>
    <p:sldId id="1502" r:id="rId80"/>
    <p:sldId id="1309" r:id="rId81"/>
    <p:sldId id="1310" r:id="rId82"/>
    <p:sldId id="1311" r:id="rId83"/>
    <p:sldId id="1312" r:id="rId84"/>
    <p:sldId id="1313" r:id="rId85"/>
    <p:sldId id="1314" r:id="rId86"/>
    <p:sldId id="1316" r:id="rId87"/>
    <p:sldId id="1317" r:id="rId88"/>
    <p:sldId id="1318" r:id="rId89"/>
    <p:sldId id="1319" r:id="rId90"/>
    <p:sldId id="1320" r:id="rId91"/>
    <p:sldId id="1321" r:id="rId92"/>
    <p:sldId id="1322" r:id="rId93"/>
    <p:sldId id="1323" r:id="rId94"/>
    <p:sldId id="1324" r:id="rId95"/>
    <p:sldId id="1325" r:id="rId96"/>
    <p:sldId id="1473" r:id="rId97"/>
    <p:sldId id="1480" r:id="rId98"/>
    <p:sldId id="1481" r:id="rId99"/>
    <p:sldId id="1482" r:id="rId100"/>
    <p:sldId id="1483" r:id="rId101"/>
    <p:sldId id="1326" r:id="rId102"/>
    <p:sldId id="1340" r:id="rId103"/>
    <p:sldId id="1328" r:id="rId104"/>
    <p:sldId id="1329" r:id="rId105"/>
    <p:sldId id="1330" r:id="rId106"/>
    <p:sldId id="1331" r:id="rId107"/>
    <p:sldId id="1332" r:id="rId108"/>
    <p:sldId id="1333" r:id="rId109"/>
    <p:sldId id="1334" r:id="rId110"/>
    <p:sldId id="1335" r:id="rId111"/>
    <p:sldId id="1005" r:id="rId112"/>
    <p:sldId id="1505" r:id="rId113"/>
    <p:sldId id="1459" r:id="rId114"/>
    <p:sldId id="1461" r:id="rId115"/>
    <p:sldId id="1465" r:id="rId116"/>
    <p:sldId id="1466" r:id="rId117"/>
    <p:sldId id="1462" r:id="rId118"/>
    <p:sldId id="1506" r:id="rId119"/>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3D74"/>
    <a:srgbClr val="7E0015"/>
    <a:srgbClr val="52CBBE"/>
    <a:srgbClr val="FF5969"/>
    <a:srgbClr val="7BD7CC"/>
    <a:srgbClr val="92D050"/>
    <a:srgbClr val="F18142"/>
    <a:srgbClr val="055B2A"/>
    <a:srgbClr val="FEC630"/>
    <a:srgbClr val="FFA7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97" autoAdjust="0"/>
    <p:restoredTop sz="96374" autoAdjust="0"/>
  </p:normalViewPr>
  <p:slideViewPr>
    <p:cSldViewPr>
      <p:cViewPr varScale="1">
        <p:scale>
          <a:sx n="91" d="100"/>
          <a:sy n="91" d="100"/>
        </p:scale>
        <p:origin x="528" y="56"/>
      </p:cViewPr>
      <p:guideLst>
        <p:guide orient="horz" pos="1620"/>
        <p:guide pos="2880"/>
      </p:guideLst>
    </p:cSldViewPr>
  </p:slideViewPr>
  <p:notesTextViewPr>
    <p:cViewPr>
      <p:scale>
        <a:sx n="3" d="2"/>
        <a:sy n="3" d="2"/>
      </p:scale>
      <p:origin x="0" y="0"/>
    </p:cViewPr>
  </p:notesTextViewPr>
  <p:sorterViewPr>
    <p:cViewPr>
      <p:scale>
        <a:sx n="150" d="100"/>
        <a:sy n="150" d="100"/>
      </p:scale>
      <p:origin x="0" y="-22644"/>
    </p:cViewPr>
  </p:sorterViewPr>
  <p:notesViewPr>
    <p:cSldViewPr>
      <p:cViewPr varScale="1">
        <p:scale>
          <a:sx n="87" d="100"/>
          <a:sy n="87" d="100"/>
        </p:scale>
        <p:origin x="3840" y="9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viewProps" Target="viewProps.xml"/><Relationship Id="rId5" Type="http://schemas.openxmlformats.org/officeDocument/2006/relationships/slideMaster" Target="slideMasters/slideMaster5.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theme" Target="theme/theme1.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slideMaster" Target="slideMasters/slideMaster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notesMaster" Target="notesMasters/notesMaster1.xml"/><Relationship Id="rId125"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handoutMaster" Target="handoutMasters/handoutMaster1.xml"/><Relationship Id="rId3" Type="http://schemas.openxmlformats.org/officeDocument/2006/relationships/slideMaster" Target="slideMasters/slideMaster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oleObject" Target="file:///C:\Users\pc43\Desktop\PPT.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spPr>
            <a:solidFill>
              <a:srgbClr val="FF5969"/>
            </a:soli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c:spPr>
          <c:invertIfNegative val="0"/>
          <c:dPt>
            <c:idx val="1"/>
            <c:invertIfNegative val="0"/>
            <c:bubble3D val="0"/>
            <c:spPr>
              <a:solidFill>
                <a:srgbClr val="52CBBE"/>
              </a:soli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c:spPr>
            <c:extLst>
              <c:ext xmlns:c16="http://schemas.microsoft.com/office/drawing/2014/chart" uri="{C3380CC4-5D6E-409C-BE32-E72D297353CC}">
                <c16:uniqueId val="{00000001-71A9-4E46-B658-AF60DF02A3EE}"/>
              </c:ext>
            </c:extLst>
          </c:dPt>
          <c:dPt>
            <c:idx val="2"/>
            <c:invertIfNegative val="0"/>
            <c:bubble3D val="0"/>
            <c:spPr>
              <a:solidFill>
                <a:srgbClr val="FEC630"/>
              </a:soli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c:spPr>
            <c:extLst>
              <c:ext xmlns:c16="http://schemas.microsoft.com/office/drawing/2014/chart" uri="{C3380CC4-5D6E-409C-BE32-E72D297353CC}">
                <c16:uniqueId val="{00000002-71A9-4E46-B658-AF60DF02A3EE}"/>
              </c:ext>
            </c:extLst>
          </c:dPt>
          <c:dPt>
            <c:idx val="3"/>
            <c:invertIfNegative val="0"/>
            <c:bubble3D val="0"/>
            <c:spPr>
              <a:solidFill>
                <a:srgbClr val="5D7373"/>
              </a:soli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c:spPr>
            <c:extLst>
              <c:ext xmlns:c16="http://schemas.microsoft.com/office/drawing/2014/chart" uri="{C3380CC4-5D6E-409C-BE32-E72D297353CC}">
                <c16:uniqueId val="{00000003-71A9-4E46-B658-AF60DF02A3EE}"/>
              </c:ext>
            </c:extLst>
          </c:dPt>
          <c:dPt>
            <c:idx val="4"/>
            <c:invertIfNegative val="0"/>
            <c:bubble3D val="0"/>
            <c:spPr>
              <a:solidFill>
                <a:srgbClr val="92D050"/>
              </a:soli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c:spPr>
            <c:extLst>
              <c:ext xmlns:c16="http://schemas.microsoft.com/office/drawing/2014/chart" uri="{C3380CC4-5D6E-409C-BE32-E72D297353CC}">
                <c16:uniqueId val="{00000004-71A9-4E46-B658-AF60DF02A3EE}"/>
              </c:ext>
            </c:extLst>
          </c:dPt>
          <c:dPt>
            <c:idx val="5"/>
            <c:invertIfNegative val="0"/>
            <c:bubble3D val="0"/>
            <c:spPr>
              <a:solidFill>
                <a:srgbClr val="00A0A8"/>
              </a:soli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c:spPr>
            <c:extLst>
              <c:ext xmlns:c16="http://schemas.microsoft.com/office/drawing/2014/chart" uri="{C3380CC4-5D6E-409C-BE32-E72D297353CC}">
                <c16:uniqueId val="{00000005-71A9-4E46-B658-AF60DF02A3EE}"/>
              </c:ext>
            </c:extLst>
          </c:dPt>
          <c:dLbls>
            <c:dLbl>
              <c:idx val="0"/>
              <c:layout>
                <c:manualLayout>
                  <c:x val="1.1666666666666667E-2"/>
                  <c:y val="-1.89430211821757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1A9-4E46-B658-AF60DF02A3EE}"/>
                </c:ext>
              </c:extLst>
            </c:dLbl>
            <c:dLbl>
              <c:idx val="1"/>
              <c:layout>
                <c:manualLayout>
                  <c:x val="1.3333333333333303E-2"/>
                  <c:y val="-2.65202296550461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1A9-4E46-B658-AF60DF02A3EE}"/>
                </c:ext>
              </c:extLst>
            </c:dLbl>
            <c:dLbl>
              <c:idx val="2"/>
              <c:layout>
                <c:manualLayout>
                  <c:x val="6.6666666666666671E-3"/>
                  <c:y val="-1.8943021182175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1A9-4E46-B658-AF60DF02A3EE}"/>
                </c:ext>
              </c:extLst>
            </c:dLbl>
            <c:dLbl>
              <c:idx val="3"/>
              <c:layout>
                <c:manualLayout>
                  <c:x val="8.3333333333332118E-3"/>
                  <c:y val="-2.65202296550460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1A9-4E46-B658-AF60DF02A3EE}"/>
                </c:ext>
              </c:extLst>
            </c:dLbl>
            <c:dLbl>
              <c:idx val="4"/>
              <c:layout>
                <c:manualLayout>
                  <c:x val="0.01"/>
                  <c:y val="-1.51544169457406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1A9-4E46-B658-AF60DF02A3EE}"/>
                </c:ext>
              </c:extLst>
            </c:dLbl>
            <c:dLbl>
              <c:idx val="5"/>
              <c:layout>
                <c:manualLayout>
                  <c:x val="8.3333333333333332E-3"/>
                  <c:y val="-2.27316254186109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1A9-4E46-B658-AF60DF02A3EE}"/>
                </c:ext>
              </c:extLst>
            </c:dLbl>
            <c:dLbl>
              <c:idx val="6"/>
              <c:layout>
                <c:manualLayout>
                  <c:x val="0.01"/>
                  <c:y val="-1.51544169457407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1A9-4E46-B658-AF60DF02A3EE}"/>
                </c:ext>
              </c:extLst>
            </c:dLbl>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Gotham Medium" panose="02000603030000020004"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8</c:f>
              <c:strCache>
                <c:ptCount val="7"/>
                <c:pt idx="0">
                  <c:v>Arts</c:v>
                </c:pt>
                <c:pt idx="1">
                  <c:v>Science</c:v>
                </c:pt>
                <c:pt idx="2">
                  <c:v>Commerse</c:v>
                </c:pt>
                <c:pt idx="3">
                  <c:v>Engineering</c:v>
                </c:pt>
                <c:pt idx="4">
                  <c:v>Medical Science</c:v>
                </c:pt>
                <c:pt idx="5">
                  <c:v>Management</c:v>
                </c:pt>
                <c:pt idx="6">
                  <c:v>Law</c:v>
                </c:pt>
              </c:strCache>
            </c:strRef>
          </c:cat>
          <c:val>
            <c:numRef>
              <c:f>Sheet1!$C$2:$C$8</c:f>
              <c:numCache>
                <c:formatCode>General</c:formatCode>
                <c:ptCount val="7"/>
                <c:pt idx="0">
                  <c:v>93.49</c:v>
                </c:pt>
                <c:pt idx="1">
                  <c:v>47.13</c:v>
                </c:pt>
                <c:pt idx="2">
                  <c:v>40.299999999999997</c:v>
                </c:pt>
                <c:pt idx="3">
                  <c:v>38.520000000000003</c:v>
                </c:pt>
                <c:pt idx="4">
                  <c:v>11.96</c:v>
                </c:pt>
                <c:pt idx="5">
                  <c:v>6.5</c:v>
                </c:pt>
                <c:pt idx="6">
                  <c:v>3.98</c:v>
                </c:pt>
              </c:numCache>
            </c:numRef>
          </c:val>
          <c:extLst>
            <c:ext xmlns:c16="http://schemas.microsoft.com/office/drawing/2014/chart" uri="{C3380CC4-5D6E-409C-BE32-E72D297353CC}">
              <c16:uniqueId val="{00000007-71A9-4E46-B658-AF60DF02A3EE}"/>
            </c:ext>
          </c:extLst>
        </c:ser>
        <c:dLbls>
          <c:showLegendKey val="0"/>
          <c:showVal val="1"/>
          <c:showCatName val="0"/>
          <c:showSerName val="0"/>
          <c:showPercent val="0"/>
          <c:showBubbleSize val="0"/>
        </c:dLbls>
        <c:gapWidth val="150"/>
        <c:shape val="box"/>
        <c:axId val="356955424"/>
        <c:axId val="356955752"/>
        <c:axId val="0"/>
      </c:bar3DChart>
      <c:catAx>
        <c:axId val="356955424"/>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Gotham Medium" panose="02000603030000020004" pitchFamily="2" charset="0"/>
                <a:ea typeface="+mn-ea"/>
                <a:cs typeface="+mn-cs"/>
              </a:defRPr>
            </a:pPr>
            <a:endParaRPr lang="en-US"/>
          </a:p>
        </c:txPr>
        <c:crossAx val="356955752"/>
        <c:crosses val="autoZero"/>
        <c:auto val="1"/>
        <c:lblAlgn val="ctr"/>
        <c:lblOffset val="100"/>
        <c:noMultiLvlLbl val="0"/>
      </c:catAx>
      <c:valAx>
        <c:axId val="35695575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solidFill>
                <a:latin typeface="Gotham Medium" panose="02000603030000020004" pitchFamily="2" charset="0"/>
                <a:ea typeface="+mn-ea"/>
                <a:cs typeface="+mn-cs"/>
              </a:defRPr>
            </a:pPr>
            <a:endParaRPr lang="en-US"/>
          </a:p>
        </c:txPr>
        <c:crossAx val="35695542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b="1">
          <a:solidFill>
            <a:schemeClr val="tx1"/>
          </a:solidFill>
          <a:latin typeface="Gotham Medium" panose="02000603030000020004" pitchFamily="2"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347">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5876258-4E67-422A-8ACB-4A32102E7FB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5D590F1C-19E6-4D4A-97DE-EA2B716341A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B5243AA-C28C-4386-BAF5-90715D80E831}" type="datetimeFigureOut">
              <a:rPr lang="en-IN" smtClean="0"/>
              <a:t>28-10-2021</a:t>
            </a:fld>
            <a:endParaRPr lang="en-IN"/>
          </a:p>
        </p:txBody>
      </p:sp>
      <p:sp>
        <p:nvSpPr>
          <p:cNvPr id="4" name="Footer Placeholder 3">
            <a:extLst>
              <a:ext uri="{FF2B5EF4-FFF2-40B4-BE49-F238E27FC236}">
                <a16:creationId xmlns:a16="http://schemas.microsoft.com/office/drawing/2014/main" id="{31623C16-01DA-402E-89B1-E99F0181557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F8FABD24-79AF-4B74-8CF8-96B77FD1EA0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A3BD051-EA48-4024-9648-F9DB607BCA47}" type="slidenum">
              <a:rPr lang="en-IN" smtClean="0"/>
              <a:t>‹#›</a:t>
            </a:fld>
            <a:endParaRPr lang="en-IN"/>
          </a:p>
        </p:txBody>
      </p:sp>
    </p:spTree>
    <p:extLst>
      <p:ext uri="{BB962C8B-B14F-4D97-AF65-F5344CB8AC3E}">
        <p14:creationId xmlns:p14="http://schemas.microsoft.com/office/powerpoint/2010/main" val="246923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5F8BF0E-D1F3-48CA-BED5-FAC63DCA0203}" type="datetimeFigureOut">
              <a:rPr lang="en-US" smtClean="0"/>
              <a:pPr/>
              <a:t>10/28/20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EE2428B-A62D-41C2-95A9-E65F1C273765}" type="slidenum">
              <a:rPr lang="en-US" smtClean="0"/>
              <a:pPr/>
              <a:t>‹#›</a:t>
            </a:fld>
            <a:endParaRPr lang="en-US" dirty="0"/>
          </a:p>
        </p:txBody>
      </p:sp>
    </p:spTree>
    <p:extLst>
      <p:ext uri="{BB962C8B-B14F-4D97-AF65-F5344CB8AC3E}">
        <p14:creationId xmlns:p14="http://schemas.microsoft.com/office/powerpoint/2010/main" val="16889521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24F282-BE79-6146-BA61-9EEBC12ED389}" type="slidenum">
              <a:rPr lang="en-US" smtClean="0"/>
              <a:t>6</a:t>
            </a:fld>
            <a:endParaRPr lang="en-US"/>
          </a:p>
        </p:txBody>
      </p:sp>
    </p:spTree>
    <p:extLst>
      <p:ext uri="{BB962C8B-B14F-4D97-AF65-F5344CB8AC3E}">
        <p14:creationId xmlns:p14="http://schemas.microsoft.com/office/powerpoint/2010/main" val="2616157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g7451b6a2d1_0_1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4" name="Google Shape;184;g7451b6a2d1_0_1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
        <p:cNvGrpSpPr/>
        <p:nvPr/>
      </p:nvGrpSpPr>
      <p:grpSpPr>
        <a:xfrm>
          <a:off x="0" y="0"/>
          <a:ext cx="0" cy="0"/>
          <a:chOff x="0" y="0"/>
          <a:chExt cx="0" cy="0"/>
        </a:xfrm>
      </p:grpSpPr>
      <p:sp>
        <p:nvSpPr>
          <p:cNvPr id="194" name="Google Shape;194;g723c9d33c8_0_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 name="Google Shape;195;g723c9d33c8_0_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439545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g7451b6a2d1_0_1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4" name="Google Shape;184;g7451b6a2d1_0_1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816294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7"/>
        <p:cNvGrpSpPr/>
        <p:nvPr/>
      </p:nvGrpSpPr>
      <p:grpSpPr>
        <a:xfrm>
          <a:off x="0" y="0"/>
          <a:ext cx="0" cy="0"/>
          <a:chOff x="0" y="0"/>
          <a:chExt cx="0" cy="0"/>
        </a:xfrm>
      </p:grpSpPr>
      <p:sp>
        <p:nvSpPr>
          <p:cNvPr id="448" name="Google Shape;448;g7451b6a2d1_0_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9" name="Google Shape;449;g7451b6a2d1_0_1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562262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7"/>
        <p:cNvGrpSpPr/>
        <p:nvPr/>
      </p:nvGrpSpPr>
      <p:grpSpPr>
        <a:xfrm>
          <a:off x="0" y="0"/>
          <a:ext cx="0" cy="0"/>
          <a:chOff x="0" y="0"/>
          <a:chExt cx="0" cy="0"/>
        </a:xfrm>
      </p:grpSpPr>
      <p:sp>
        <p:nvSpPr>
          <p:cNvPr id="448" name="Google Shape;448;g7451b6a2d1_0_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9" name="Google Shape;449;g7451b6a2d1_0_1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474791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g7451b6a2d1_0_1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4" name="Google Shape;184;g7451b6a2d1_0_1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219108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
        <p:cNvGrpSpPr/>
        <p:nvPr/>
      </p:nvGrpSpPr>
      <p:grpSpPr>
        <a:xfrm>
          <a:off x="0" y="0"/>
          <a:ext cx="0" cy="0"/>
          <a:chOff x="0" y="0"/>
          <a:chExt cx="0" cy="0"/>
        </a:xfrm>
      </p:grpSpPr>
      <p:sp>
        <p:nvSpPr>
          <p:cNvPr id="194" name="Google Shape;194;g723c9d33c8_0_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 name="Google Shape;195;g723c9d33c8_0_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
        <p:cNvGrpSpPr/>
        <p:nvPr/>
      </p:nvGrpSpPr>
      <p:grpSpPr>
        <a:xfrm>
          <a:off x="0" y="0"/>
          <a:ext cx="0" cy="0"/>
          <a:chOff x="0" y="0"/>
          <a:chExt cx="0" cy="0"/>
        </a:xfrm>
      </p:grpSpPr>
      <p:sp>
        <p:nvSpPr>
          <p:cNvPr id="147" name="Google Shape;147;g723c9d33c8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8" name="Google Shape;148;g723c9d33c8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EE2428B-A62D-41C2-95A9-E65F1C273765}" type="slidenum">
              <a:rPr lang="en-US" smtClean="0"/>
              <a:pPr/>
              <a:t>40</a:t>
            </a:fld>
            <a:endParaRPr lang="en-US" dirty="0"/>
          </a:p>
        </p:txBody>
      </p:sp>
    </p:spTree>
    <p:extLst>
      <p:ext uri="{BB962C8B-B14F-4D97-AF65-F5344CB8AC3E}">
        <p14:creationId xmlns:p14="http://schemas.microsoft.com/office/powerpoint/2010/main" val="31050005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g7451b6a2d1_0_1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4" name="Google Shape;184;g7451b6a2d1_0_1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3930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24F282-BE79-6146-BA61-9EEBC12ED389}" type="slidenum">
              <a:rPr lang="en-US" smtClean="0"/>
              <a:t>10</a:t>
            </a:fld>
            <a:endParaRPr lang="en-US"/>
          </a:p>
        </p:txBody>
      </p:sp>
    </p:spTree>
    <p:extLst>
      <p:ext uri="{BB962C8B-B14F-4D97-AF65-F5344CB8AC3E}">
        <p14:creationId xmlns:p14="http://schemas.microsoft.com/office/powerpoint/2010/main" val="9204086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
        <p:cNvGrpSpPr/>
        <p:nvPr/>
      </p:nvGrpSpPr>
      <p:grpSpPr>
        <a:xfrm>
          <a:off x="0" y="0"/>
          <a:ext cx="0" cy="0"/>
          <a:chOff x="0" y="0"/>
          <a:chExt cx="0" cy="0"/>
        </a:xfrm>
      </p:grpSpPr>
      <p:sp>
        <p:nvSpPr>
          <p:cNvPr id="194" name="Google Shape;194;g723c9d33c8_0_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 name="Google Shape;195;g723c9d33c8_0_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25569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7"/>
        <p:cNvGrpSpPr/>
        <p:nvPr/>
      </p:nvGrpSpPr>
      <p:grpSpPr>
        <a:xfrm>
          <a:off x="0" y="0"/>
          <a:ext cx="0" cy="0"/>
          <a:chOff x="0" y="0"/>
          <a:chExt cx="0" cy="0"/>
        </a:xfrm>
      </p:grpSpPr>
      <p:sp>
        <p:nvSpPr>
          <p:cNvPr id="448" name="Google Shape;448;g7451b6a2d1_0_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9" name="Google Shape;449;g7451b6a2d1_0_1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082724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7"/>
        <p:cNvGrpSpPr/>
        <p:nvPr/>
      </p:nvGrpSpPr>
      <p:grpSpPr>
        <a:xfrm>
          <a:off x="0" y="0"/>
          <a:ext cx="0" cy="0"/>
          <a:chOff x="0" y="0"/>
          <a:chExt cx="0" cy="0"/>
        </a:xfrm>
      </p:grpSpPr>
      <p:sp>
        <p:nvSpPr>
          <p:cNvPr id="448" name="Google Shape;448;g7451b6a2d1_0_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9" name="Google Shape;449;g7451b6a2d1_0_1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978264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7"/>
        <p:cNvGrpSpPr/>
        <p:nvPr/>
      </p:nvGrpSpPr>
      <p:grpSpPr>
        <a:xfrm>
          <a:off x="0" y="0"/>
          <a:ext cx="0" cy="0"/>
          <a:chOff x="0" y="0"/>
          <a:chExt cx="0" cy="0"/>
        </a:xfrm>
      </p:grpSpPr>
      <p:sp>
        <p:nvSpPr>
          <p:cNvPr id="448" name="Google Shape;448;g7451b6a2d1_0_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9" name="Google Shape;449;g7451b6a2d1_0_1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148906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
        <p:cNvGrpSpPr/>
        <p:nvPr/>
      </p:nvGrpSpPr>
      <p:grpSpPr>
        <a:xfrm>
          <a:off x="0" y="0"/>
          <a:ext cx="0" cy="0"/>
          <a:chOff x="0" y="0"/>
          <a:chExt cx="0" cy="0"/>
        </a:xfrm>
      </p:grpSpPr>
      <p:sp>
        <p:nvSpPr>
          <p:cNvPr id="194" name="Google Shape;194;g723c9d33c8_0_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 name="Google Shape;195;g723c9d33c8_0_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598974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
        <p:cNvGrpSpPr/>
        <p:nvPr/>
      </p:nvGrpSpPr>
      <p:grpSpPr>
        <a:xfrm>
          <a:off x="0" y="0"/>
          <a:ext cx="0" cy="0"/>
          <a:chOff x="0" y="0"/>
          <a:chExt cx="0" cy="0"/>
        </a:xfrm>
      </p:grpSpPr>
      <p:sp>
        <p:nvSpPr>
          <p:cNvPr id="194" name="Google Shape;194;g723c9d33c8_0_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 name="Google Shape;195;g723c9d33c8_0_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127888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
        <p:cNvGrpSpPr/>
        <p:nvPr/>
      </p:nvGrpSpPr>
      <p:grpSpPr>
        <a:xfrm>
          <a:off x="0" y="0"/>
          <a:ext cx="0" cy="0"/>
          <a:chOff x="0" y="0"/>
          <a:chExt cx="0" cy="0"/>
        </a:xfrm>
      </p:grpSpPr>
      <p:sp>
        <p:nvSpPr>
          <p:cNvPr id="194" name="Google Shape;194;g723c9d33c8_0_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 name="Google Shape;195;g723c9d33c8_0_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4265434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24F282-BE79-6146-BA61-9EEBC12ED389}" type="slidenum">
              <a:rPr lang="en-US" smtClean="0"/>
              <a:t>53</a:t>
            </a:fld>
            <a:endParaRPr lang="en-US"/>
          </a:p>
        </p:txBody>
      </p:sp>
    </p:spTree>
    <p:extLst>
      <p:ext uri="{BB962C8B-B14F-4D97-AF65-F5344CB8AC3E}">
        <p14:creationId xmlns:p14="http://schemas.microsoft.com/office/powerpoint/2010/main" val="5001611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24F282-BE79-6146-BA61-9EEBC12ED389}" type="slidenum">
              <a:rPr lang="en-US" smtClean="0"/>
              <a:t>56</a:t>
            </a:fld>
            <a:endParaRPr lang="en-US"/>
          </a:p>
        </p:txBody>
      </p:sp>
    </p:spTree>
    <p:extLst>
      <p:ext uri="{BB962C8B-B14F-4D97-AF65-F5344CB8AC3E}">
        <p14:creationId xmlns:p14="http://schemas.microsoft.com/office/powerpoint/2010/main" val="14919187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24F282-BE79-6146-BA61-9EEBC12ED389}" type="slidenum">
              <a:rPr lang="en-US" smtClean="0"/>
              <a:t>60</a:t>
            </a:fld>
            <a:endParaRPr lang="en-US"/>
          </a:p>
        </p:txBody>
      </p:sp>
    </p:spTree>
    <p:extLst>
      <p:ext uri="{BB962C8B-B14F-4D97-AF65-F5344CB8AC3E}">
        <p14:creationId xmlns:p14="http://schemas.microsoft.com/office/powerpoint/2010/main" val="3679260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24F282-BE79-6146-BA61-9EEBC12ED389}" type="slidenum">
              <a:rPr lang="en-US" smtClean="0"/>
              <a:t>18</a:t>
            </a:fld>
            <a:endParaRPr lang="en-US"/>
          </a:p>
        </p:txBody>
      </p:sp>
    </p:spTree>
    <p:extLst>
      <p:ext uri="{BB962C8B-B14F-4D97-AF65-F5344CB8AC3E}">
        <p14:creationId xmlns:p14="http://schemas.microsoft.com/office/powerpoint/2010/main" val="8519491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24F282-BE79-6146-BA61-9EEBC12ED389}" type="slidenum">
              <a:rPr lang="en-US" smtClean="0"/>
              <a:t>65</a:t>
            </a:fld>
            <a:endParaRPr lang="en-US"/>
          </a:p>
        </p:txBody>
      </p:sp>
    </p:spTree>
    <p:extLst>
      <p:ext uri="{BB962C8B-B14F-4D97-AF65-F5344CB8AC3E}">
        <p14:creationId xmlns:p14="http://schemas.microsoft.com/office/powerpoint/2010/main" val="36330935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7"/>
        <p:cNvGrpSpPr/>
        <p:nvPr/>
      </p:nvGrpSpPr>
      <p:grpSpPr>
        <a:xfrm>
          <a:off x="0" y="0"/>
          <a:ext cx="0" cy="0"/>
          <a:chOff x="0" y="0"/>
          <a:chExt cx="0" cy="0"/>
        </a:xfrm>
      </p:grpSpPr>
      <p:sp>
        <p:nvSpPr>
          <p:cNvPr id="448" name="Google Shape;448;g7451b6a2d1_0_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9" name="Google Shape;449;g7451b6a2d1_0_1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7574938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7"/>
        <p:cNvGrpSpPr/>
        <p:nvPr/>
      </p:nvGrpSpPr>
      <p:grpSpPr>
        <a:xfrm>
          <a:off x="0" y="0"/>
          <a:ext cx="0" cy="0"/>
          <a:chOff x="0" y="0"/>
          <a:chExt cx="0" cy="0"/>
        </a:xfrm>
      </p:grpSpPr>
      <p:sp>
        <p:nvSpPr>
          <p:cNvPr id="448" name="Google Shape;448;g7451b6a2d1_0_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9" name="Google Shape;449;g7451b6a2d1_0_1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7054795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24F282-BE79-6146-BA61-9EEBC12ED389}" type="slidenum">
              <a:rPr lang="en-US" smtClean="0"/>
              <a:t>68</a:t>
            </a:fld>
            <a:endParaRPr lang="en-US"/>
          </a:p>
        </p:txBody>
      </p:sp>
    </p:spTree>
    <p:extLst>
      <p:ext uri="{BB962C8B-B14F-4D97-AF65-F5344CB8AC3E}">
        <p14:creationId xmlns:p14="http://schemas.microsoft.com/office/powerpoint/2010/main" val="24208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24F282-BE79-6146-BA61-9EEBC12ED389}" type="slidenum">
              <a:rPr lang="en-US" smtClean="0"/>
              <a:t>70</a:t>
            </a:fld>
            <a:endParaRPr lang="en-US"/>
          </a:p>
        </p:txBody>
      </p:sp>
    </p:spTree>
    <p:extLst>
      <p:ext uri="{BB962C8B-B14F-4D97-AF65-F5344CB8AC3E}">
        <p14:creationId xmlns:p14="http://schemas.microsoft.com/office/powerpoint/2010/main" val="20565031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24F282-BE79-6146-BA61-9EEBC12ED389}" type="slidenum">
              <a:rPr lang="en-US" smtClean="0"/>
              <a:t>76</a:t>
            </a:fld>
            <a:endParaRPr lang="en-US"/>
          </a:p>
        </p:txBody>
      </p:sp>
    </p:spTree>
    <p:extLst>
      <p:ext uri="{BB962C8B-B14F-4D97-AF65-F5344CB8AC3E}">
        <p14:creationId xmlns:p14="http://schemas.microsoft.com/office/powerpoint/2010/main" val="37612982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24F282-BE79-6146-BA61-9EEBC12ED389}" type="slidenum">
              <a:rPr lang="en-US" smtClean="0"/>
              <a:t>81</a:t>
            </a:fld>
            <a:endParaRPr lang="en-US"/>
          </a:p>
        </p:txBody>
      </p:sp>
    </p:spTree>
    <p:extLst>
      <p:ext uri="{BB962C8B-B14F-4D97-AF65-F5344CB8AC3E}">
        <p14:creationId xmlns:p14="http://schemas.microsoft.com/office/powerpoint/2010/main" val="40687261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EE2428B-A62D-41C2-95A9-E65F1C273765}" type="slidenum">
              <a:rPr lang="en-US" smtClean="0"/>
              <a:pPr/>
              <a:t>83</a:t>
            </a:fld>
            <a:endParaRPr lang="en-US" dirty="0"/>
          </a:p>
        </p:txBody>
      </p:sp>
    </p:spTree>
    <p:extLst>
      <p:ext uri="{BB962C8B-B14F-4D97-AF65-F5344CB8AC3E}">
        <p14:creationId xmlns:p14="http://schemas.microsoft.com/office/powerpoint/2010/main" val="39959635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EE2428B-A62D-41C2-95A9-E65F1C273765}" type="slidenum">
              <a:rPr lang="en-US" smtClean="0"/>
              <a:pPr/>
              <a:t>84</a:t>
            </a:fld>
            <a:endParaRPr lang="en-US" dirty="0"/>
          </a:p>
        </p:txBody>
      </p:sp>
    </p:spTree>
    <p:extLst>
      <p:ext uri="{BB962C8B-B14F-4D97-AF65-F5344CB8AC3E}">
        <p14:creationId xmlns:p14="http://schemas.microsoft.com/office/powerpoint/2010/main" val="20818816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EE2428B-A62D-41C2-95A9-E65F1C273765}" type="slidenum">
              <a:rPr lang="en-US" smtClean="0"/>
              <a:pPr/>
              <a:t>85</a:t>
            </a:fld>
            <a:endParaRPr lang="en-US" dirty="0"/>
          </a:p>
        </p:txBody>
      </p:sp>
    </p:spTree>
    <p:extLst>
      <p:ext uri="{BB962C8B-B14F-4D97-AF65-F5344CB8AC3E}">
        <p14:creationId xmlns:p14="http://schemas.microsoft.com/office/powerpoint/2010/main" val="2612585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24F282-BE79-6146-BA61-9EEBC12ED389}" type="slidenum">
              <a:rPr lang="en-US" smtClean="0"/>
              <a:t>22</a:t>
            </a:fld>
            <a:endParaRPr lang="en-US"/>
          </a:p>
        </p:txBody>
      </p:sp>
    </p:spTree>
    <p:extLst>
      <p:ext uri="{BB962C8B-B14F-4D97-AF65-F5344CB8AC3E}">
        <p14:creationId xmlns:p14="http://schemas.microsoft.com/office/powerpoint/2010/main" val="39522154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EE2428B-A62D-41C2-95A9-E65F1C273765}" type="slidenum">
              <a:rPr lang="en-US" smtClean="0"/>
              <a:pPr/>
              <a:t>86</a:t>
            </a:fld>
            <a:endParaRPr lang="en-US" dirty="0"/>
          </a:p>
        </p:txBody>
      </p:sp>
    </p:spTree>
    <p:extLst>
      <p:ext uri="{BB962C8B-B14F-4D97-AF65-F5344CB8AC3E}">
        <p14:creationId xmlns:p14="http://schemas.microsoft.com/office/powerpoint/2010/main" val="7193407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EE2428B-A62D-41C2-95A9-E65F1C273765}" type="slidenum">
              <a:rPr lang="en-US" smtClean="0"/>
              <a:pPr/>
              <a:t>92</a:t>
            </a:fld>
            <a:endParaRPr lang="en-US" dirty="0"/>
          </a:p>
        </p:txBody>
      </p:sp>
    </p:spTree>
    <p:extLst>
      <p:ext uri="{BB962C8B-B14F-4D97-AF65-F5344CB8AC3E}">
        <p14:creationId xmlns:p14="http://schemas.microsoft.com/office/powerpoint/2010/main" val="480336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EE2428B-A62D-41C2-95A9-E65F1C273765}" type="slidenum">
              <a:rPr lang="en-US" smtClean="0"/>
              <a:pPr/>
              <a:t>93</a:t>
            </a:fld>
            <a:endParaRPr lang="en-US" dirty="0"/>
          </a:p>
        </p:txBody>
      </p:sp>
    </p:spTree>
    <p:extLst>
      <p:ext uri="{BB962C8B-B14F-4D97-AF65-F5344CB8AC3E}">
        <p14:creationId xmlns:p14="http://schemas.microsoft.com/office/powerpoint/2010/main" val="280309966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EE2428B-A62D-41C2-95A9-E65F1C273765}" type="slidenum">
              <a:rPr lang="en-US" smtClean="0"/>
              <a:pPr/>
              <a:t>94</a:t>
            </a:fld>
            <a:endParaRPr lang="en-US" dirty="0"/>
          </a:p>
        </p:txBody>
      </p:sp>
    </p:spTree>
    <p:extLst>
      <p:ext uri="{BB962C8B-B14F-4D97-AF65-F5344CB8AC3E}">
        <p14:creationId xmlns:p14="http://schemas.microsoft.com/office/powerpoint/2010/main" val="267204530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EE2428B-A62D-41C2-95A9-E65F1C273765}" type="slidenum">
              <a:rPr lang="en-US" smtClean="0"/>
              <a:pPr/>
              <a:t>95</a:t>
            </a:fld>
            <a:endParaRPr lang="en-US" dirty="0"/>
          </a:p>
        </p:txBody>
      </p:sp>
    </p:spTree>
    <p:extLst>
      <p:ext uri="{BB962C8B-B14F-4D97-AF65-F5344CB8AC3E}">
        <p14:creationId xmlns:p14="http://schemas.microsoft.com/office/powerpoint/2010/main" val="21803809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EE2428B-A62D-41C2-95A9-E65F1C273765}" type="slidenum">
              <a:rPr lang="en-US" smtClean="0"/>
              <a:pPr/>
              <a:t>96</a:t>
            </a:fld>
            <a:endParaRPr lang="en-US" dirty="0"/>
          </a:p>
        </p:txBody>
      </p:sp>
    </p:spTree>
    <p:extLst>
      <p:ext uri="{BB962C8B-B14F-4D97-AF65-F5344CB8AC3E}">
        <p14:creationId xmlns:p14="http://schemas.microsoft.com/office/powerpoint/2010/main" val="9701595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9"/>
        <p:cNvGrpSpPr/>
        <p:nvPr/>
      </p:nvGrpSpPr>
      <p:grpSpPr>
        <a:xfrm>
          <a:off x="0" y="0"/>
          <a:ext cx="0" cy="0"/>
          <a:chOff x="0" y="0"/>
          <a:chExt cx="0" cy="0"/>
        </a:xfrm>
      </p:grpSpPr>
      <p:sp>
        <p:nvSpPr>
          <p:cNvPr id="540" name="Google Shape;540;p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41" name="Google Shape;541;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89708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
        <p:cNvGrpSpPr/>
        <p:nvPr/>
      </p:nvGrpSpPr>
      <p:grpSpPr>
        <a:xfrm>
          <a:off x="0" y="0"/>
          <a:ext cx="0" cy="0"/>
          <a:chOff x="0" y="0"/>
          <a:chExt cx="0" cy="0"/>
        </a:xfrm>
      </p:grpSpPr>
      <p:sp>
        <p:nvSpPr>
          <p:cNvPr id="194" name="Google Shape;194;g723c9d33c8_0_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 name="Google Shape;195;g723c9d33c8_0_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7"/>
        <p:cNvGrpSpPr/>
        <p:nvPr/>
      </p:nvGrpSpPr>
      <p:grpSpPr>
        <a:xfrm>
          <a:off x="0" y="0"/>
          <a:ext cx="0" cy="0"/>
          <a:chOff x="0" y="0"/>
          <a:chExt cx="0" cy="0"/>
        </a:xfrm>
      </p:grpSpPr>
      <p:sp>
        <p:nvSpPr>
          <p:cNvPr id="448" name="Google Shape;448;g7451b6a2d1_0_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9" name="Google Shape;449;g7451b6a2d1_0_1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7"/>
        <p:cNvGrpSpPr/>
        <p:nvPr/>
      </p:nvGrpSpPr>
      <p:grpSpPr>
        <a:xfrm>
          <a:off x="0" y="0"/>
          <a:ext cx="0" cy="0"/>
          <a:chOff x="0" y="0"/>
          <a:chExt cx="0" cy="0"/>
        </a:xfrm>
      </p:grpSpPr>
      <p:sp>
        <p:nvSpPr>
          <p:cNvPr id="448" name="Google Shape;448;g7451b6a2d1_0_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9" name="Google Shape;449;g7451b6a2d1_0_1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6884460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7"/>
        <p:cNvGrpSpPr/>
        <p:nvPr/>
      </p:nvGrpSpPr>
      <p:grpSpPr>
        <a:xfrm>
          <a:off x="0" y="0"/>
          <a:ext cx="0" cy="0"/>
          <a:chOff x="0" y="0"/>
          <a:chExt cx="0" cy="0"/>
        </a:xfrm>
      </p:grpSpPr>
      <p:sp>
        <p:nvSpPr>
          <p:cNvPr id="448" name="Google Shape;448;g7451b6a2d1_0_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9" name="Google Shape;449;g7451b6a2d1_0_1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149710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7"/>
        <p:cNvGrpSpPr/>
        <p:nvPr/>
      </p:nvGrpSpPr>
      <p:grpSpPr>
        <a:xfrm>
          <a:off x="0" y="0"/>
          <a:ext cx="0" cy="0"/>
          <a:chOff x="0" y="0"/>
          <a:chExt cx="0" cy="0"/>
        </a:xfrm>
      </p:grpSpPr>
      <p:sp>
        <p:nvSpPr>
          <p:cNvPr id="448" name="Google Shape;448;g7451b6a2d1_0_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9" name="Google Shape;449;g7451b6a2d1_0_1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975851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4.xml"/><Relationship Id="rId4" Type="http://schemas.openxmlformats.org/officeDocument/2006/relationships/hyperlink" Target="http://bit.ly/2TtBDfr" TargetMode="Externa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AE806CC-3B1A-4BE9-93AE-9699E57E4EAE}" type="datetime1">
              <a:rPr lang="en-US" smtClean="0"/>
              <a:t>10/2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vert="horz" lIns="91440" tIns="45720" rIns="91440" bIns="45720" rtlCol="0" anchor="ctr"/>
          <a:lstStyle>
            <a:lvl1pPr>
              <a:defRPr lang="en-US" smtClean="0"/>
            </a:lvl1pPr>
          </a:lstStyle>
          <a:p>
            <a:fld id="{B6F15528-21DE-4FAA-801E-634DDDAF4B2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1238425-F5C8-4342-91B5-AEDDBE9A2970}" type="datetime1">
              <a:rPr lang="en-US" smtClean="0"/>
              <a:t>10/2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5660822-1080-42E0-B374-F732D905BFCA}" type="datetime1">
              <a:rPr lang="en-US" smtClean="0"/>
              <a:t>10/2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header" type="secHead">
  <p:cSld name="1_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2635125" y="3380817"/>
            <a:ext cx="5788800" cy="1126800"/>
          </a:xfrm>
          <a:prstGeom prst="rect">
            <a:avLst/>
          </a:prstGeom>
        </p:spPr>
        <p:txBody>
          <a:bodyPr spcFirstLastPara="1" wrap="square" lIns="91425" tIns="91425" rIns="91425" bIns="91425" anchor="b" anchorCtr="0">
            <a:noAutofit/>
          </a:bodyPr>
          <a:lstStyle>
            <a:lvl1pPr lvl="0">
              <a:spcBef>
                <a:spcPts val="0"/>
              </a:spcBef>
              <a:spcAft>
                <a:spcPts val="0"/>
              </a:spcAft>
              <a:buSzPts val="2800"/>
              <a:buNone/>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endParaRPr/>
          </a:p>
        </p:txBody>
      </p:sp>
      <p:sp>
        <p:nvSpPr>
          <p:cNvPr id="15" name="Google Shape;15;p3"/>
          <p:cNvSpPr txBox="1">
            <a:spLocks noGrp="1"/>
          </p:cNvSpPr>
          <p:nvPr>
            <p:ph type="title" idx="2" hasCustomPrompt="1"/>
          </p:nvPr>
        </p:nvSpPr>
        <p:spPr>
          <a:xfrm>
            <a:off x="947900" y="2734400"/>
            <a:ext cx="2718000" cy="19635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FFFFFF"/>
              </a:buClr>
              <a:buSzPts val="9000"/>
              <a:buFont typeface="Montserrat Light"/>
              <a:buNone/>
              <a:defRPr sz="9000">
                <a:solidFill>
                  <a:srgbClr val="FFFFFF"/>
                </a:solidFill>
                <a:latin typeface="Montserrat Light"/>
                <a:ea typeface="Montserrat Light"/>
                <a:cs typeface="Montserrat Light"/>
                <a:sym typeface="Montserrat Light"/>
              </a:defRPr>
            </a:lvl1pPr>
            <a:lvl2pPr lvl="1"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2pPr>
            <a:lvl3pPr lvl="2"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3pPr>
            <a:lvl4pPr lvl="3"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4pPr>
            <a:lvl5pPr lvl="4"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5pPr>
            <a:lvl6pPr lvl="5"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6pPr>
            <a:lvl7pPr lvl="6"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7pPr>
            <a:lvl8pPr lvl="7"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8pPr>
            <a:lvl9pPr lvl="8"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9pPr>
          </a:lstStyle>
          <a:p>
            <a:r>
              <a:t>xx%</a:t>
            </a:r>
          </a:p>
        </p:txBody>
      </p:sp>
    </p:spTree>
    <p:extLst>
      <p:ext uri="{BB962C8B-B14F-4D97-AF65-F5344CB8AC3E}">
        <p14:creationId xmlns:p14="http://schemas.microsoft.com/office/powerpoint/2010/main" val="30194388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four columns" userDrawn="1">
  <p:cSld name="Title and four columns">
    <p:spTree>
      <p:nvGrpSpPr>
        <p:cNvPr id="1" name="Shape 61"/>
        <p:cNvGrpSpPr/>
        <p:nvPr/>
      </p:nvGrpSpPr>
      <p:grpSpPr>
        <a:xfrm>
          <a:off x="0" y="0"/>
          <a:ext cx="0" cy="0"/>
          <a:chOff x="0" y="0"/>
          <a:chExt cx="0" cy="0"/>
        </a:xfrm>
      </p:grpSpPr>
      <p:sp>
        <p:nvSpPr>
          <p:cNvPr id="62" name="Google Shape;62;p14"/>
          <p:cNvSpPr txBox="1">
            <a:spLocks noGrp="1"/>
          </p:cNvSpPr>
          <p:nvPr>
            <p:ph type="title" hasCustomPrompt="1"/>
          </p:nvPr>
        </p:nvSpPr>
        <p:spPr>
          <a:xfrm>
            <a:off x="1244192" y="1589650"/>
            <a:ext cx="1510800" cy="3099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spcBef>
                <a:spcPts val="0"/>
              </a:spcBef>
              <a:spcAft>
                <a:spcPts val="0"/>
              </a:spcAft>
              <a:buClr>
                <a:schemeClr val="accent5"/>
              </a:buClr>
              <a:buSzPts val="4000"/>
              <a:buNone/>
              <a:defRPr sz="4000">
                <a:solidFill>
                  <a:schemeClr val="accent5"/>
                </a:solidFill>
              </a:defRPr>
            </a:lvl2pPr>
            <a:lvl3pPr lvl="2" rtl="0">
              <a:spcBef>
                <a:spcPts val="0"/>
              </a:spcBef>
              <a:spcAft>
                <a:spcPts val="0"/>
              </a:spcAft>
              <a:buClr>
                <a:schemeClr val="accent5"/>
              </a:buClr>
              <a:buSzPts val="4000"/>
              <a:buNone/>
              <a:defRPr sz="4000">
                <a:solidFill>
                  <a:schemeClr val="accent5"/>
                </a:solidFill>
              </a:defRPr>
            </a:lvl3pPr>
            <a:lvl4pPr lvl="3" rtl="0">
              <a:spcBef>
                <a:spcPts val="0"/>
              </a:spcBef>
              <a:spcAft>
                <a:spcPts val="0"/>
              </a:spcAft>
              <a:buClr>
                <a:schemeClr val="accent5"/>
              </a:buClr>
              <a:buSzPts val="4000"/>
              <a:buNone/>
              <a:defRPr sz="4000">
                <a:solidFill>
                  <a:schemeClr val="accent5"/>
                </a:solidFill>
              </a:defRPr>
            </a:lvl4pPr>
            <a:lvl5pPr lvl="4" rtl="0">
              <a:spcBef>
                <a:spcPts val="0"/>
              </a:spcBef>
              <a:spcAft>
                <a:spcPts val="0"/>
              </a:spcAft>
              <a:buClr>
                <a:schemeClr val="accent5"/>
              </a:buClr>
              <a:buSzPts val="4000"/>
              <a:buNone/>
              <a:defRPr sz="4000">
                <a:solidFill>
                  <a:schemeClr val="accent5"/>
                </a:solidFill>
              </a:defRPr>
            </a:lvl5pPr>
            <a:lvl6pPr lvl="5" rtl="0">
              <a:spcBef>
                <a:spcPts val="0"/>
              </a:spcBef>
              <a:spcAft>
                <a:spcPts val="0"/>
              </a:spcAft>
              <a:buClr>
                <a:schemeClr val="accent5"/>
              </a:buClr>
              <a:buSzPts val="4000"/>
              <a:buNone/>
              <a:defRPr sz="4000">
                <a:solidFill>
                  <a:schemeClr val="accent5"/>
                </a:solidFill>
              </a:defRPr>
            </a:lvl6pPr>
            <a:lvl7pPr lvl="6" rtl="0">
              <a:spcBef>
                <a:spcPts val="0"/>
              </a:spcBef>
              <a:spcAft>
                <a:spcPts val="0"/>
              </a:spcAft>
              <a:buClr>
                <a:schemeClr val="accent5"/>
              </a:buClr>
              <a:buSzPts val="4000"/>
              <a:buNone/>
              <a:defRPr sz="4000">
                <a:solidFill>
                  <a:schemeClr val="accent5"/>
                </a:solidFill>
              </a:defRPr>
            </a:lvl7pPr>
            <a:lvl8pPr lvl="7" rtl="0">
              <a:spcBef>
                <a:spcPts val="0"/>
              </a:spcBef>
              <a:spcAft>
                <a:spcPts val="0"/>
              </a:spcAft>
              <a:buClr>
                <a:schemeClr val="accent5"/>
              </a:buClr>
              <a:buSzPts val="4000"/>
              <a:buNone/>
              <a:defRPr sz="4000">
                <a:solidFill>
                  <a:schemeClr val="accent5"/>
                </a:solidFill>
              </a:defRPr>
            </a:lvl8pPr>
            <a:lvl9pPr lvl="8" rtl="0">
              <a:spcBef>
                <a:spcPts val="0"/>
              </a:spcBef>
              <a:spcAft>
                <a:spcPts val="0"/>
              </a:spcAft>
              <a:buClr>
                <a:schemeClr val="accent5"/>
              </a:buClr>
              <a:buSzPts val="4000"/>
              <a:buNone/>
              <a:defRPr sz="4000">
                <a:solidFill>
                  <a:schemeClr val="accent5"/>
                </a:solidFill>
              </a:defRPr>
            </a:lvl9pPr>
          </a:lstStyle>
          <a:p>
            <a:r>
              <a:t>xx%</a:t>
            </a:r>
          </a:p>
        </p:txBody>
      </p:sp>
      <p:sp>
        <p:nvSpPr>
          <p:cNvPr id="63" name="Google Shape;63;p14"/>
          <p:cNvSpPr txBox="1">
            <a:spLocks noGrp="1"/>
          </p:cNvSpPr>
          <p:nvPr>
            <p:ph type="subTitle" idx="1"/>
          </p:nvPr>
        </p:nvSpPr>
        <p:spPr>
          <a:xfrm>
            <a:off x="1244192" y="1814800"/>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4" name="Google Shape;64;p14"/>
          <p:cNvSpPr txBox="1">
            <a:spLocks noGrp="1"/>
          </p:cNvSpPr>
          <p:nvPr>
            <p:ph type="title" idx="2" hasCustomPrompt="1"/>
          </p:nvPr>
        </p:nvSpPr>
        <p:spPr>
          <a:xfrm>
            <a:off x="3723842" y="1589650"/>
            <a:ext cx="1510800" cy="3099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spcBef>
                <a:spcPts val="0"/>
              </a:spcBef>
              <a:spcAft>
                <a:spcPts val="0"/>
              </a:spcAft>
              <a:buClr>
                <a:schemeClr val="accent5"/>
              </a:buClr>
              <a:buSzPts val="4000"/>
              <a:buNone/>
              <a:defRPr sz="4000">
                <a:solidFill>
                  <a:schemeClr val="accent5"/>
                </a:solidFill>
              </a:defRPr>
            </a:lvl2pPr>
            <a:lvl3pPr lvl="2" rtl="0">
              <a:spcBef>
                <a:spcPts val="0"/>
              </a:spcBef>
              <a:spcAft>
                <a:spcPts val="0"/>
              </a:spcAft>
              <a:buClr>
                <a:schemeClr val="accent5"/>
              </a:buClr>
              <a:buSzPts val="4000"/>
              <a:buNone/>
              <a:defRPr sz="4000">
                <a:solidFill>
                  <a:schemeClr val="accent5"/>
                </a:solidFill>
              </a:defRPr>
            </a:lvl3pPr>
            <a:lvl4pPr lvl="3" rtl="0">
              <a:spcBef>
                <a:spcPts val="0"/>
              </a:spcBef>
              <a:spcAft>
                <a:spcPts val="0"/>
              </a:spcAft>
              <a:buClr>
                <a:schemeClr val="accent5"/>
              </a:buClr>
              <a:buSzPts val="4000"/>
              <a:buNone/>
              <a:defRPr sz="4000">
                <a:solidFill>
                  <a:schemeClr val="accent5"/>
                </a:solidFill>
              </a:defRPr>
            </a:lvl4pPr>
            <a:lvl5pPr lvl="4" rtl="0">
              <a:spcBef>
                <a:spcPts val="0"/>
              </a:spcBef>
              <a:spcAft>
                <a:spcPts val="0"/>
              </a:spcAft>
              <a:buClr>
                <a:schemeClr val="accent5"/>
              </a:buClr>
              <a:buSzPts val="4000"/>
              <a:buNone/>
              <a:defRPr sz="4000">
                <a:solidFill>
                  <a:schemeClr val="accent5"/>
                </a:solidFill>
              </a:defRPr>
            </a:lvl5pPr>
            <a:lvl6pPr lvl="5" rtl="0">
              <a:spcBef>
                <a:spcPts val="0"/>
              </a:spcBef>
              <a:spcAft>
                <a:spcPts val="0"/>
              </a:spcAft>
              <a:buClr>
                <a:schemeClr val="accent5"/>
              </a:buClr>
              <a:buSzPts val="4000"/>
              <a:buNone/>
              <a:defRPr sz="4000">
                <a:solidFill>
                  <a:schemeClr val="accent5"/>
                </a:solidFill>
              </a:defRPr>
            </a:lvl6pPr>
            <a:lvl7pPr lvl="6" rtl="0">
              <a:spcBef>
                <a:spcPts val="0"/>
              </a:spcBef>
              <a:spcAft>
                <a:spcPts val="0"/>
              </a:spcAft>
              <a:buClr>
                <a:schemeClr val="accent5"/>
              </a:buClr>
              <a:buSzPts val="4000"/>
              <a:buNone/>
              <a:defRPr sz="4000">
                <a:solidFill>
                  <a:schemeClr val="accent5"/>
                </a:solidFill>
              </a:defRPr>
            </a:lvl7pPr>
            <a:lvl8pPr lvl="7" rtl="0">
              <a:spcBef>
                <a:spcPts val="0"/>
              </a:spcBef>
              <a:spcAft>
                <a:spcPts val="0"/>
              </a:spcAft>
              <a:buClr>
                <a:schemeClr val="accent5"/>
              </a:buClr>
              <a:buSzPts val="4000"/>
              <a:buNone/>
              <a:defRPr sz="4000">
                <a:solidFill>
                  <a:schemeClr val="accent5"/>
                </a:solidFill>
              </a:defRPr>
            </a:lvl8pPr>
            <a:lvl9pPr lvl="8" rtl="0">
              <a:spcBef>
                <a:spcPts val="0"/>
              </a:spcBef>
              <a:spcAft>
                <a:spcPts val="0"/>
              </a:spcAft>
              <a:buClr>
                <a:schemeClr val="accent5"/>
              </a:buClr>
              <a:buSzPts val="4000"/>
              <a:buNone/>
              <a:defRPr sz="4000">
                <a:solidFill>
                  <a:schemeClr val="accent5"/>
                </a:solidFill>
              </a:defRPr>
            </a:lvl9pPr>
          </a:lstStyle>
          <a:p>
            <a:r>
              <a:t>xx%</a:t>
            </a:r>
          </a:p>
        </p:txBody>
      </p:sp>
      <p:sp>
        <p:nvSpPr>
          <p:cNvPr id="65" name="Google Shape;65;p14"/>
          <p:cNvSpPr txBox="1">
            <a:spLocks noGrp="1"/>
          </p:cNvSpPr>
          <p:nvPr>
            <p:ph type="subTitle" idx="3"/>
          </p:nvPr>
        </p:nvSpPr>
        <p:spPr>
          <a:xfrm>
            <a:off x="3723842" y="1814800"/>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6" name="Google Shape;66;p14"/>
          <p:cNvSpPr txBox="1">
            <a:spLocks noGrp="1"/>
          </p:cNvSpPr>
          <p:nvPr>
            <p:ph type="title" idx="4" hasCustomPrompt="1"/>
          </p:nvPr>
        </p:nvSpPr>
        <p:spPr>
          <a:xfrm>
            <a:off x="1244192" y="3721326"/>
            <a:ext cx="1510800" cy="3099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spcBef>
                <a:spcPts val="0"/>
              </a:spcBef>
              <a:spcAft>
                <a:spcPts val="0"/>
              </a:spcAft>
              <a:buClr>
                <a:schemeClr val="accent5"/>
              </a:buClr>
              <a:buSzPts val="4000"/>
              <a:buNone/>
              <a:defRPr sz="4000">
                <a:solidFill>
                  <a:schemeClr val="accent5"/>
                </a:solidFill>
              </a:defRPr>
            </a:lvl2pPr>
            <a:lvl3pPr lvl="2" rtl="0">
              <a:spcBef>
                <a:spcPts val="0"/>
              </a:spcBef>
              <a:spcAft>
                <a:spcPts val="0"/>
              </a:spcAft>
              <a:buClr>
                <a:schemeClr val="accent5"/>
              </a:buClr>
              <a:buSzPts val="4000"/>
              <a:buNone/>
              <a:defRPr sz="4000">
                <a:solidFill>
                  <a:schemeClr val="accent5"/>
                </a:solidFill>
              </a:defRPr>
            </a:lvl3pPr>
            <a:lvl4pPr lvl="3" rtl="0">
              <a:spcBef>
                <a:spcPts val="0"/>
              </a:spcBef>
              <a:spcAft>
                <a:spcPts val="0"/>
              </a:spcAft>
              <a:buClr>
                <a:schemeClr val="accent5"/>
              </a:buClr>
              <a:buSzPts val="4000"/>
              <a:buNone/>
              <a:defRPr sz="4000">
                <a:solidFill>
                  <a:schemeClr val="accent5"/>
                </a:solidFill>
              </a:defRPr>
            </a:lvl4pPr>
            <a:lvl5pPr lvl="4" rtl="0">
              <a:spcBef>
                <a:spcPts val="0"/>
              </a:spcBef>
              <a:spcAft>
                <a:spcPts val="0"/>
              </a:spcAft>
              <a:buClr>
                <a:schemeClr val="accent5"/>
              </a:buClr>
              <a:buSzPts val="4000"/>
              <a:buNone/>
              <a:defRPr sz="4000">
                <a:solidFill>
                  <a:schemeClr val="accent5"/>
                </a:solidFill>
              </a:defRPr>
            </a:lvl5pPr>
            <a:lvl6pPr lvl="5" rtl="0">
              <a:spcBef>
                <a:spcPts val="0"/>
              </a:spcBef>
              <a:spcAft>
                <a:spcPts val="0"/>
              </a:spcAft>
              <a:buClr>
                <a:schemeClr val="accent5"/>
              </a:buClr>
              <a:buSzPts val="4000"/>
              <a:buNone/>
              <a:defRPr sz="4000">
                <a:solidFill>
                  <a:schemeClr val="accent5"/>
                </a:solidFill>
              </a:defRPr>
            </a:lvl6pPr>
            <a:lvl7pPr lvl="6" rtl="0">
              <a:spcBef>
                <a:spcPts val="0"/>
              </a:spcBef>
              <a:spcAft>
                <a:spcPts val="0"/>
              </a:spcAft>
              <a:buClr>
                <a:schemeClr val="accent5"/>
              </a:buClr>
              <a:buSzPts val="4000"/>
              <a:buNone/>
              <a:defRPr sz="4000">
                <a:solidFill>
                  <a:schemeClr val="accent5"/>
                </a:solidFill>
              </a:defRPr>
            </a:lvl7pPr>
            <a:lvl8pPr lvl="7" rtl="0">
              <a:spcBef>
                <a:spcPts val="0"/>
              </a:spcBef>
              <a:spcAft>
                <a:spcPts val="0"/>
              </a:spcAft>
              <a:buClr>
                <a:schemeClr val="accent5"/>
              </a:buClr>
              <a:buSzPts val="4000"/>
              <a:buNone/>
              <a:defRPr sz="4000">
                <a:solidFill>
                  <a:schemeClr val="accent5"/>
                </a:solidFill>
              </a:defRPr>
            </a:lvl8pPr>
            <a:lvl9pPr lvl="8" rtl="0">
              <a:spcBef>
                <a:spcPts val="0"/>
              </a:spcBef>
              <a:spcAft>
                <a:spcPts val="0"/>
              </a:spcAft>
              <a:buClr>
                <a:schemeClr val="accent5"/>
              </a:buClr>
              <a:buSzPts val="4000"/>
              <a:buNone/>
              <a:defRPr sz="4000">
                <a:solidFill>
                  <a:schemeClr val="accent5"/>
                </a:solidFill>
              </a:defRPr>
            </a:lvl9pPr>
          </a:lstStyle>
          <a:p>
            <a:r>
              <a:t>xx%</a:t>
            </a:r>
          </a:p>
        </p:txBody>
      </p:sp>
      <p:sp>
        <p:nvSpPr>
          <p:cNvPr id="67" name="Google Shape;67;p14"/>
          <p:cNvSpPr txBox="1">
            <a:spLocks noGrp="1"/>
          </p:cNvSpPr>
          <p:nvPr>
            <p:ph type="subTitle" idx="5"/>
          </p:nvPr>
        </p:nvSpPr>
        <p:spPr>
          <a:xfrm>
            <a:off x="1244192" y="3946476"/>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8" name="Google Shape;68;p14"/>
          <p:cNvSpPr txBox="1">
            <a:spLocks noGrp="1"/>
          </p:cNvSpPr>
          <p:nvPr>
            <p:ph type="title" idx="6" hasCustomPrompt="1"/>
          </p:nvPr>
        </p:nvSpPr>
        <p:spPr>
          <a:xfrm>
            <a:off x="3723842" y="3721326"/>
            <a:ext cx="1510800" cy="3099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spcBef>
                <a:spcPts val="0"/>
              </a:spcBef>
              <a:spcAft>
                <a:spcPts val="0"/>
              </a:spcAft>
              <a:buClr>
                <a:schemeClr val="accent5"/>
              </a:buClr>
              <a:buSzPts val="4000"/>
              <a:buNone/>
              <a:defRPr sz="4000">
                <a:solidFill>
                  <a:schemeClr val="accent5"/>
                </a:solidFill>
              </a:defRPr>
            </a:lvl2pPr>
            <a:lvl3pPr lvl="2" rtl="0">
              <a:spcBef>
                <a:spcPts val="0"/>
              </a:spcBef>
              <a:spcAft>
                <a:spcPts val="0"/>
              </a:spcAft>
              <a:buClr>
                <a:schemeClr val="accent5"/>
              </a:buClr>
              <a:buSzPts val="4000"/>
              <a:buNone/>
              <a:defRPr sz="4000">
                <a:solidFill>
                  <a:schemeClr val="accent5"/>
                </a:solidFill>
              </a:defRPr>
            </a:lvl3pPr>
            <a:lvl4pPr lvl="3" rtl="0">
              <a:spcBef>
                <a:spcPts val="0"/>
              </a:spcBef>
              <a:spcAft>
                <a:spcPts val="0"/>
              </a:spcAft>
              <a:buClr>
                <a:schemeClr val="accent5"/>
              </a:buClr>
              <a:buSzPts val="4000"/>
              <a:buNone/>
              <a:defRPr sz="4000">
                <a:solidFill>
                  <a:schemeClr val="accent5"/>
                </a:solidFill>
              </a:defRPr>
            </a:lvl4pPr>
            <a:lvl5pPr lvl="4" rtl="0">
              <a:spcBef>
                <a:spcPts val="0"/>
              </a:spcBef>
              <a:spcAft>
                <a:spcPts val="0"/>
              </a:spcAft>
              <a:buClr>
                <a:schemeClr val="accent5"/>
              </a:buClr>
              <a:buSzPts val="4000"/>
              <a:buNone/>
              <a:defRPr sz="4000">
                <a:solidFill>
                  <a:schemeClr val="accent5"/>
                </a:solidFill>
              </a:defRPr>
            </a:lvl5pPr>
            <a:lvl6pPr lvl="5" rtl="0">
              <a:spcBef>
                <a:spcPts val="0"/>
              </a:spcBef>
              <a:spcAft>
                <a:spcPts val="0"/>
              </a:spcAft>
              <a:buClr>
                <a:schemeClr val="accent5"/>
              </a:buClr>
              <a:buSzPts val="4000"/>
              <a:buNone/>
              <a:defRPr sz="4000">
                <a:solidFill>
                  <a:schemeClr val="accent5"/>
                </a:solidFill>
              </a:defRPr>
            </a:lvl6pPr>
            <a:lvl7pPr lvl="6" rtl="0">
              <a:spcBef>
                <a:spcPts val="0"/>
              </a:spcBef>
              <a:spcAft>
                <a:spcPts val="0"/>
              </a:spcAft>
              <a:buClr>
                <a:schemeClr val="accent5"/>
              </a:buClr>
              <a:buSzPts val="4000"/>
              <a:buNone/>
              <a:defRPr sz="4000">
                <a:solidFill>
                  <a:schemeClr val="accent5"/>
                </a:solidFill>
              </a:defRPr>
            </a:lvl7pPr>
            <a:lvl8pPr lvl="7" rtl="0">
              <a:spcBef>
                <a:spcPts val="0"/>
              </a:spcBef>
              <a:spcAft>
                <a:spcPts val="0"/>
              </a:spcAft>
              <a:buClr>
                <a:schemeClr val="accent5"/>
              </a:buClr>
              <a:buSzPts val="4000"/>
              <a:buNone/>
              <a:defRPr sz="4000">
                <a:solidFill>
                  <a:schemeClr val="accent5"/>
                </a:solidFill>
              </a:defRPr>
            </a:lvl8pPr>
            <a:lvl9pPr lvl="8" rtl="0">
              <a:spcBef>
                <a:spcPts val="0"/>
              </a:spcBef>
              <a:spcAft>
                <a:spcPts val="0"/>
              </a:spcAft>
              <a:buClr>
                <a:schemeClr val="accent5"/>
              </a:buClr>
              <a:buSzPts val="4000"/>
              <a:buNone/>
              <a:defRPr sz="4000">
                <a:solidFill>
                  <a:schemeClr val="accent5"/>
                </a:solidFill>
              </a:defRPr>
            </a:lvl9pPr>
          </a:lstStyle>
          <a:p>
            <a:r>
              <a:t>xx%</a:t>
            </a:r>
          </a:p>
        </p:txBody>
      </p:sp>
      <p:sp>
        <p:nvSpPr>
          <p:cNvPr id="69" name="Google Shape;69;p14"/>
          <p:cNvSpPr txBox="1">
            <a:spLocks noGrp="1"/>
          </p:cNvSpPr>
          <p:nvPr>
            <p:ph type="subTitle" idx="7"/>
          </p:nvPr>
        </p:nvSpPr>
        <p:spPr>
          <a:xfrm>
            <a:off x="3723842" y="3946476"/>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504275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four columns" userDrawn="1">
  <p:cSld name="1_Title and four columns">
    <p:spTree>
      <p:nvGrpSpPr>
        <p:cNvPr id="1" name="Shape 61"/>
        <p:cNvGrpSpPr/>
        <p:nvPr/>
      </p:nvGrpSpPr>
      <p:grpSpPr>
        <a:xfrm>
          <a:off x="0" y="0"/>
          <a:ext cx="0" cy="0"/>
          <a:chOff x="0" y="0"/>
          <a:chExt cx="0" cy="0"/>
        </a:xfrm>
      </p:grpSpPr>
    </p:spTree>
    <p:extLst>
      <p:ext uri="{BB962C8B-B14F-4D97-AF65-F5344CB8AC3E}">
        <p14:creationId xmlns:p14="http://schemas.microsoft.com/office/powerpoint/2010/main" val="3940419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able of contents" userDrawn="1">
  <p:cSld name="Table of contents">
    <p:spTree>
      <p:nvGrpSpPr>
        <p:cNvPr id="1" name="Shape 50"/>
        <p:cNvGrpSpPr/>
        <p:nvPr/>
      </p:nvGrpSpPr>
      <p:grpSpPr>
        <a:xfrm>
          <a:off x="0" y="0"/>
          <a:ext cx="0" cy="0"/>
          <a:chOff x="0" y="0"/>
          <a:chExt cx="0" cy="0"/>
        </a:xfrm>
      </p:grpSpPr>
    </p:spTree>
    <p:extLst>
      <p:ext uri="{BB962C8B-B14F-4D97-AF65-F5344CB8AC3E}">
        <p14:creationId xmlns:p14="http://schemas.microsoft.com/office/powerpoint/2010/main" val="35817651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Contents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42316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ig number" userDrawn="1">
  <p:cSld name="Big number">
    <p:spTree>
      <p:nvGrpSpPr>
        <p:cNvPr id="1" name="Shape 44"/>
        <p:cNvGrpSpPr/>
        <p:nvPr/>
      </p:nvGrpSpPr>
      <p:grpSpPr>
        <a:xfrm>
          <a:off x="0" y="0"/>
          <a:ext cx="0" cy="0"/>
          <a:chOff x="0" y="0"/>
          <a:chExt cx="0" cy="0"/>
        </a:xfrm>
      </p:grpSpPr>
    </p:spTree>
    <p:extLst>
      <p:ext uri="{BB962C8B-B14F-4D97-AF65-F5344CB8AC3E}">
        <p14:creationId xmlns:p14="http://schemas.microsoft.com/office/powerpoint/2010/main" val="42588644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0/2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55740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2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48385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0/2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2204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0/28/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191738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151335"/>
            <a:ext cx="4041775"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0/28/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46358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0/28/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238490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28/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96236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076327"/>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28/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410035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dirty="0"/>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28/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90960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2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4121039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2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423101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nd four columns">
  <p:cSld name="Title and four columns">
    <p:spTree>
      <p:nvGrpSpPr>
        <p:cNvPr id="1" name="Shape 61"/>
        <p:cNvGrpSpPr/>
        <p:nvPr/>
      </p:nvGrpSpPr>
      <p:grpSpPr>
        <a:xfrm>
          <a:off x="0" y="0"/>
          <a:ext cx="0" cy="0"/>
          <a:chOff x="0" y="0"/>
          <a:chExt cx="0" cy="0"/>
        </a:xfrm>
      </p:grpSpPr>
      <p:sp>
        <p:nvSpPr>
          <p:cNvPr id="62" name="Google Shape;62;p14"/>
          <p:cNvSpPr txBox="1">
            <a:spLocks noGrp="1"/>
          </p:cNvSpPr>
          <p:nvPr>
            <p:ph type="title" hasCustomPrompt="1"/>
          </p:nvPr>
        </p:nvSpPr>
        <p:spPr>
          <a:xfrm>
            <a:off x="1244192" y="1589650"/>
            <a:ext cx="1510800" cy="3099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spcBef>
                <a:spcPts val="0"/>
              </a:spcBef>
              <a:spcAft>
                <a:spcPts val="0"/>
              </a:spcAft>
              <a:buClr>
                <a:schemeClr val="accent5"/>
              </a:buClr>
              <a:buSzPts val="4000"/>
              <a:buNone/>
              <a:defRPr sz="4000">
                <a:solidFill>
                  <a:schemeClr val="accent5"/>
                </a:solidFill>
              </a:defRPr>
            </a:lvl2pPr>
            <a:lvl3pPr lvl="2" rtl="0">
              <a:spcBef>
                <a:spcPts val="0"/>
              </a:spcBef>
              <a:spcAft>
                <a:spcPts val="0"/>
              </a:spcAft>
              <a:buClr>
                <a:schemeClr val="accent5"/>
              </a:buClr>
              <a:buSzPts val="4000"/>
              <a:buNone/>
              <a:defRPr sz="4000">
                <a:solidFill>
                  <a:schemeClr val="accent5"/>
                </a:solidFill>
              </a:defRPr>
            </a:lvl3pPr>
            <a:lvl4pPr lvl="3" rtl="0">
              <a:spcBef>
                <a:spcPts val="0"/>
              </a:spcBef>
              <a:spcAft>
                <a:spcPts val="0"/>
              </a:spcAft>
              <a:buClr>
                <a:schemeClr val="accent5"/>
              </a:buClr>
              <a:buSzPts val="4000"/>
              <a:buNone/>
              <a:defRPr sz="4000">
                <a:solidFill>
                  <a:schemeClr val="accent5"/>
                </a:solidFill>
              </a:defRPr>
            </a:lvl4pPr>
            <a:lvl5pPr lvl="4" rtl="0">
              <a:spcBef>
                <a:spcPts val="0"/>
              </a:spcBef>
              <a:spcAft>
                <a:spcPts val="0"/>
              </a:spcAft>
              <a:buClr>
                <a:schemeClr val="accent5"/>
              </a:buClr>
              <a:buSzPts val="4000"/>
              <a:buNone/>
              <a:defRPr sz="4000">
                <a:solidFill>
                  <a:schemeClr val="accent5"/>
                </a:solidFill>
              </a:defRPr>
            </a:lvl5pPr>
            <a:lvl6pPr lvl="5" rtl="0">
              <a:spcBef>
                <a:spcPts val="0"/>
              </a:spcBef>
              <a:spcAft>
                <a:spcPts val="0"/>
              </a:spcAft>
              <a:buClr>
                <a:schemeClr val="accent5"/>
              </a:buClr>
              <a:buSzPts val="4000"/>
              <a:buNone/>
              <a:defRPr sz="4000">
                <a:solidFill>
                  <a:schemeClr val="accent5"/>
                </a:solidFill>
              </a:defRPr>
            </a:lvl6pPr>
            <a:lvl7pPr lvl="6" rtl="0">
              <a:spcBef>
                <a:spcPts val="0"/>
              </a:spcBef>
              <a:spcAft>
                <a:spcPts val="0"/>
              </a:spcAft>
              <a:buClr>
                <a:schemeClr val="accent5"/>
              </a:buClr>
              <a:buSzPts val="4000"/>
              <a:buNone/>
              <a:defRPr sz="4000">
                <a:solidFill>
                  <a:schemeClr val="accent5"/>
                </a:solidFill>
              </a:defRPr>
            </a:lvl7pPr>
            <a:lvl8pPr lvl="7" rtl="0">
              <a:spcBef>
                <a:spcPts val="0"/>
              </a:spcBef>
              <a:spcAft>
                <a:spcPts val="0"/>
              </a:spcAft>
              <a:buClr>
                <a:schemeClr val="accent5"/>
              </a:buClr>
              <a:buSzPts val="4000"/>
              <a:buNone/>
              <a:defRPr sz="4000">
                <a:solidFill>
                  <a:schemeClr val="accent5"/>
                </a:solidFill>
              </a:defRPr>
            </a:lvl8pPr>
            <a:lvl9pPr lvl="8" rtl="0">
              <a:spcBef>
                <a:spcPts val="0"/>
              </a:spcBef>
              <a:spcAft>
                <a:spcPts val="0"/>
              </a:spcAft>
              <a:buClr>
                <a:schemeClr val="accent5"/>
              </a:buClr>
              <a:buSzPts val="4000"/>
              <a:buNone/>
              <a:defRPr sz="4000">
                <a:solidFill>
                  <a:schemeClr val="accent5"/>
                </a:solidFill>
              </a:defRPr>
            </a:lvl9pPr>
          </a:lstStyle>
          <a:p>
            <a:r>
              <a:t>xx%</a:t>
            </a:r>
          </a:p>
        </p:txBody>
      </p:sp>
      <p:sp>
        <p:nvSpPr>
          <p:cNvPr id="63" name="Google Shape;63;p14"/>
          <p:cNvSpPr txBox="1">
            <a:spLocks noGrp="1"/>
          </p:cNvSpPr>
          <p:nvPr>
            <p:ph type="subTitle" idx="1"/>
          </p:nvPr>
        </p:nvSpPr>
        <p:spPr>
          <a:xfrm>
            <a:off x="1244192" y="1814800"/>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4" name="Google Shape;64;p14"/>
          <p:cNvSpPr txBox="1">
            <a:spLocks noGrp="1"/>
          </p:cNvSpPr>
          <p:nvPr>
            <p:ph type="title" idx="2" hasCustomPrompt="1"/>
          </p:nvPr>
        </p:nvSpPr>
        <p:spPr>
          <a:xfrm>
            <a:off x="3723842" y="1589650"/>
            <a:ext cx="1510800" cy="3099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spcBef>
                <a:spcPts val="0"/>
              </a:spcBef>
              <a:spcAft>
                <a:spcPts val="0"/>
              </a:spcAft>
              <a:buClr>
                <a:schemeClr val="accent5"/>
              </a:buClr>
              <a:buSzPts val="4000"/>
              <a:buNone/>
              <a:defRPr sz="4000">
                <a:solidFill>
                  <a:schemeClr val="accent5"/>
                </a:solidFill>
              </a:defRPr>
            </a:lvl2pPr>
            <a:lvl3pPr lvl="2" rtl="0">
              <a:spcBef>
                <a:spcPts val="0"/>
              </a:spcBef>
              <a:spcAft>
                <a:spcPts val="0"/>
              </a:spcAft>
              <a:buClr>
                <a:schemeClr val="accent5"/>
              </a:buClr>
              <a:buSzPts val="4000"/>
              <a:buNone/>
              <a:defRPr sz="4000">
                <a:solidFill>
                  <a:schemeClr val="accent5"/>
                </a:solidFill>
              </a:defRPr>
            </a:lvl3pPr>
            <a:lvl4pPr lvl="3" rtl="0">
              <a:spcBef>
                <a:spcPts val="0"/>
              </a:spcBef>
              <a:spcAft>
                <a:spcPts val="0"/>
              </a:spcAft>
              <a:buClr>
                <a:schemeClr val="accent5"/>
              </a:buClr>
              <a:buSzPts val="4000"/>
              <a:buNone/>
              <a:defRPr sz="4000">
                <a:solidFill>
                  <a:schemeClr val="accent5"/>
                </a:solidFill>
              </a:defRPr>
            </a:lvl4pPr>
            <a:lvl5pPr lvl="4" rtl="0">
              <a:spcBef>
                <a:spcPts val="0"/>
              </a:spcBef>
              <a:spcAft>
                <a:spcPts val="0"/>
              </a:spcAft>
              <a:buClr>
                <a:schemeClr val="accent5"/>
              </a:buClr>
              <a:buSzPts val="4000"/>
              <a:buNone/>
              <a:defRPr sz="4000">
                <a:solidFill>
                  <a:schemeClr val="accent5"/>
                </a:solidFill>
              </a:defRPr>
            </a:lvl5pPr>
            <a:lvl6pPr lvl="5" rtl="0">
              <a:spcBef>
                <a:spcPts val="0"/>
              </a:spcBef>
              <a:spcAft>
                <a:spcPts val="0"/>
              </a:spcAft>
              <a:buClr>
                <a:schemeClr val="accent5"/>
              </a:buClr>
              <a:buSzPts val="4000"/>
              <a:buNone/>
              <a:defRPr sz="4000">
                <a:solidFill>
                  <a:schemeClr val="accent5"/>
                </a:solidFill>
              </a:defRPr>
            </a:lvl6pPr>
            <a:lvl7pPr lvl="6" rtl="0">
              <a:spcBef>
                <a:spcPts val="0"/>
              </a:spcBef>
              <a:spcAft>
                <a:spcPts val="0"/>
              </a:spcAft>
              <a:buClr>
                <a:schemeClr val="accent5"/>
              </a:buClr>
              <a:buSzPts val="4000"/>
              <a:buNone/>
              <a:defRPr sz="4000">
                <a:solidFill>
                  <a:schemeClr val="accent5"/>
                </a:solidFill>
              </a:defRPr>
            </a:lvl7pPr>
            <a:lvl8pPr lvl="7" rtl="0">
              <a:spcBef>
                <a:spcPts val="0"/>
              </a:spcBef>
              <a:spcAft>
                <a:spcPts val="0"/>
              </a:spcAft>
              <a:buClr>
                <a:schemeClr val="accent5"/>
              </a:buClr>
              <a:buSzPts val="4000"/>
              <a:buNone/>
              <a:defRPr sz="4000">
                <a:solidFill>
                  <a:schemeClr val="accent5"/>
                </a:solidFill>
              </a:defRPr>
            </a:lvl8pPr>
            <a:lvl9pPr lvl="8" rtl="0">
              <a:spcBef>
                <a:spcPts val="0"/>
              </a:spcBef>
              <a:spcAft>
                <a:spcPts val="0"/>
              </a:spcAft>
              <a:buClr>
                <a:schemeClr val="accent5"/>
              </a:buClr>
              <a:buSzPts val="4000"/>
              <a:buNone/>
              <a:defRPr sz="4000">
                <a:solidFill>
                  <a:schemeClr val="accent5"/>
                </a:solidFill>
              </a:defRPr>
            </a:lvl9pPr>
          </a:lstStyle>
          <a:p>
            <a:r>
              <a:t>xx%</a:t>
            </a:r>
          </a:p>
        </p:txBody>
      </p:sp>
      <p:sp>
        <p:nvSpPr>
          <p:cNvPr id="65" name="Google Shape;65;p14"/>
          <p:cNvSpPr txBox="1">
            <a:spLocks noGrp="1"/>
          </p:cNvSpPr>
          <p:nvPr>
            <p:ph type="subTitle" idx="3"/>
          </p:nvPr>
        </p:nvSpPr>
        <p:spPr>
          <a:xfrm>
            <a:off x="3723842" y="1814800"/>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6" name="Google Shape;66;p14"/>
          <p:cNvSpPr txBox="1">
            <a:spLocks noGrp="1"/>
          </p:cNvSpPr>
          <p:nvPr>
            <p:ph type="title" idx="4" hasCustomPrompt="1"/>
          </p:nvPr>
        </p:nvSpPr>
        <p:spPr>
          <a:xfrm>
            <a:off x="1244192" y="3721326"/>
            <a:ext cx="1510800" cy="3099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spcBef>
                <a:spcPts val="0"/>
              </a:spcBef>
              <a:spcAft>
                <a:spcPts val="0"/>
              </a:spcAft>
              <a:buClr>
                <a:schemeClr val="accent5"/>
              </a:buClr>
              <a:buSzPts val="4000"/>
              <a:buNone/>
              <a:defRPr sz="4000">
                <a:solidFill>
                  <a:schemeClr val="accent5"/>
                </a:solidFill>
              </a:defRPr>
            </a:lvl2pPr>
            <a:lvl3pPr lvl="2" rtl="0">
              <a:spcBef>
                <a:spcPts val="0"/>
              </a:spcBef>
              <a:spcAft>
                <a:spcPts val="0"/>
              </a:spcAft>
              <a:buClr>
                <a:schemeClr val="accent5"/>
              </a:buClr>
              <a:buSzPts val="4000"/>
              <a:buNone/>
              <a:defRPr sz="4000">
                <a:solidFill>
                  <a:schemeClr val="accent5"/>
                </a:solidFill>
              </a:defRPr>
            </a:lvl3pPr>
            <a:lvl4pPr lvl="3" rtl="0">
              <a:spcBef>
                <a:spcPts val="0"/>
              </a:spcBef>
              <a:spcAft>
                <a:spcPts val="0"/>
              </a:spcAft>
              <a:buClr>
                <a:schemeClr val="accent5"/>
              </a:buClr>
              <a:buSzPts val="4000"/>
              <a:buNone/>
              <a:defRPr sz="4000">
                <a:solidFill>
                  <a:schemeClr val="accent5"/>
                </a:solidFill>
              </a:defRPr>
            </a:lvl4pPr>
            <a:lvl5pPr lvl="4" rtl="0">
              <a:spcBef>
                <a:spcPts val="0"/>
              </a:spcBef>
              <a:spcAft>
                <a:spcPts val="0"/>
              </a:spcAft>
              <a:buClr>
                <a:schemeClr val="accent5"/>
              </a:buClr>
              <a:buSzPts val="4000"/>
              <a:buNone/>
              <a:defRPr sz="4000">
                <a:solidFill>
                  <a:schemeClr val="accent5"/>
                </a:solidFill>
              </a:defRPr>
            </a:lvl5pPr>
            <a:lvl6pPr lvl="5" rtl="0">
              <a:spcBef>
                <a:spcPts val="0"/>
              </a:spcBef>
              <a:spcAft>
                <a:spcPts val="0"/>
              </a:spcAft>
              <a:buClr>
                <a:schemeClr val="accent5"/>
              </a:buClr>
              <a:buSzPts val="4000"/>
              <a:buNone/>
              <a:defRPr sz="4000">
                <a:solidFill>
                  <a:schemeClr val="accent5"/>
                </a:solidFill>
              </a:defRPr>
            </a:lvl6pPr>
            <a:lvl7pPr lvl="6" rtl="0">
              <a:spcBef>
                <a:spcPts val="0"/>
              </a:spcBef>
              <a:spcAft>
                <a:spcPts val="0"/>
              </a:spcAft>
              <a:buClr>
                <a:schemeClr val="accent5"/>
              </a:buClr>
              <a:buSzPts val="4000"/>
              <a:buNone/>
              <a:defRPr sz="4000">
                <a:solidFill>
                  <a:schemeClr val="accent5"/>
                </a:solidFill>
              </a:defRPr>
            </a:lvl7pPr>
            <a:lvl8pPr lvl="7" rtl="0">
              <a:spcBef>
                <a:spcPts val="0"/>
              </a:spcBef>
              <a:spcAft>
                <a:spcPts val="0"/>
              </a:spcAft>
              <a:buClr>
                <a:schemeClr val="accent5"/>
              </a:buClr>
              <a:buSzPts val="4000"/>
              <a:buNone/>
              <a:defRPr sz="4000">
                <a:solidFill>
                  <a:schemeClr val="accent5"/>
                </a:solidFill>
              </a:defRPr>
            </a:lvl8pPr>
            <a:lvl9pPr lvl="8" rtl="0">
              <a:spcBef>
                <a:spcPts val="0"/>
              </a:spcBef>
              <a:spcAft>
                <a:spcPts val="0"/>
              </a:spcAft>
              <a:buClr>
                <a:schemeClr val="accent5"/>
              </a:buClr>
              <a:buSzPts val="4000"/>
              <a:buNone/>
              <a:defRPr sz="4000">
                <a:solidFill>
                  <a:schemeClr val="accent5"/>
                </a:solidFill>
              </a:defRPr>
            </a:lvl9pPr>
          </a:lstStyle>
          <a:p>
            <a:r>
              <a:t>xx%</a:t>
            </a:r>
          </a:p>
        </p:txBody>
      </p:sp>
      <p:sp>
        <p:nvSpPr>
          <p:cNvPr id="67" name="Google Shape;67;p14"/>
          <p:cNvSpPr txBox="1">
            <a:spLocks noGrp="1"/>
          </p:cNvSpPr>
          <p:nvPr>
            <p:ph type="subTitle" idx="5"/>
          </p:nvPr>
        </p:nvSpPr>
        <p:spPr>
          <a:xfrm>
            <a:off x="1244192" y="3946476"/>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8" name="Google Shape;68;p14"/>
          <p:cNvSpPr txBox="1">
            <a:spLocks noGrp="1"/>
          </p:cNvSpPr>
          <p:nvPr>
            <p:ph type="title" idx="6" hasCustomPrompt="1"/>
          </p:nvPr>
        </p:nvSpPr>
        <p:spPr>
          <a:xfrm>
            <a:off x="3723842" y="3721326"/>
            <a:ext cx="1510800" cy="3099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spcBef>
                <a:spcPts val="0"/>
              </a:spcBef>
              <a:spcAft>
                <a:spcPts val="0"/>
              </a:spcAft>
              <a:buClr>
                <a:schemeClr val="accent5"/>
              </a:buClr>
              <a:buSzPts val="4000"/>
              <a:buNone/>
              <a:defRPr sz="4000">
                <a:solidFill>
                  <a:schemeClr val="accent5"/>
                </a:solidFill>
              </a:defRPr>
            </a:lvl2pPr>
            <a:lvl3pPr lvl="2" rtl="0">
              <a:spcBef>
                <a:spcPts val="0"/>
              </a:spcBef>
              <a:spcAft>
                <a:spcPts val="0"/>
              </a:spcAft>
              <a:buClr>
                <a:schemeClr val="accent5"/>
              </a:buClr>
              <a:buSzPts val="4000"/>
              <a:buNone/>
              <a:defRPr sz="4000">
                <a:solidFill>
                  <a:schemeClr val="accent5"/>
                </a:solidFill>
              </a:defRPr>
            </a:lvl3pPr>
            <a:lvl4pPr lvl="3" rtl="0">
              <a:spcBef>
                <a:spcPts val="0"/>
              </a:spcBef>
              <a:spcAft>
                <a:spcPts val="0"/>
              </a:spcAft>
              <a:buClr>
                <a:schemeClr val="accent5"/>
              </a:buClr>
              <a:buSzPts val="4000"/>
              <a:buNone/>
              <a:defRPr sz="4000">
                <a:solidFill>
                  <a:schemeClr val="accent5"/>
                </a:solidFill>
              </a:defRPr>
            </a:lvl4pPr>
            <a:lvl5pPr lvl="4" rtl="0">
              <a:spcBef>
                <a:spcPts val="0"/>
              </a:spcBef>
              <a:spcAft>
                <a:spcPts val="0"/>
              </a:spcAft>
              <a:buClr>
                <a:schemeClr val="accent5"/>
              </a:buClr>
              <a:buSzPts val="4000"/>
              <a:buNone/>
              <a:defRPr sz="4000">
                <a:solidFill>
                  <a:schemeClr val="accent5"/>
                </a:solidFill>
              </a:defRPr>
            </a:lvl5pPr>
            <a:lvl6pPr lvl="5" rtl="0">
              <a:spcBef>
                <a:spcPts val="0"/>
              </a:spcBef>
              <a:spcAft>
                <a:spcPts val="0"/>
              </a:spcAft>
              <a:buClr>
                <a:schemeClr val="accent5"/>
              </a:buClr>
              <a:buSzPts val="4000"/>
              <a:buNone/>
              <a:defRPr sz="4000">
                <a:solidFill>
                  <a:schemeClr val="accent5"/>
                </a:solidFill>
              </a:defRPr>
            </a:lvl6pPr>
            <a:lvl7pPr lvl="6" rtl="0">
              <a:spcBef>
                <a:spcPts val="0"/>
              </a:spcBef>
              <a:spcAft>
                <a:spcPts val="0"/>
              </a:spcAft>
              <a:buClr>
                <a:schemeClr val="accent5"/>
              </a:buClr>
              <a:buSzPts val="4000"/>
              <a:buNone/>
              <a:defRPr sz="4000">
                <a:solidFill>
                  <a:schemeClr val="accent5"/>
                </a:solidFill>
              </a:defRPr>
            </a:lvl7pPr>
            <a:lvl8pPr lvl="7" rtl="0">
              <a:spcBef>
                <a:spcPts val="0"/>
              </a:spcBef>
              <a:spcAft>
                <a:spcPts val="0"/>
              </a:spcAft>
              <a:buClr>
                <a:schemeClr val="accent5"/>
              </a:buClr>
              <a:buSzPts val="4000"/>
              <a:buNone/>
              <a:defRPr sz="4000">
                <a:solidFill>
                  <a:schemeClr val="accent5"/>
                </a:solidFill>
              </a:defRPr>
            </a:lvl8pPr>
            <a:lvl9pPr lvl="8" rtl="0">
              <a:spcBef>
                <a:spcPts val="0"/>
              </a:spcBef>
              <a:spcAft>
                <a:spcPts val="0"/>
              </a:spcAft>
              <a:buClr>
                <a:schemeClr val="accent5"/>
              </a:buClr>
              <a:buSzPts val="4000"/>
              <a:buNone/>
              <a:defRPr sz="4000">
                <a:solidFill>
                  <a:schemeClr val="accent5"/>
                </a:solidFill>
              </a:defRPr>
            </a:lvl9pPr>
          </a:lstStyle>
          <a:p>
            <a:r>
              <a:t>xx%</a:t>
            </a:r>
          </a:p>
        </p:txBody>
      </p:sp>
      <p:sp>
        <p:nvSpPr>
          <p:cNvPr id="69" name="Google Shape;69;p14"/>
          <p:cNvSpPr txBox="1">
            <a:spLocks noGrp="1"/>
          </p:cNvSpPr>
          <p:nvPr>
            <p:ph type="subTitle" idx="7"/>
          </p:nvPr>
        </p:nvSpPr>
        <p:spPr>
          <a:xfrm>
            <a:off x="3723842" y="3946476"/>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71" name="Google Shape;71;p14"/>
          <p:cNvSpPr txBox="1">
            <a:spLocks noGrp="1"/>
          </p:cNvSpPr>
          <p:nvPr>
            <p:ph type="title" idx="8"/>
          </p:nvPr>
        </p:nvSpPr>
        <p:spPr>
          <a:xfrm rot="-5400000">
            <a:off x="-1266462" y="2396618"/>
            <a:ext cx="4279500" cy="338400"/>
          </a:xfrm>
          <a:prstGeom prst="rect">
            <a:avLst/>
          </a:prstGeom>
        </p:spPr>
        <p:txBody>
          <a:bodyPr spcFirstLastPara="1" wrap="square" lIns="91425" tIns="91425" rIns="91425" bIns="91425" anchor="ctr"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2755682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BB6B9E4-6085-4598-A340-41186F09F10B}" type="datetime1">
              <a:rPr lang="en-US" smtClean="0"/>
              <a:t>10/2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242647" y="215442"/>
            <a:ext cx="8679898" cy="543185"/>
          </a:xfrm>
          <a:prstGeom prst="rect">
            <a:avLst/>
          </a:prstGeom>
        </p:spPr>
        <p:txBody>
          <a:bodyPr anchor="ctr"/>
          <a:lstStyle>
            <a:lvl1pPr marL="0" indent="0" algn="ctr">
              <a:buNone/>
              <a:defRPr sz="405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161754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7_Images &amp; Content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74764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0_Images &amp; Contents Layout">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5100126" y="0"/>
            <a:ext cx="3113596" cy="5143500"/>
          </a:xfrm>
          <a:prstGeom prst="rect">
            <a:avLst/>
          </a:prstGeom>
          <a:solidFill>
            <a:schemeClr val="bg1">
              <a:lumMod val="95000"/>
            </a:schemeClr>
          </a:solidFill>
        </p:spPr>
        <p:txBody>
          <a:bodyPr anchor="ctr"/>
          <a:lstStyle>
            <a:lvl1pPr marL="0" indent="0" algn="ctr">
              <a:buNone/>
              <a:defRPr sz="900" baseline="0">
                <a:solidFill>
                  <a:schemeClr val="tx1">
                    <a:lumMod val="85000"/>
                    <a:lumOff val="15000"/>
                  </a:schemeClr>
                </a:solidFill>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Tree>
    <p:extLst>
      <p:ext uri="{BB962C8B-B14F-4D97-AF65-F5344CB8AC3E}">
        <p14:creationId xmlns:p14="http://schemas.microsoft.com/office/powerpoint/2010/main" val="362226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Section header" type="secHead">
  <p:cSld name="1_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2635125" y="3380817"/>
            <a:ext cx="5788800" cy="1126800"/>
          </a:xfrm>
          <a:prstGeom prst="rect">
            <a:avLst/>
          </a:prstGeom>
        </p:spPr>
        <p:txBody>
          <a:bodyPr spcFirstLastPara="1" wrap="square" lIns="91425" tIns="91425" rIns="91425" bIns="91425" anchor="b" anchorCtr="0">
            <a:noAutofit/>
          </a:bodyPr>
          <a:lstStyle>
            <a:lvl1pPr lvl="0">
              <a:spcBef>
                <a:spcPts val="0"/>
              </a:spcBef>
              <a:spcAft>
                <a:spcPts val="0"/>
              </a:spcAft>
              <a:buSzPts val="2800"/>
              <a:buNone/>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endParaRPr/>
          </a:p>
        </p:txBody>
      </p:sp>
      <p:sp>
        <p:nvSpPr>
          <p:cNvPr id="15" name="Google Shape;15;p3"/>
          <p:cNvSpPr txBox="1">
            <a:spLocks noGrp="1"/>
          </p:cNvSpPr>
          <p:nvPr>
            <p:ph type="title" idx="2" hasCustomPrompt="1"/>
          </p:nvPr>
        </p:nvSpPr>
        <p:spPr>
          <a:xfrm>
            <a:off x="947900" y="2734400"/>
            <a:ext cx="2718000" cy="19635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FFFFFF"/>
              </a:buClr>
              <a:buSzPts val="9000"/>
              <a:buFont typeface="Montserrat Light"/>
              <a:buNone/>
              <a:defRPr sz="9000">
                <a:solidFill>
                  <a:srgbClr val="FFFFFF"/>
                </a:solidFill>
                <a:latin typeface="Montserrat Light"/>
                <a:ea typeface="Montserrat Light"/>
                <a:cs typeface="Montserrat Light"/>
                <a:sym typeface="Montserrat Light"/>
              </a:defRPr>
            </a:lvl1pPr>
            <a:lvl2pPr lvl="1"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2pPr>
            <a:lvl3pPr lvl="2"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3pPr>
            <a:lvl4pPr lvl="3"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4pPr>
            <a:lvl5pPr lvl="4"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5pPr>
            <a:lvl6pPr lvl="5"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6pPr>
            <a:lvl7pPr lvl="6"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7pPr>
            <a:lvl8pPr lvl="7"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8pPr>
            <a:lvl9pPr lvl="8"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9pPr>
          </a:lstStyle>
          <a:p>
            <a:r>
              <a:t>xx%</a:t>
            </a:r>
          </a:p>
        </p:txBody>
      </p:sp>
    </p:spTree>
    <p:extLst>
      <p:ext uri="{BB962C8B-B14F-4D97-AF65-F5344CB8AC3E}">
        <p14:creationId xmlns:p14="http://schemas.microsoft.com/office/powerpoint/2010/main" val="55874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2_Images &amp; Contents Layout">
    <p:bg>
      <p:bgPr>
        <a:solidFill>
          <a:schemeClr val="bg1"/>
        </a:solidFill>
        <a:effectLst/>
      </p:bgPr>
    </p:bg>
    <p:spTree>
      <p:nvGrpSpPr>
        <p:cNvPr id="1" name=""/>
        <p:cNvGrpSpPr/>
        <p:nvPr/>
      </p:nvGrpSpPr>
      <p:grpSpPr>
        <a:xfrm>
          <a:off x="0" y="0"/>
          <a:ext cx="0" cy="0"/>
          <a:chOff x="0" y="0"/>
          <a:chExt cx="0" cy="0"/>
        </a:xfrm>
      </p:grpSpPr>
      <p:sp>
        <p:nvSpPr>
          <p:cNvPr id="7" name="Parallelogram 9">
            <a:extLst>
              <a:ext uri="{FF2B5EF4-FFF2-40B4-BE49-F238E27FC236}">
                <a16:creationId xmlns:a16="http://schemas.microsoft.com/office/drawing/2014/main" id="{A7A58638-C86F-4317-BF5F-5F70F0939630}"/>
              </a:ext>
            </a:extLst>
          </p:cNvPr>
          <p:cNvSpPr/>
          <p:nvPr userDrawn="1"/>
        </p:nvSpPr>
        <p:spPr>
          <a:xfrm>
            <a:off x="2949724" y="3705876"/>
            <a:ext cx="476532" cy="1437624"/>
          </a:xfrm>
          <a:prstGeom prst="parallelogram">
            <a:avLst>
              <a:gd name="adj" fmla="val 810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dirty="0"/>
          </a:p>
        </p:txBody>
      </p:sp>
    </p:spTree>
    <p:extLst>
      <p:ext uri="{BB962C8B-B14F-4D97-AF65-F5344CB8AC3E}">
        <p14:creationId xmlns:p14="http://schemas.microsoft.com/office/powerpoint/2010/main" val="389076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Section title and description" userDrawn="1">
  <p:cSld name="Section title and description">
    <p:spTree>
      <p:nvGrpSpPr>
        <p:cNvPr id="1" name="Shape 35"/>
        <p:cNvGrpSpPr/>
        <p:nvPr/>
      </p:nvGrpSpPr>
      <p:grpSpPr>
        <a:xfrm>
          <a:off x="0" y="0"/>
          <a:ext cx="0" cy="0"/>
          <a:chOff x="0" y="0"/>
          <a:chExt cx="0" cy="0"/>
        </a:xfrm>
      </p:grpSpPr>
    </p:spTree>
    <p:extLst>
      <p:ext uri="{BB962C8B-B14F-4D97-AF65-F5344CB8AC3E}">
        <p14:creationId xmlns:p14="http://schemas.microsoft.com/office/powerpoint/2010/main" val="3101697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8_Images &amp; Contents Layout">
    <p:spTree>
      <p:nvGrpSpPr>
        <p:cNvPr id="1" name=""/>
        <p:cNvGrpSpPr/>
        <p:nvPr/>
      </p:nvGrpSpPr>
      <p:grpSpPr>
        <a:xfrm>
          <a:off x="0" y="0"/>
          <a:ext cx="0" cy="0"/>
          <a:chOff x="0" y="0"/>
          <a:chExt cx="0" cy="0"/>
        </a:xfrm>
      </p:grpSpPr>
      <p:sp>
        <p:nvSpPr>
          <p:cNvPr id="2" name="그림 개체 틀 5">
            <a:extLst>
              <a:ext uri="{FF2B5EF4-FFF2-40B4-BE49-F238E27FC236}">
                <a16:creationId xmlns:a16="http://schemas.microsoft.com/office/drawing/2014/main" id="{67539AF6-5D49-44B8-BBE5-89EA831A4873}"/>
              </a:ext>
            </a:extLst>
          </p:cNvPr>
          <p:cNvSpPr>
            <a:spLocks noGrp="1"/>
          </p:cNvSpPr>
          <p:nvPr>
            <p:ph type="pic" sz="quarter" idx="12" hasCustomPrompt="1"/>
          </p:nvPr>
        </p:nvSpPr>
        <p:spPr>
          <a:xfrm>
            <a:off x="1528762" y="0"/>
            <a:ext cx="3043238" cy="5143500"/>
          </a:xfrm>
          <a:prstGeom prst="rect">
            <a:avLst/>
          </a:prstGeom>
          <a:solidFill>
            <a:schemeClr val="bg1">
              <a:lumMod val="95000"/>
            </a:schemeClr>
          </a:solidFill>
          <a:effectLst/>
        </p:spPr>
        <p:txBody>
          <a:bodyPr wrap="square" anchor="ctr">
            <a:noAutofit/>
          </a:bodyPr>
          <a:lstStyle>
            <a:lvl1pPr marL="0" marR="0" indent="0" algn="ctr" defTabSz="685800" rtl="0" eaLnBrk="1" fontAlgn="auto" latinLnBrk="1" hangingPunct="1">
              <a:lnSpc>
                <a:spcPct val="90000"/>
              </a:lnSpc>
              <a:spcBef>
                <a:spcPts val="750"/>
              </a:spcBef>
              <a:spcAft>
                <a:spcPts val="0"/>
              </a:spcAft>
              <a:buClrTx/>
              <a:buSzTx/>
              <a:buFontTx/>
              <a:buNone/>
              <a:tabLst/>
              <a:defRPr sz="900"/>
            </a:lvl1pPr>
          </a:lstStyle>
          <a:p>
            <a:r>
              <a:rPr lang="en-US" altLang="ko-KR" dirty="0"/>
              <a:t>Your Picture Here</a:t>
            </a:r>
            <a:endParaRPr lang="ko-KR" altLang="en-US" dirty="0"/>
          </a:p>
        </p:txBody>
      </p:sp>
      <p:sp>
        <p:nvSpPr>
          <p:cNvPr id="3" name="직사각형 2">
            <a:extLst>
              <a:ext uri="{FF2B5EF4-FFF2-40B4-BE49-F238E27FC236}">
                <a16:creationId xmlns:a16="http://schemas.microsoft.com/office/drawing/2014/main" id="{4DAB0763-12DF-41B9-B692-22FB8DB24B15}"/>
              </a:ext>
            </a:extLst>
          </p:cNvPr>
          <p:cNvSpPr/>
          <p:nvPr userDrawn="1"/>
        </p:nvSpPr>
        <p:spPr>
          <a:xfrm>
            <a:off x="0" y="0"/>
            <a:ext cx="731520" cy="5143500"/>
          </a:xfrm>
          <a:prstGeom prst="rect">
            <a:avLst/>
          </a:prstGeom>
          <a:solidFill>
            <a:srgbClr val="9F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Tree>
    <p:extLst>
      <p:ext uri="{BB962C8B-B14F-4D97-AF65-F5344CB8AC3E}">
        <p14:creationId xmlns:p14="http://schemas.microsoft.com/office/powerpoint/2010/main" val="1095263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Contents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45493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tyle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2844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242646" y="215441"/>
            <a:ext cx="8679898" cy="543185"/>
          </a:xfrm>
          <a:prstGeom prst="rect">
            <a:avLst/>
          </a:prstGeom>
        </p:spPr>
        <p:txBody>
          <a:bodyPr anchor="ctr"/>
          <a:lstStyle>
            <a:lvl1pPr marL="0" indent="0" algn="ctr">
              <a:buNone/>
              <a:defRPr sz="4050" b="0" baseline="0">
                <a:solidFill>
                  <a:schemeClr val="tx1">
                    <a:lumMod val="85000"/>
                    <a:lumOff val="15000"/>
                  </a:schemeClr>
                </a:solidFill>
                <a:latin typeface="+mj-lt"/>
                <a:cs typeface="Arial" pitchFamily="34" charset="0"/>
              </a:defRPr>
            </a:lvl1pPr>
          </a:lstStyle>
          <a:p>
            <a:pPr lvl="0"/>
            <a:r>
              <a:rPr lang="en-US" altLang="ko-KR" dirty="0"/>
              <a:t>BASIC LAYOUT</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20000">
            <a:off x="-11027" y="4641952"/>
            <a:ext cx="8258496" cy="598082"/>
          </a:xfrm>
          <a:prstGeom prst="rect">
            <a:avLst/>
          </a:prstGeom>
        </p:spPr>
      </p:pic>
      <p:grpSp>
        <p:nvGrpSpPr>
          <p:cNvPr id="11" name="Group 10"/>
          <p:cNvGrpSpPr/>
          <p:nvPr userDrawn="1"/>
        </p:nvGrpSpPr>
        <p:grpSpPr>
          <a:xfrm flipV="1">
            <a:off x="7130819" y="1"/>
            <a:ext cx="2013180" cy="2603252"/>
            <a:chOff x="5710110" y="861237"/>
            <a:chExt cx="2762761" cy="3572539"/>
          </a:xfrm>
        </p:grpSpPr>
        <p:sp>
          <p:nvSpPr>
            <p:cNvPr id="5" name="Isosceles Triangle 4"/>
            <p:cNvSpPr/>
            <p:nvPr userDrawn="1"/>
          </p:nvSpPr>
          <p:spPr>
            <a:xfrm>
              <a:off x="6400800" y="2052084"/>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6" name="Isosceles Triangle 5"/>
            <p:cNvSpPr/>
            <p:nvPr userDrawn="1"/>
          </p:nvSpPr>
          <p:spPr>
            <a:xfrm rot="10800000">
              <a:off x="7091490" y="2052084"/>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7" name="Isosceles Triangle 6"/>
            <p:cNvSpPr/>
            <p:nvPr userDrawn="1"/>
          </p:nvSpPr>
          <p:spPr>
            <a:xfrm>
              <a:off x="5710110" y="3232297"/>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8" name="Isosceles Triangle 7"/>
            <p:cNvSpPr/>
            <p:nvPr userDrawn="1"/>
          </p:nvSpPr>
          <p:spPr>
            <a:xfrm rot="10800000">
              <a:off x="6400800" y="3232297"/>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9" name="Isosceles Triangle 8"/>
            <p:cNvSpPr/>
            <p:nvPr userDrawn="1"/>
          </p:nvSpPr>
          <p:spPr>
            <a:xfrm>
              <a:off x="7091490" y="3242930"/>
              <a:ext cx="1381381" cy="1190846"/>
            </a:xfrm>
            <a:prstGeom prst="triangle">
              <a:avLst/>
            </a:prstGeom>
            <a:solidFill>
              <a:schemeClr val="bg1">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0" name="Isosceles Triangle 9"/>
            <p:cNvSpPr/>
            <p:nvPr userDrawn="1"/>
          </p:nvSpPr>
          <p:spPr>
            <a:xfrm>
              <a:off x="7091490" y="861237"/>
              <a:ext cx="1381381" cy="1190846"/>
            </a:xfrm>
            <a:prstGeom prs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grpSp>
    </p:spTree>
    <p:extLst>
      <p:ext uri="{BB962C8B-B14F-4D97-AF65-F5344CB8AC3E}">
        <p14:creationId xmlns:p14="http://schemas.microsoft.com/office/powerpoint/2010/main" val="31718442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7C06E2D-B3D2-47C4-B4AD-11F6ABC4CA31}" type="datetime1">
              <a:rPr lang="en-US" smtClean="0"/>
              <a:t>10/28/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242646" y="215441"/>
            <a:ext cx="8679898" cy="543185"/>
          </a:xfrm>
          <a:prstGeom prst="rect">
            <a:avLst/>
          </a:prstGeom>
        </p:spPr>
        <p:txBody>
          <a:bodyPr anchor="ctr"/>
          <a:lstStyle>
            <a:lvl1pPr marL="0" indent="0" algn="ctr">
              <a:buNone/>
              <a:defRPr sz="4050" b="0" baseline="0">
                <a:solidFill>
                  <a:schemeClr val="tx1">
                    <a:lumMod val="85000"/>
                    <a:lumOff val="15000"/>
                  </a:schemeClr>
                </a:solidFill>
                <a:latin typeface="+mj-lt"/>
                <a:cs typeface="Arial" pitchFamily="34" charset="0"/>
              </a:defRPr>
            </a:lvl1pPr>
          </a:lstStyle>
          <a:p>
            <a:pPr lvl="0"/>
            <a:r>
              <a:rPr lang="en-US" altLang="ko-KR" dirty="0"/>
              <a:t>BASIC LAYOUT</a:t>
            </a:r>
          </a:p>
        </p:txBody>
      </p:sp>
      <p:grpSp>
        <p:nvGrpSpPr>
          <p:cNvPr id="3" name="Group 2"/>
          <p:cNvGrpSpPr/>
          <p:nvPr userDrawn="1"/>
        </p:nvGrpSpPr>
        <p:grpSpPr>
          <a:xfrm rot="16200000" flipV="1">
            <a:off x="295037" y="2835284"/>
            <a:ext cx="2013180" cy="2603252"/>
            <a:chOff x="5710110" y="861237"/>
            <a:chExt cx="2762761" cy="3572539"/>
          </a:xfrm>
        </p:grpSpPr>
        <p:sp>
          <p:nvSpPr>
            <p:cNvPr id="4" name="Isosceles Triangle 3"/>
            <p:cNvSpPr/>
            <p:nvPr userDrawn="1"/>
          </p:nvSpPr>
          <p:spPr>
            <a:xfrm>
              <a:off x="6400800" y="2052084"/>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5" name="Isosceles Triangle 4"/>
            <p:cNvSpPr/>
            <p:nvPr userDrawn="1"/>
          </p:nvSpPr>
          <p:spPr>
            <a:xfrm rot="10800000">
              <a:off x="7091490" y="2052084"/>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6" name="Isosceles Triangle 5"/>
            <p:cNvSpPr/>
            <p:nvPr userDrawn="1"/>
          </p:nvSpPr>
          <p:spPr>
            <a:xfrm>
              <a:off x="5710110" y="3232297"/>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7" name="Isosceles Triangle 6"/>
            <p:cNvSpPr/>
            <p:nvPr userDrawn="1"/>
          </p:nvSpPr>
          <p:spPr>
            <a:xfrm rot="10800000">
              <a:off x="6400800" y="3232297"/>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8" name="Isosceles Triangle 7"/>
            <p:cNvSpPr/>
            <p:nvPr userDrawn="1"/>
          </p:nvSpPr>
          <p:spPr>
            <a:xfrm>
              <a:off x="7091490" y="3242930"/>
              <a:ext cx="1381381" cy="1190846"/>
            </a:xfrm>
            <a:prstGeom prst="triangle">
              <a:avLst/>
            </a:prstGeom>
            <a:solidFill>
              <a:schemeClr val="bg1">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9" name="Isosceles Triangle 8"/>
            <p:cNvSpPr/>
            <p:nvPr userDrawn="1"/>
          </p:nvSpPr>
          <p:spPr>
            <a:xfrm>
              <a:off x="7091490" y="861237"/>
              <a:ext cx="1381381" cy="1190846"/>
            </a:xfrm>
            <a:prstGeom prs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grpSp>
      <p:grpSp>
        <p:nvGrpSpPr>
          <p:cNvPr id="10" name="Group 9"/>
          <p:cNvGrpSpPr/>
          <p:nvPr userDrawn="1"/>
        </p:nvGrpSpPr>
        <p:grpSpPr>
          <a:xfrm rot="16200000" flipH="1">
            <a:off x="6835784" y="2835285"/>
            <a:ext cx="2013180" cy="2603252"/>
            <a:chOff x="5710110" y="861237"/>
            <a:chExt cx="2762761" cy="3572539"/>
          </a:xfrm>
        </p:grpSpPr>
        <p:sp>
          <p:nvSpPr>
            <p:cNvPr id="11" name="Isosceles Triangle 10"/>
            <p:cNvSpPr/>
            <p:nvPr userDrawn="1"/>
          </p:nvSpPr>
          <p:spPr>
            <a:xfrm>
              <a:off x="6400800" y="2052084"/>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2" name="Isosceles Triangle 11"/>
            <p:cNvSpPr/>
            <p:nvPr userDrawn="1"/>
          </p:nvSpPr>
          <p:spPr>
            <a:xfrm rot="10800000">
              <a:off x="7091490" y="2052084"/>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3" name="Isosceles Triangle 12"/>
            <p:cNvSpPr/>
            <p:nvPr userDrawn="1"/>
          </p:nvSpPr>
          <p:spPr>
            <a:xfrm>
              <a:off x="5710110" y="3232297"/>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4" name="Isosceles Triangle 13"/>
            <p:cNvSpPr/>
            <p:nvPr userDrawn="1"/>
          </p:nvSpPr>
          <p:spPr>
            <a:xfrm rot="10800000">
              <a:off x="6400800" y="3232297"/>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5" name="Isosceles Triangle 14"/>
            <p:cNvSpPr/>
            <p:nvPr userDrawn="1"/>
          </p:nvSpPr>
          <p:spPr>
            <a:xfrm>
              <a:off x="7091490" y="3242930"/>
              <a:ext cx="1381381" cy="1190846"/>
            </a:xfrm>
            <a:prstGeom prst="triangle">
              <a:avLst/>
            </a:prstGeom>
            <a:solidFill>
              <a:schemeClr val="bg1">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6" name="Isosceles Triangle 15"/>
            <p:cNvSpPr/>
            <p:nvPr userDrawn="1"/>
          </p:nvSpPr>
          <p:spPr>
            <a:xfrm>
              <a:off x="7091490" y="861237"/>
              <a:ext cx="1381381" cy="1190846"/>
            </a:xfrm>
            <a:prstGeom prs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grpSp>
    </p:spTree>
    <p:extLst>
      <p:ext uri="{BB962C8B-B14F-4D97-AF65-F5344CB8AC3E}">
        <p14:creationId xmlns:p14="http://schemas.microsoft.com/office/powerpoint/2010/main" val="19956301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242646" y="215441"/>
            <a:ext cx="8679898" cy="543185"/>
          </a:xfrm>
          <a:prstGeom prst="rect">
            <a:avLst/>
          </a:prstGeom>
        </p:spPr>
        <p:txBody>
          <a:bodyPr anchor="ctr"/>
          <a:lstStyle>
            <a:lvl1pPr marL="0" indent="0" algn="ctr">
              <a:buNone/>
              <a:defRPr sz="4050" b="0" baseline="0">
                <a:solidFill>
                  <a:schemeClr val="bg1"/>
                </a:solidFill>
                <a:latin typeface="+mj-lt"/>
                <a:cs typeface="Arial" pitchFamily="34" charset="0"/>
              </a:defRPr>
            </a:lvl1pPr>
          </a:lstStyle>
          <a:p>
            <a:pPr lvl="0"/>
            <a:r>
              <a:rPr lang="en-US" altLang="ko-KR" dirty="0"/>
              <a:t>BASIC LAYOUT</a:t>
            </a:r>
          </a:p>
        </p:txBody>
      </p:sp>
      <p:grpSp>
        <p:nvGrpSpPr>
          <p:cNvPr id="3" name="Group 2"/>
          <p:cNvGrpSpPr/>
          <p:nvPr userDrawn="1"/>
        </p:nvGrpSpPr>
        <p:grpSpPr>
          <a:xfrm rot="16200000" flipV="1">
            <a:off x="1337917" y="3215477"/>
            <a:ext cx="749597" cy="969307"/>
            <a:chOff x="5710110" y="861237"/>
            <a:chExt cx="2762761" cy="3572539"/>
          </a:xfrm>
        </p:grpSpPr>
        <p:sp>
          <p:nvSpPr>
            <p:cNvPr id="4" name="Isosceles Triangle 3"/>
            <p:cNvSpPr/>
            <p:nvPr userDrawn="1"/>
          </p:nvSpPr>
          <p:spPr>
            <a:xfrm>
              <a:off x="6400800" y="2052084"/>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5" name="Isosceles Triangle 4"/>
            <p:cNvSpPr/>
            <p:nvPr userDrawn="1"/>
          </p:nvSpPr>
          <p:spPr>
            <a:xfrm rot="10800000">
              <a:off x="7091490" y="2052084"/>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6" name="Isosceles Triangle 5"/>
            <p:cNvSpPr/>
            <p:nvPr userDrawn="1"/>
          </p:nvSpPr>
          <p:spPr>
            <a:xfrm>
              <a:off x="5710110" y="3232297"/>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7" name="Isosceles Triangle 6"/>
            <p:cNvSpPr/>
            <p:nvPr userDrawn="1"/>
          </p:nvSpPr>
          <p:spPr>
            <a:xfrm rot="10800000">
              <a:off x="6400800" y="3232297"/>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8" name="Isosceles Triangle 7"/>
            <p:cNvSpPr/>
            <p:nvPr userDrawn="1"/>
          </p:nvSpPr>
          <p:spPr>
            <a:xfrm>
              <a:off x="7091490" y="3242930"/>
              <a:ext cx="1381381" cy="1190846"/>
            </a:xfrm>
            <a:prstGeom prst="triangle">
              <a:avLst/>
            </a:prstGeom>
            <a:solidFill>
              <a:schemeClr val="bg1">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9" name="Isosceles Triangle 8"/>
            <p:cNvSpPr/>
            <p:nvPr userDrawn="1"/>
          </p:nvSpPr>
          <p:spPr>
            <a:xfrm>
              <a:off x="7091490" y="861237"/>
              <a:ext cx="1381381" cy="1190846"/>
            </a:xfrm>
            <a:prstGeom prs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grpSp>
      <p:grpSp>
        <p:nvGrpSpPr>
          <p:cNvPr id="17" name="Group 16"/>
          <p:cNvGrpSpPr/>
          <p:nvPr userDrawn="1"/>
        </p:nvGrpSpPr>
        <p:grpSpPr>
          <a:xfrm rot="16200000" flipV="1">
            <a:off x="688828" y="2840679"/>
            <a:ext cx="749597" cy="969307"/>
            <a:chOff x="5710110" y="861237"/>
            <a:chExt cx="2762761" cy="3572539"/>
          </a:xfrm>
        </p:grpSpPr>
        <p:sp>
          <p:nvSpPr>
            <p:cNvPr id="18" name="Isosceles Triangle 17"/>
            <p:cNvSpPr/>
            <p:nvPr userDrawn="1"/>
          </p:nvSpPr>
          <p:spPr>
            <a:xfrm>
              <a:off x="6400800" y="2052084"/>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9" name="Isosceles Triangle 18"/>
            <p:cNvSpPr/>
            <p:nvPr userDrawn="1"/>
          </p:nvSpPr>
          <p:spPr>
            <a:xfrm rot="10800000">
              <a:off x="7091490" y="2052084"/>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20" name="Isosceles Triangle 19"/>
            <p:cNvSpPr/>
            <p:nvPr userDrawn="1"/>
          </p:nvSpPr>
          <p:spPr>
            <a:xfrm>
              <a:off x="5710110" y="3232297"/>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21" name="Isosceles Triangle 20"/>
            <p:cNvSpPr/>
            <p:nvPr userDrawn="1"/>
          </p:nvSpPr>
          <p:spPr>
            <a:xfrm rot="10800000">
              <a:off x="6400800" y="3232297"/>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22" name="Isosceles Triangle 21"/>
            <p:cNvSpPr/>
            <p:nvPr userDrawn="1"/>
          </p:nvSpPr>
          <p:spPr>
            <a:xfrm>
              <a:off x="7091490" y="3242930"/>
              <a:ext cx="1381381" cy="1190846"/>
            </a:xfrm>
            <a:prstGeom prst="triangle">
              <a:avLst/>
            </a:prstGeom>
            <a:solidFill>
              <a:schemeClr val="bg1">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23" name="Isosceles Triangle 22"/>
            <p:cNvSpPr/>
            <p:nvPr userDrawn="1"/>
          </p:nvSpPr>
          <p:spPr>
            <a:xfrm>
              <a:off x="7091490" y="861237"/>
              <a:ext cx="1381381" cy="1190846"/>
            </a:xfrm>
            <a:prstGeom prs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grpSp>
    </p:spTree>
    <p:extLst>
      <p:ext uri="{BB962C8B-B14F-4D97-AF65-F5344CB8AC3E}">
        <p14:creationId xmlns:p14="http://schemas.microsoft.com/office/powerpoint/2010/main" val="37048191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2065375" y="215441"/>
            <a:ext cx="6857169" cy="543185"/>
          </a:xfrm>
          <a:prstGeom prst="rect">
            <a:avLst/>
          </a:prstGeom>
        </p:spPr>
        <p:txBody>
          <a:bodyPr anchor="ctr"/>
          <a:lstStyle>
            <a:lvl1pPr marL="0" indent="0" algn="l">
              <a:buNone/>
              <a:defRPr sz="4050" b="0" baseline="0">
                <a:solidFill>
                  <a:schemeClr val="tx1">
                    <a:lumMod val="85000"/>
                    <a:lumOff val="15000"/>
                  </a:schemeClr>
                </a:solidFill>
                <a:latin typeface="+mj-lt"/>
                <a:cs typeface="Arial" pitchFamily="34" charset="0"/>
              </a:defRPr>
            </a:lvl1pPr>
          </a:lstStyle>
          <a:p>
            <a:pPr lvl="0"/>
            <a:r>
              <a:rPr lang="en-US" altLang="ko-KR" dirty="0"/>
              <a:t>BASIC LAYOUT</a:t>
            </a:r>
          </a:p>
        </p:txBody>
      </p:sp>
      <p:grpSp>
        <p:nvGrpSpPr>
          <p:cNvPr id="3" name="Group 2"/>
          <p:cNvGrpSpPr/>
          <p:nvPr userDrawn="1"/>
        </p:nvGrpSpPr>
        <p:grpSpPr>
          <a:xfrm rot="16200000" flipV="1">
            <a:off x="295037" y="2835284"/>
            <a:ext cx="2013180" cy="2603252"/>
            <a:chOff x="5710110" y="861237"/>
            <a:chExt cx="2762761" cy="3572539"/>
          </a:xfrm>
        </p:grpSpPr>
        <p:sp>
          <p:nvSpPr>
            <p:cNvPr id="4" name="Isosceles Triangle 3"/>
            <p:cNvSpPr/>
            <p:nvPr userDrawn="1"/>
          </p:nvSpPr>
          <p:spPr>
            <a:xfrm>
              <a:off x="6400800" y="2052084"/>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5" name="Isosceles Triangle 4"/>
            <p:cNvSpPr/>
            <p:nvPr userDrawn="1"/>
          </p:nvSpPr>
          <p:spPr>
            <a:xfrm rot="10800000">
              <a:off x="7091490" y="2052084"/>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6" name="Isosceles Triangle 5"/>
            <p:cNvSpPr/>
            <p:nvPr userDrawn="1"/>
          </p:nvSpPr>
          <p:spPr>
            <a:xfrm>
              <a:off x="5710110" y="3232297"/>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7" name="Isosceles Triangle 6"/>
            <p:cNvSpPr/>
            <p:nvPr userDrawn="1"/>
          </p:nvSpPr>
          <p:spPr>
            <a:xfrm rot="10800000">
              <a:off x="6400800" y="3232297"/>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8" name="Isosceles Triangle 7"/>
            <p:cNvSpPr/>
            <p:nvPr userDrawn="1"/>
          </p:nvSpPr>
          <p:spPr>
            <a:xfrm>
              <a:off x="7091490" y="3242930"/>
              <a:ext cx="1381381" cy="1190846"/>
            </a:xfrm>
            <a:prstGeom prst="triangle">
              <a:avLst/>
            </a:prstGeom>
            <a:solidFill>
              <a:schemeClr val="bg1">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9" name="Isosceles Triangle 8"/>
            <p:cNvSpPr/>
            <p:nvPr userDrawn="1"/>
          </p:nvSpPr>
          <p:spPr>
            <a:xfrm>
              <a:off x="7091490" y="861237"/>
              <a:ext cx="1381381" cy="1190846"/>
            </a:xfrm>
            <a:prstGeom prs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grpSp>
    </p:spTree>
    <p:extLst>
      <p:ext uri="{BB962C8B-B14F-4D97-AF65-F5344CB8AC3E}">
        <p14:creationId xmlns:p14="http://schemas.microsoft.com/office/powerpoint/2010/main" val="6807321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242646" y="215441"/>
            <a:ext cx="8679898" cy="543185"/>
          </a:xfrm>
          <a:prstGeom prst="rect">
            <a:avLst/>
          </a:prstGeom>
        </p:spPr>
        <p:txBody>
          <a:bodyPr anchor="ctr"/>
          <a:lstStyle>
            <a:lvl1pPr marL="0" indent="0" algn="ctr">
              <a:buNone/>
              <a:defRPr sz="4050" b="0" baseline="0">
                <a:solidFill>
                  <a:schemeClr val="tx1">
                    <a:lumMod val="85000"/>
                    <a:lumOff val="15000"/>
                  </a:schemeClr>
                </a:solidFill>
                <a:latin typeface="+mj-lt"/>
                <a:cs typeface="Arial" pitchFamily="34" charset="0"/>
              </a:defRPr>
            </a:lvl1pPr>
          </a:lstStyle>
          <a:p>
            <a:pPr lvl="0"/>
            <a:r>
              <a:rPr lang="en-US" altLang="ko-KR" dirty="0"/>
              <a:t>BASIC LAYOUT</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20000">
            <a:off x="-11027" y="4641952"/>
            <a:ext cx="8258496" cy="598082"/>
          </a:xfrm>
          <a:prstGeom prst="rect">
            <a:avLst/>
          </a:prstGeom>
        </p:spPr>
      </p:pic>
      <p:grpSp>
        <p:nvGrpSpPr>
          <p:cNvPr id="11" name="Group 10"/>
          <p:cNvGrpSpPr/>
          <p:nvPr userDrawn="1"/>
        </p:nvGrpSpPr>
        <p:grpSpPr>
          <a:xfrm flipV="1">
            <a:off x="7130819" y="1"/>
            <a:ext cx="2013180" cy="2603252"/>
            <a:chOff x="5710110" y="861237"/>
            <a:chExt cx="2762761" cy="3572539"/>
          </a:xfrm>
        </p:grpSpPr>
        <p:sp>
          <p:nvSpPr>
            <p:cNvPr id="5" name="Isosceles Triangle 4"/>
            <p:cNvSpPr/>
            <p:nvPr userDrawn="1"/>
          </p:nvSpPr>
          <p:spPr>
            <a:xfrm>
              <a:off x="6400800" y="2052084"/>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6" name="Isosceles Triangle 5"/>
            <p:cNvSpPr/>
            <p:nvPr userDrawn="1"/>
          </p:nvSpPr>
          <p:spPr>
            <a:xfrm rot="10800000">
              <a:off x="7091490" y="2052084"/>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7" name="Isosceles Triangle 6"/>
            <p:cNvSpPr/>
            <p:nvPr userDrawn="1"/>
          </p:nvSpPr>
          <p:spPr>
            <a:xfrm>
              <a:off x="5710110" y="3232297"/>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8" name="Isosceles Triangle 7"/>
            <p:cNvSpPr/>
            <p:nvPr userDrawn="1"/>
          </p:nvSpPr>
          <p:spPr>
            <a:xfrm rot="10800000">
              <a:off x="6400800" y="3232297"/>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9" name="Isosceles Triangle 8"/>
            <p:cNvSpPr/>
            <p:nvPr userDrawn="1"/>
          </p:nvSpPr>
          <p:spPr>
            <a:xfrm>
              <a:off x="7091490" y="3242930"/>
              <a:ext cx="1381381" cy="1190846"/>
            </a:xfrm>
            <a:prstGeom prst="triangle">
              <a:avLst/>
            </a:prstGeom>
            <a:solidFill>
              <a:schemeClr val="bg1">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0" name="Isosceles Triangle 9"/>
            <p:cNvSpPr/>
            <p:nvPr userDrawn="1"/>
          </p:nvSpPr>
          <p:spPr>
            <a:xfrm>
              <a:off x="7091490" y="861237"/>
              <a:ext cx="1381381" cy="1190846"/>
            </a:xfrm>
            <a:prstGeom prs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grpSp>
      <p:sp>
        <p:nvSpPr>
          <p:cNvPr id="12" name="그림 개체 틀 2">
            <a:extLst>
              <a:ext uri="{FF2B5EF4-FFF2-40B4-BE49-F238E27FC236}">
                <a16:creationId xmlns:a16="http://schemas.microsoft.com/office/drawing/2014/main" id="{C82AD369-D5FC-4070-BC71-064D8FC9F62A}"/>
              </a:ext>
            </a:extLst>
          </p:cNvPr>
          <p:cNvSpPr>
            <a:spLocks noGrp="1"/>
          </p:cNvSpPr>
          <p:nvPr>
            <p:ph type="pic" sz="quarter" idx="46" hasCustomPrompt="1"/>
          </p:nvPr>
        </p:nvSpPr>
        <p:spPr>
          <a:xfrm>
            <a:off x="1406725" y="1207547"/>
            <a:ext cx="7194958" cy="1984497"/>
          </a:xfrm>
          <a:custGeom>
            <a:avLst/>
            <a:gdLst>
              <a:gd name="connsiteX0" fmla="*/ 0 w 6913722"/>
              <a:gd name="connsiteY0" fmla="*/ 0 h 1800200"/>
              <a:gd name="connsiteX1" fmla="*/ 6913722 w 6913722"/>
              <a:gd name="connsiteY1" fmla="*/ 0 h 1800200"/>
              <a:gd name="connsiteX2" fmla="*/ 6913722 w 6913722"/>
              <a:gd name="connsiteY2" fmla="*/ 1800200 h 1800200"/>
              <a:gd name="connsiteX3" fmla="*/ 0 w 6913722"/>
              <a:gd name="connsiteY3" fmla="*/ 1800200 h 1800200"/>
              <a:gd name="connsiteX4" fmla="*/ 0 w 6913722"/>
              <a:gd name="connsiteY4" fmla="*/ 0 h 1800200"/>
              <a:gd name="connsiteX0" fmla="*/ 0 w 6913722"/>
              <a:gd name="connsiteY0" fmla="*/ 0 h 1800200"/>
              <a:gd name="connsiteX1" fmla="*/ 6913722 w 6913722"/>
              <a:gd name="connsiteY1" fmla="*/ 0 h 1800200"/>
              <a:gd name="connsiteX2" fmla="*/ 6913722 w 6913722"/>
              <a:gd name="connsiteY2" fmla="*/ 1800200 h 1800200"/>
              <a:gd name="connsiteX3" fmla="*/ 1103257 w 6913722"/>
              <a:gd name="connsiteY3" fmla="*/ 1791789 h 1800200"/>
              <a:gd name="connsiteX4" fmla="*/ 0 w 6913722"/>
              <a:gd name="connsiteY4" fmla="*/ 1800200 h 1800200"/>
              <a:gd name="connsiteX5" fmla="*/ 0 w 6913722"/>
              <a:gd name="connsiteY5" fmla="*/ 0 h 1800200"/>
              <a:gd name="connsiteX0" fmla="*/ 0 w 6913722"/>
              <a:gd name="connsiteY0" fmla="*/ 0 h 1800200"/>
              <a:gd name="connsiteX1" fmla="*/ 6913722 w 6913722"/>
              <a:gd name="connsiteY1" fmla="*/ 0 h 1800200"/>
              <a:gd name="connsiteX2" fmla="*/ 6913722 w 6913722"/>
              <a:gd name="connsiteY2" fmla="*/ 1800200 h 1800200"/>
              <a:gd name="connsiteX3" fmla="*/ 1489151 w 6913722"/>
              <a:gd name="connsiteY3" fmla="*/ 1800178 h 1800200"/>
              <a:gd name="connsiteX4" fmla="*/ 1103257 w 6913722"/>
              <a:gd name="connsiteY4" fmla="*/ 1791789 h 1800200"/>
              <a:gd name="connsiteX5" fmla="*/ 0 w 6913722"/>
              <a:gd name="connsiteY5" fmla="*/ 1800200 h 1800200"/>
              <a:gd name="connsiteX6" fmla="*/ 0 w 6913722"/>
              <a:gd name="connsiteY6" fmla="*/ 0 h 1800200"/>
              <a:gd name="connsiteX0" fmla="*/ 0 w 6913722"/>
              <a:gd name="connsiteY0" fmla="*/ 0 h 1800200"/>
              <a:gd name="connsiteX1" fmla="*/ 6913722 w 6913722"/>
              <a:gd name="connsiteY1" fmla="*/ 0 h 1800200"/>
              <a:gd name="connsiteX2" fmla="*/ 6913722 w 6913722"/>
              <a:gd name="connsiteY2" fmla="*/ 1800200 h 1800200"/>
              <a:gd name="connsiteX3" fmla="*/ 1489151 w 6913722"/>
              <a:gd name="connsiteY3" fmla="*/ 1800178 h 1800200"/>
              <a:gd name="connsiteX4" fmla="*/ 1287815 w 6913722"/>
              <a:gd name="connsiteY4" fmla="*/ 1791789 h 1800200"/>
              <a:gd name="connsiteX5" fmla="*/ 1103257 w 6913722"/>
              <a:gd name="connsiteY5" fmla="*/ 1791789 h 1800200"/>
              <a:gd name="connsiteX6" fmla="*/ 0 w 6913722"/>
              <a:gd name="connsiteY6" fmla="*/ 1800200 h 1800200"/>
              <a:gd name="connsiteX7" fmla="*/ 0 w 6913722"/>
              <a:gd name="connsiteY7" fmla="*/ 0 h 1800200"/>
              <a:gd name="connsiteX0" fmla="*/ 0 w 6913722"/>
              <a:gd name="connsiteY0" fmla="*/ 0 h 1951179"/>
              <a:gd name="connsiteX1" fmla="*/ 6913722 w 6913722"/>
              <a:gd name="connsiteY1" fmla="*/ 0 h 1951179"/>
              <a:gd name="connsiteX2" fmla="*/ 6913722 w 6913722"/>
              <a:gd name="connsiteY2" fmla="*/ 1800200 h 1951179"/>
              <a:gd name="connsiteX3" fmla="*/ 1489151 w 6913722"/>
              <a:gd name="connsiteY3" fmla="*/ 1800178 h 1951179"/>
              <a:gd name="connsiteX4" fmla="*/ 1296204 w 6913722"/>
              <a:gd name="connsiteY4" fmla="*/ 1951179 h 1951179"/>
              <a:gd name="connsiteX5" fmla="*/ 1103257 w 6913722"/>
              <a:gd name="connsiteY5" fmla="*/ 1791789 h 1951179"/>
              <a:gd name="connsiteX6" fmla="*/ 0 w 6913722"/>
              <a:gd name="connsiteY6" fmla="*/ 1800200 h 1951179"/>
              <a:gd name="connsiteX7" fmla="*/ 0 w 6913722"/>
              <a:gd name="connsiteY7" fmla="*/ 0 h 1951179"/>
              <a:gd name="connsiteX0" fmla="*/ 0 w 6913722"/>
              <a:gd name="connsiteY0" fmla="*/ 0 h 2002718"/>
              <a:gd name="connsiteX1" fmla="*/ 6913722 w 6913722"/>
              <a:gd name="connsiteY1" fmla="*/ 0 h 2002718"/>
              <a:gd name="connsiteX2" fmla="*/ 6913722 w 6913722"/>
              <a:gd name="connsiteY2" fmla="*/ 1800200 h 2002718"/>
              <a:gd name="connsiteX3" fmla="*/ 1489151 w 6913722"/>
              <a:gd name="connsiteY3" fmla="*/ 1800178 h 2002718"/>
              <a:gd name="connsiteX4" fmla="*/ 1303214 w 6913722"/>
              <a:gd name="connsiteY4" fmla="*/ 2002718 h 2002718"/>
              <a:gd name="connsiteX5" fmla="*/ 1103257 w 6913722"/>
              <a:gd name="connsiteY5" fmla="*/ 1791789 h 2002718"/>
              <a:gd name="connsiteX6" fmla="*/ 0 w 6913722"/>
              <a:gd name="connsiteY6" fmla="*/ 1800200 h 2002718"/>
              <a:gd name="connsiteX7" fmla="*/ 0 w 6913722"/>
              <a:gd name="connsiteY7" fmla="*/ 0 h 2002718"/>
              <a:gd name="connsiteX0" fmla="*/ 0 w 6913722"/>
              <a:gd name="connsiteY0" fmla="*/ 0 h 2002718"/>
              <a:gd name="connsiteX1" fmla="*/ 6913722 w 6913722"/>
              <a:gd name="connsiteY1" fmla="*/ 0 h 2002718"/>
              <a:gd name="connsiteX2" fmla="*/ 6913722 w 6913722"/>
              <a:gd name="connsiteY2" fmla="*/ 1800200 h 2002718"/>
              <a:gd name="connsiteX3" fmla="*/ 1489151 w 6913722"/>
              <a:gd name="connsiteY3" fmla="*/ 1800178 h 2002718"/>
              <a:gd name="connsiteX4" fmla="*/ 1289193 w 6913722"/>
              <a:gd name="connsiteY4" fmla="*/ 2002718 h 2002718"/>
              <a:gd name="connsiteX5" fmla="*/ 1103257 w 6913722"/>
              <a:gd name="connsiteY5" fmla="*/ 1791789 h 2002718"/>
              <a:gd name="connsiteX6" fmla="*/ 0 w 6913722"/>
              <a:gd name="connsiteY6" fmla="*/ 1800200 h 2002718"/>
              <a:gd name="connsiteX7" fmla="*/ 0 w 6913722"/>
              <a:gd name="connsiteY7" fmla="*/ 0 h 200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13722" h="2002718">
                <a:moveTo>
                  <a:pt x="0" y="0"/>
                </a:moveTo>
                <a:lnTo>
                  <a:pt x="6913722" y="0"/>
                </a:lnTo>
                <a:lnTo>
                  <a:pt x="6913722" y="1800200"/>
                </a:lnTo>
                <a:lnTo>
                  <a:pt x="1489151" y="1800178"/>
                </a:lnTo>
                <a:lnTo>
                  <a:pt x="1289193" y="2002718"/>
                </a:lnTo>
                <a:lnTo>
                  <a:pt x="1103257" y="1791789"/>
                </a:lnTo>
                <a:lnTo>
                  <a:pt x="0" y="1800200"/>
                </a:lnTo>
                <a:lnTo>
                  <a:pt x="0" y="0"/>
                </a:lnTo>
                <a:close/>
              </a:path>
            </a:pathLst>
          </a:cu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9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13" name="Rectangle 7">
            <a:extLst>
              <a:ext uri="{FF2B5EF4-FFF2-40B4-BE49-F238E27FC236}">
                <a16:creationId xmlns:a16="http://schemas.microsoft.com/office/drawing/2014/main" id="{BBD87E43-19A7-48AA-87E3-677FC5FEE8E9}"/>
              </a:ext>
            </a:extLst>
          </p:cNvPr>
          <p:cNvSpPr/>
          <p:nvPr userDrawn="1"/>
        </p:nvSpPr>
        <p:spPr>
          <a:xfrm>
            <a:off x="0" y="1207548"/>
            <a:ext cx="1406726" cy="1792481"/>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4" name="그림 개체 틀 2">
            <a:extLst>
              <a:ext uri="{FF2B5EF4-FFF2-40B4-BE49-F238E27FC236}">
                <a16:creationId xmlns:a16="http://schemas.microsoft.com/office/drawing/2014/main" id="{C3DE683D-324F-4A44-B9B4-483B8FD1C70A}"/>
              </a:ext>
            </a:extLst>
          </p:cNvPr>
          <p:cNvSpPr>
            <a:spLocks noGrp="1"/>
          </p:cNvSpPr>
          <p:nvPr>
            <p:ph type="pic" sz="quarter" idx="58" hasCustomPrompt="1"/>
          </p:nvPr>
        </p:nvSpPr>
        <p:spPr>
          <a:xfrm>
            <a:off x="7211560" y="3140974"/>
            <a:ext cx="1390123" cy="125283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9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15" name="그림 개체 틀 2">
            <a:extLst>
              <a:ext uri="{FF2B5EF4-FFF2-40B4-BE49-F238E27FC236}">
                <a16:creationId xmlns:a16="http://schemas.microsoft.com/office/drawing/2014/main" id="{3702F1BA-10D8-4331-BD4C-2706D1D94949}"/>
              </a:ext>
            </a:extLst>
          </p:cNvPr>
          <p:cNvSpPr>
            <a:spLocks noGrp="1"/>
          </p:cNvSpPr>
          <p:nvPr>
            <p:ph type="pic" sz="quarter" idx="59" hasCustomPrompt="1"/>
          </p:nvPr>
        </p:nvSpPr>
        <p:spPr>
          <a:xfrm>
            <a:off x="5678034" y="3140974"/>
            <a:ext cx="1390123" cy="125283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900" dirty="0">
                <a:solidFill>
                  <a:schemeClr val="tx1">
                    <a:lumMod val="75000"/>
                    <a:lumOff val="25000"/>
                  </a:schemeClr>
                </a:solidFill>
              </a:defRPr>
            </a:lvl1pPr>
          </a:lstStyle>
          <a:p>
            <a:pPr marL="0" lvl="0" algn="ctr"/>
            <a:r>
              <a:rPr lang="en-US" altLang="ko-KR" dirty="0"/>
              <a:t>Place Your Picture Here</a:t>
            </a:r>
            <a:endParaRPr lang="ko-KR" altLang="en-US" dirty="0"/>
          </a:p>
        </p:txBody>
      </p:sp>
    </p:spTree>
    <p:extLst>
      <p:ext uri="{BB962C8B-B14F-4D97-AF65-F5344CB8AC3E}">
        <p14:creationId xmlns:p14="http://schemas.microsoft.com/office/powerpoint/2010/main" val="42409596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242646" y="215441"/>
            <a:ext cx="8679898" cy="543185"/>
          </a:xfrm>
          <a:prstGeom prst="rect">
            <a:avLst/>
          </a:prstGeom>
        </p:spPr>
        <p:txBody>
          <a:bodyPr anchor="ctr"/>
          <a:lstStyle>
            <a:lvl1pPr marL="0" indent="0" algn="ctr">
              <a:buNone/>
              <a:defRPr sz="4050" b="0" baseline="0">
                <a:solidFill>
                  <a:schemeClr val="tx1">
                    <a:lumMod val="85000"/>
                    <a:lumOff val="15000"/>
                  </a:schemeClr>
                </a:solidFill>
                <a:latin typeface="+mj-lt"/>
                <a:cs typeface="Arial" pitchFamily="34" charset="0"/>
              </a:defRPr>
            </a:lvl1pPr>
          </a:lstStyle>
          <a:p>
            <a:pPr lvl="0"/>
            <a:r>
              <a:rPr lang="en-US" altLang="ko-KR" dirty="0"/>
              <a:t>BASIC LAYOUT</a:t>
            </a:r>
          </a:p>
        </p:txBody>
      </p:sp>
      <p:grpSp>
        <p:nvGrpSpPr>
          <p:cNvPr id="3" name="Group 2"/>
          <p:cNvGrpSpPr/>
          <p:nvPr userDrawn="1"/>
        </p:nvGrpSpPr>
        <p:grpSpPr>
          <a:xfrm rot="16200000" flipV="1">
            <a:off x="295037" y="2835284"/>
            <a:ext cx="2013180" cy="2603252"/>
            <a:chOff x="5710110" y="861237"/>
            <a:chExt cx="2762761" cy="3572539"/>
          </a:xfrm>
        </p:grpSpPr>
        <p:sp>
          <p:nvSpPr>
            <p:cNvPr id="4" name="Isosceles Triangle 3"/>
            <p:cNvSpPr/>
            <p:nvPr userDrawn="1"/>
          </p:nvSpPr>
          <p:spPr>
            <a:xfrm>
              <a:off x="6400800" y="2052084"/>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5" name="Isosceles Triangle 4"/>
            <p:cNvSpPr/>
            <p:nvPr userDrawn="1"/>
          </p:nvSpPr>
          <p:spPr>
            <a:xfrm rot="10800000">
              <a:off x="7091490" y="2052084"/>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6" name="Isosceles Triangle 5"/>
            <p:cNvSpPr/>
            <p:nvPr userDrawn="1"/>
          </p:nvSpPr>
          <p:spPr>
            <a:xfrm>
              <a:off x="5710110" y="3232297"/>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7" name="Isosceles Triangle 6"/>
            <p:cNvSpPr/>
            <p:nvPr userDrawn="1"/>
          </p:nvSpPr>
          <p:spPr>
            <a:xfrm rot="10800000">
              <a:off x="6400800" y="3232297"/>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8" name="Isosceles Triangle 7"/>
            <p:cNvSpPr/>
            <p:nvPr userDrawn="1"/>
          </p:nvSpPr>
          <p:spPr>
            <a:xfrm>
              <a:off x="7091490" y="3242930"/>
              <a:ext cx="1381381" cy="1190846"/>
            </a:xfrm>
            <a:prstGeom prst="triangle">
              <a:avLst/>
            </a:prstGeom>
            <a:solidFill>
              <a:schemeClr val="bg1">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9" name="Isosceles Triangle 8"/>
            <p:cNvSpPr/>
            <p:nvPr userDrawn="1"/>
          </p:nvSpPr>
          <p:spPr>
            <a:xfrm>
              <a:off x="7091490" y="861237"/>
              <a:ext cx="1381381" cy="1190846"/>
            </a:xfrm>
            <a:prstGeom prs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grpSp>
      <p:grpSp>
        <p:nvGrpSpPr>
          <p:cNvPr id="10" name="Group 9"/>
          <p:cNvGrpSpPr/>
          <p:nvPr userDrawn="1"/>
        </p:nvGrpSpPr>
        <p:grpSpPr>
          <a:xfrm rot="16200000" flipH="1">
            <a:off x="6835784" y="2835285"/>
            <a:ext cx="2013180" cy="2603252"/>
            <a:chOff x="5710110" y="861237"/>
            <a:chExt cx="2762761" cy="3572539"/>
          </a:xfrm>
        </p:grpSpPr>
        <p:sp>
          <p:nvSpPr>
            <p:cNvPr id="11" name="Isosceles Triangle 10"/>
            <p:cNvSpPr/>
            <p:nvPr userDrawn="1"/>
          </p:nvSpPr>
          <p:spPr>
            <a:xfrm>
              <a:off x="6400800" y="2052084"/>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2" name="Isosceles Triangle 11"/>
            <p:cNvSpPr/>
            <p:nvPr userDrawn="1"/>
          </p:nvSpPr>
          <p:spPr>
            <a:xfrm rot="10800000">
              <a:off x="7091490" y="2052084"/>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3" name="Isosceles Triangle 12"/>
            <p:cNvSpPr/>
            <p:nvPr userDrawn="1"/>
          </p:nvSpPr>
          <p:spPr>
            <a:xfrm>
              <a:off x="5710110" y="3232297"/>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4" name="Isosceles Triangle 13"/>
            <p:cNvSpPr/>
            <p:nvPr userDrawn="1"/>
          </p:nvSpPr>
          <p:spPr>
            <a:xfrm rot="10800000">
              <a:off x="6400800" y="3232297"/>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5" name="Isosceles Triangle 14"/>
            <p:cNvSpPr/>
            <p:nvPr userDrawn="1"/>
          </p:nvSpPr>
          <p:spPr>
            <a:xfrm>
              <a:off x="7091490" y="3242930"/>
              <a:ext cx="1381381" cy="1190846"/>
            </a:xfrm>
            <a:prstGeom prst="triangle">
              <a:avLst/>
            </a:prstGeom>
            <a:solidFill>
              <a:schemeClr val="bg1">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6" name="Isosceles Triangle 15"/>
            <p:cNvSpPr/>
            <p:nvPr userDrawn="1"/>
          </p:nvSpPr>
          <p:spPr>
            <a:xfrm>
              <a:off x="7091490" y="861237"/>
              <a:ext cx="1381381" cy="1190846"/>
            </a:xfrm>
            <a:prstGeom prs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grpSp>
      <p:sp>
        <p:nvSpPr>
          <p:cNvPr id="17" name="그림 개체 틀 2">
            <a:extLst>
              <a:ext uri="{FF2B5EF4-FFF2-40B4-BE49-F238E27FC236}">
                <a16:creationId xmlns:a16="http://schemas.microsoft.com/office/drawing/2014/main" id="{F2E4E9C1-347B-453B-9635-0B93ABEC7931}"/>
              </a:ext>
            </a:extLst>
          </p:cNvPr>
          <p:cNvSpPr>
            <a:spLocks noGrp="1"/>
          </p:cNvSpPr>
          <p:nvPr>
            <p:ph type="pic" sz="quarter" idx="47" hasCustomPrompt="1"/>
          </p:nvPr>
        </p:nvSpPr>
        <p:spPr>
          <a:xfrm>
            <a:off x="547170" y="2585036"/>
            <a:ext cx="4023000" cy="1593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9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18" name="그림 개체 틀 2">
            <a:extLst>
              <a:ext uri="{FF2B5EF4-FFF2-40B4-BE49-F238E27FC236}">
                <a16:creationId xmlns:a16="http://schemas.microsoft.com/office/drawing/2014/main" id="{7F09AA59-EBC5-49D4-86FA-BA501F3B0031}"/>
              </a:ext>
            </a:extLst>
          </p:cNvPr>
          <p:cNvSpPr>
            <a:spLocks noGrp="1"/>
          </p:cNvSpPr>
          <p:nvPr>
            <p:ph type="pic" sz="quarter" idx="48" hasCustomPrompt="1"/>
          </p:nvPr>
        </p:nvSpPr>
        <p:spPr>
          <a:xfrm>
            <a:off x="4567916" y="2585036"/>
            <a:ext cx="4023000" cy="1593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9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19" name="그림 개체 틀 2">
            <a:extLst>
              <a:ext uri="{FF2B5EF4-FFF2-40B4-BE49-F238E27FC236}">
                <a16:creationId xmlns:a16="http://schemas.microsoft.com/office/drawing/2014/main" id="{5AF75764-4E6E-43FC-A352-09023C4EA8F0}"/>
              </a:ext>
            </a:extLst>
          </p:cNvPr>
          <p:cNvSpPr>
            <a:spLocks noGrp="1"/>
          </p:cNvSpPr>
          <p:nvPr>
            <p:ph type="pic" sz="quarter" idx="46" hasCustomPrompt="1"/>
          </p:nvPr>
        </p:nvSpPr>
        <p:spPr>
          <a:xfrm>
            <a:off x="547170" y="996500"/>
            <a:ext cx="4023000" cy="1593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9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20" name="그림 개체 틀 2">
            <a:extLst>
              <a:ext uri="{FF2B5EF4-FFF2-40B4-BE49-F238E27FC236}">
                <a16:creationId xmlns:a16="http://schemas.microsoft.com/office/drawing/2014/main" id="{BA331AD9-76BB-4CB2-B996-5FD497783666}"/>
              </a:ext>
            </a:extLst>
          </p:cNvPr>
          <p:cNvSpPr>
            <a:spLocks noGrp="1"/>
          </p:cNvSpPr>
          <p:nvPr>
            <p:ph type="pic" sz="quarter" idx="49" hasCustomPrompt="1"/>
          </p:nvPr>
        </p:nvSpPr>
        <p:spPr>
          <a:xfrm>
            <a:off x="4567916" y="996500"/>
            <a:ext cx="4023000" cy="1593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900" dirty="0">
                <a:solidFill>
                  <a:schemeClr val="tx1">
                    <a:lumMod val="75000"/>
                    <a:lumOff val="25000"/>
                  </a:schemeClr>
                </a:solidFill>
              </a:defRPr>
            </a:lvl1pPr>
          </a:lstStyle>
          <a:p>
            <a:pPr marL="0" lvl="0" algn="ctr"/>
            <a:r>
              <a:rPr lang="en-US" altLang="ko-KR" dirty="0"/>
              <a:t>Place Your Picture Here</a:t>
            </a:r>
            <a:endParaRPr lang="ko-KR" altLang="en-US" dirty="0"/>
          </a:p>
        </p:txBody>
      </p:sp>
    </p:spTree>
    <p:extLst>
      <p:ext uri="{BB962C8B-B14F-4D97-AF65-F5344CB8AC3E}">
        <p14:creationId xmlns:p14="http://schemas.microsoft.com/office/powerpoint/2010/main" val="3742092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Contents slide layout">
    <p:bg>
      <p:bgPr>
        <a:blipFill dpi="0" rotWithShape="1">
          <a:blip>
            <a:lum/>
          </a:blip>
          <a:srcRect/>
          <a:stretch>
            <a:fillRect/>
          </a:stretch>
        </a:blipFill>
        <a:effectLst/>
      </p:bgPr>
    </p:bg>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7FA69F2D-A6E0-414B-9364-1D41FF7D3B78}"/>
              </a:ext>
            </a:extLst>
          </p:cNvPr>
          <p:cNvSpPr>
            <a:spLocks noGrp="1"/>
          </p:cNvSpPr>
          <p:nvPr>
            <p:ph type="pic" idx="14" hasCustomPrompt="1"/>
          </p:nvPr>
        </p:nvSpPr>
        <p:spPr>
          <a:xfrm>
            <a:off x="100669" y="88085"/>
            <a:ext cx="8935829" cy="3890914"/>
          </a:xfrm>
          <a:prstGeom prst="rect">
            <a:avLst/>
          </a:prstGeom>
          <a:solidFill>
            <a:schemeClr val="bg1">
              <a:lumMod val="95000"/>
            </a:schemeClr>
          </a:solidFill>
        </p:spPr>
        <p:txBody>
          <a:bodyPr anchor="ctr"/>
          <a:lstStyle>
            <a:lvl1pPr marL="0" indent="0" algn="ctr">
              <a:buNone/>
              <a:defRPr sz="900">
                <a:latin typeface="Arial" pitchFamily="34" charset="0"/>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19" name="제목 1">
            <a:extLst>
              <a:ext uri="{FF2B5EF4-FFF2-40B4-BE49-F238E27FC236}">
                <a16:creationId xmlns:a16="http://schemas.microsoft.com/office/drawing/2014/main" id="{05FB4E29-9C56-45B9-A73A-BC7E2986D3C4}"/>
              </a:ext>
            </a:extLst>
          </p:cNvPr>
          <p:cNvSpPr>
            <a:spLocks noGrp="1"/>
          </p:cNvSpPr>
          <p:nvPr>
            <p:ph type="title" hasCustomPrompt="1"/>
          </p:nvPr>
        </p:nvSpPr>
        <p:spPr>
          <a:xfrm>
            <a:off x="0" y="222759"/>
            <a:ext cx="9144000" cy="533158"/>
          </a:xfrm>
          <a:prstGeom prst="rect">
            <a:avLst/>
          </a:prstGeom>
        </p:spPr>
        <p:txBody>
          <a:bodyPr anchor="ctr">
            <a:noAutofit/>
          </a:bodyPr>
          <a:lstStyle>
            <a:lvl1pPr algn="ctr">
              <a:defRPr sz="3600" b="0" baseline="0">
                <a:solidFill>
                  <a:schemeClr val="tx1">
                    <a:lumMod val="75000"/>
                    <a:lumOff val="25000"/>
                  </a:schemeClr>
                </a:solidFill>
                <a:latin typeface="Arial" pitchFamily="34" charset="0"/>
                <a:cs typeface="Arial" pitchFamily="34" charset="0"/>
              </a:defRPr>
            </a:lvl1pPr>
          </a:lstStyle>
          <a:p>
            <a:r>
              <a:rPr lang="en-US" altLang="ko-KR" dirty="0"/>
              <a:t>IMAGES AND CONTENTS</a:t>
            </a:r>
            <a:endParaRPr lang="ko-KR" altLang="en-US" dirty="0"/>
          </a:p>
        </p:txBody>
      </p:sp>
    </p:spTree>
    <p:extLst>
      <p:ext uri="{BB962C8B-B14F-4D97-AF65-F5344CB8AC3E}">
        <p14:creationId xmlns:p14="http://schemas.microsoft.com/office/powerpoint/2010/main" val="30264286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2065375" y="215441"/>
            <a:ext cx="6857169" cy="543185"/>
          </a:xfrm>
          <a:prstGeom prst="rect">
            <a:avLst/>
          </a:prstGeom>
        </p:spPr>
        <p:txBody>
          <a:bodyPr anchor="ctr"/>
          <a:lstStyle>
            <a:lvl1pPr marL="0" indent="0" algn="l">
              <a:buNone/>
              <a:defRPr sz="4050" b="0" baseline="0">
                <a:solidFill>
                  <a:schemeClr val="tx1">
                    <a:lumMod val="85000"/>
                    <a:lumOff val="15000"/>
                  </a:schemeClr>
                </a:solidFill>
                <a:latin typeface="+mj-lt"/>
                <a:cs typeface="Arial" pitchFamily="34" charset="0"/>
              </a:defRPr>
            </a:lvl1pPr>
          </a:lstStyle>
          <a:p>
            <a:pPr lvl="0"/>
            <a:r>
              <a:rPr lang="en-US" altLang="ko-KR" dirty="0"/>
              <a:t>BASIC LAYOUT</a:t>
            </a:r>
          </a:p>
        </p:txBody>
      </p:sp>
      <p:grpSp>
        <p:nvGrpSpPr>
          <p:cNvPr id="3" name="Group 2"/>
          <p:cNvGrpSpPr/>
          <p:nvPr userDrawn="1"/>
        </p:nvGrpSpPr>
        <p:grpSpPr>
          <a:xfrm rot="16200000" flipV="1">
            <a:off x="295037" y="2835284"/>
            <a:ext cx="2013180" cy="2603252"/>
            <a:chOff x="5710110" y="861237"/>
            <a:chExt cx="2762761" cy="3572539"/>
          </a:xfrm>
        </p:grpSpPr>
        <p:sp>
          <p:nvSpPr>
            <p:cNvPr id="4" name="Isosceles Triangle 3"/>
            <p:cNvSpPr/>
            <p:nvPr userDrawn="1"/>
          </p:nvSpPr>
          <p:spPr>
            <a:xfrm>
              <a:off x="6400800" y="2052084"/>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5" name="Isosceles Triangle 4"/>
            <p:cNvSpPr/>
            <p:nvPr userDrawn="1"/>
          </p:nvSpPr>
          <p:spPr>
            <a:xfrm rot="10800000">
              <a:off x="7091490" y="2052084"/>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6" name="Isosceles Triangle 5"/>
            <p:cNvSpPr/>
            <p:nvPr userDrawn="1"/>
          </p:nvSpPr>
          <p:spPr>
            <a:xfrm>
              <a:off x="5710110" y="3232297"/>
              <a:ext cx="1381381" cy="1190846"/>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7" name="Isosceles Triangle 6"/>
            <p:cNvSpPr/>
            <p:nvPr userDrawn="1"/>
          </p:nvSpPr>
          <p:spPr>
            <a:xfrm rot="10800000">
              <a:off x="6400800" y="3232297"/>
              <a:ext cx="1381381" cy="1190846"/>
            </a:xfrm>
            <a:prstGeom prst="triangle">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8" name="Isosceles Triangle 7"/>
            <p:cNvSpPr/>
            <p:nvPr userDrawn="1"/>
          </p:nvSpPr>
          <p:spPr>
            <a:xfrm>
              <a:off x="7091490" y="3242930"/>
              <a:ext cx="1381381" cy="1190846"/>
            </a:xfrm>
            <a:prstGeom prst="triangle">
              <a:avLst/>
            </a:prstGeom>
            <a:solidFill>
              <a:schemeClr val="bg1">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9" name="Isosceles Triangle 8"/>
            <p:cNvSpPr/>
            <p:nvPr userDrawn="1"/>
          </p:nvSpPr>
          <p:spPr>
            <a:xfrm>
              <a:off x="7091490" y="861237"/>
              <a:ext cx="1381381" cy="1190846"/>
            </a:xfrm>
            <a:prstGeom prst="triangle">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grpSp>
      <p:sp>
        <p:nvSpPr>
          <p:cNvPr id="22" name="Picture Placeholder 2">
            <a:extLst>
              <a:ext uri="{FF2B5EF4-FFF2-40B4-BE49-F238E27FC236}">
                <a16:creationId xmlns:a16="http://schemas.microsoft.com/office/drawing/2014/main" id="{DA131F02-8560-4936-8196-7B5B3CDB11EB}"/>
              </a:ext>
            </a:extLst>
          </p:cNvPr>
          <p:cNvSpPr>
            <a:spLocks noGrp="1"/>
          </p:cNvSpPr>
          <p:nvPr>
            <p:ph type="pic" idx="15" hasCustomPrompt="1"/>
          </p:nvPr>
        </p:nvSpPr>
        <p:spPr>
          <a:xfrm>
            <a:off x="4774670" y="1340639"/>
            <a:ext cx="1593000" cy="1571271"/>
          </a:xfrm>
          <a:prstGeom prst="rect">
            <a:avLst/>
          </a:prstGeom>
          <a:solidFill>
            <a:schemeClr val="bg1">
              <a:lumMod val="95000"/>
            </a:schemeClr>
          </a:solidFill>
          <a:ln w="127000">
            <a:noFill/>
          </a:ln>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23" name="Picture Placeholder 2">
            <a:extLst>
              <a:ext uri="{FF2B5EF4-FFF2-40B4-BE49-F238E27FC236}">
                <a16:creationId xmlns:a16="http://schemas.microsoft.com/office/drawing/2014/main" id="{FC4D0155-DE74-4ED9-B57D-FCD563766CBF}"/>
              </a:ext>
            </a:extLst>
          </p:cNvPr>
          <p:cNvSpPr>
            <a:spLocks noGrp="1"/>
          </p:cNvSpPr>
          <p:nvPr>
            <p:ph type="pic" idx="16" hasCustomPrompt="1"/>
          </p:nvPr>
        </p:nvSpPr>
        <p:spPr>
          <a:xfrm>
            <a:off x="6839576" y="1340639"/>
            <a:ext cx="1593000" cy="1571271"/>
          </a:xfrm>
          <a:prstGeom prst="rect">
            <a:avLst/>
          </a:prstGeom>
          <a:solidFill>
            <a:schemeClr val="bg1">
              <a:lumMod val="95000"/>
            </a:schemeClr>
          </a:solidFill>
          <a:ln w="127000">
            <a:noFill/>
          </a:ln>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24" name="Picture Placeholder 2">
            <a:extLst>
              <a:ext uri="{FF2B5EF4-FFF2-40B4-BE49-F238E27FC236}">
                <a16:creationId xmlns:a16="http://schemas.microsoft.com/office/drawing/2014/main" id="{EFA1E3D6-DD27-4B94-BD57-3429E799CFE1}"/>
              </a:ext>
            </a:extLst>
          </p:cNvPr>
          <p:cNvSpPr>
            <a:spLocks noGrp="1"/>
          </p:cNvSpPr>
          <p:nvPr>
            <p:ph type="pic" idx="18" hasCustomPrompt="1"/>
          </p:nvPr>
        </p:nvSpPr>
        <p:spPr>
          <a:xfrm>
            <a:off x="2709765" y="1340639"/>
            <a:ext cx="1593000" cy="1571271"/>
          </a:xfrm>
          <a:prstGeom prst="rect">
            <a:avLst/>
          </a:prstGeom>
          <a:solidFill>
            <a:schemeClr val="bg1">
              <a:lumMod val="95000"/>
            </a:schemeClr>
          </a:solidFill>
          <a:ln w="127000">
            <a:noFill/>
          </a:ln>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25" name="Rectangle 1">
            <a:extLst>
              <a:ext uri="{FF2B5EF4-FFF2-40B4-BE49-F238E27FC236}">
                <a16:creationId xmlns:a16="http://schemas.microsoft.com/office/drawing/2014/main" id="{1CBE543A-EEDF-47EE-9E4B-8EEFE00C1C2B}"/>
              </a:ext>
            </a:extLst>
          </p:cNvPr>
          <p:cNvSpPr/>
          <p:nvPr userDrawn="1"/>
        </p:nvSpPr>
        <p:spPr>
          <a:xfrm>
            <a:off x="2709765" y="2915756"/>
            <a:ext cx="1593000" cy="378000"/>
          </a:xfrm>
          <a:prstGeom prst="rect">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26" name="Rectangle 10">
            <a:extLst>
              <a:ext uri="{FF2B5EF4-FFF2-40B4-BE49-F238E27FC236}">
                <a16:creationId xmlns:a16="http://schemas.microsoft.com/office/drawing/2014/main" id="{0180C7D7-E731-42FC-A240-C204839E739E}"/>
              </a:ext>
            </a:extLst>
          </p:cNvPr>
          <p:cNvSpPr/>
          <p:nvPr userDrawn="1"/>
        </p:nvSpPr>
        <p:spPr>
          <a:xfrm>
            <a:off x="4774670" y="2915756"/>
            <a:ext cx="1593000" cy="3780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27" name="Rectangle 11">
            <a:extLst>
              <a:ext uri="{FF2B5EF4-FFF2-40B4-BE49-F238E27FC236}">
                <a16:creationId xmlns:a16="http://schemas.microsoft.com/office/drawing/2014/main" id="{8F8CA96E-58DA-4D5C-9F73-719A9E293C0D}"/>
              </a:ext>
            </a:extLst>
          </p:cNvPr>
          <p:cNvSpPr/>
          <p:nvPr userDrawn="1"/>
        </p:nvSpPr>
        <p:spPr>
          <a:xfrm>
            <a:off x="6839576" y="2915756"/>
            <a:ext cx="1593000" cy="3780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28" name="Rectangle 8">
            <a:extLst>
              <a:ext uri="{FF2B5EF4-FFF2-40B4-BE49-F238E27FC236}">
                <a16:creationId xmlns:a16="http://schemas.microsoft.com/office/drawing/2014/main" id="{1CC12A8B-343C-49CF-8E36-97ED170F977E}"/>
              </a:ext>
            </a:extLst>
          </p:cNvPr>
          <p:cNvSpPr/>
          <p:nvPr userDrawn="1"/>
        </p:nvSpPr>
        <p:spPr>
          <a:xfrm>
            <a:off x="2709765" y="3295550"/>
            <a:ext cx="1593000" cy="1134000"/>
          </a:xfrm>
          <a:custGeom>
            <a:avLst/>
            <a:gdLst>
              <a:gd name="connsiteX0" fmla="*/ 0 w 1944000"/>
              <a:gd name="connsiteY0" fmla="*/ 0 h 1584176"/>
              <a:gd name="connsiteX1" fmla="*/ 1944000 w 1944000"/>
              <a:gd name="connsiteY1" fmla="*/ 0 h 1584176"/>
              <a:gd name="connsiteX2" fmla="*/ 1944000 w 1944000"/>
              <a:gd name="connsiteY2" fmla="*/ 1584176 h 1584176"/>
              <a:gd name="connsiteX3" fmla="*/ 1260000 w 1944000"/>
              <a:gd name="connsiteY3" fmla="*/ 1584176 h 1584176"/>
              <a:gd name="connsiteX4" fmla="*/ 684000 w 1944000"/>
              <a:gd name="connsiteY4" fmla="*/ 1290771 h 1584176"/>
              <a:gd name="connsiteX5" fmla="*/ 684000 w 1944000"/>
              <a:gd name="connsiteY5" fmla="*/ 1584176 h 1584176"/>
              <a:gd name="connsiteX6" fmla="*/ 0 w 1944000"/>
              <a:gd name="connsiteY6" fmla="*/ 1584176 h 1584176"/>
              <a:gd name="connsiteX7" fmla="*/ 0 w 1944000"/>
              <a:gd name="connsiteY7" fmla="*/ 0 h 1584176"/>
              <a:gd name="connsiteX0" fmla="*/ 0 w 1944000"/>
              <a:gd name="connsiteY0" fmla="*/ 0 h 1584176"/>
              <a:gd name="connsiteX1" fmla="*/ 1944000 w 1944000"/>
              <a:gd name="connsiteY1" fmla="*/ 0 h 1584176"/>
              <a:gd name="connsiteX2" fmla="*/ 1944000 w 1944000"/>
              <a:gd name="connsiteY2" fmla="*/ 1584176 h 1584176"/>
              <a:gd name="connsiteX3" fmla="*/ 1260000 w 1944000"/>
              <a:gd name="connsiteY3" fmla="*/ 1584176 h 1584176"/>
              <a:gd name="connsiteX4" fmla="*/ 684000 w 1944000"/>
              <a:gd name="connsiteY4" fmla="*/ 1584176 h 1584176"/>
              <a:gd name="connsiteX5" fmla="*/ 0 w 1944000"/>
              <a:gd name="connsiteY5" fmla="*/ 1584176 h 1584176"/>
              <a:gd name="connsiteX6" fmla="*/ 0 w 1944000"/>
              <a:gd name="connsiteY6" fmla="*/ 0 h 1584176"/>
              <a:gd name="connsiteX0" fmla="*/ 0 w 1944000"/>
              <a:gd name="connsiteY0" fmla="*/ 0 h 1584176"/>
              <a:gd name="connsiteX1" fmla="*/ 1944000 w 1944000"/>
              <a:gd name="connsiteY1" fmla="*/ 0 h 1584176"/>
              <a:gd name="connsiteX2" fmla="*/ 1944000 w 1944000"/>
              <a:gd name="connsiteY2" fmla="*/ 1584176 h 1584176"/>
              <a:gd name="connsiteX3" fmla="*/ 1260000 w 1944000"/>
              <a:gd name="connsiteY3" fmla="*/ 1584176 h 1584176"/>
              <a:gd name="connsiteX4" fmla="*/ 0 w 1944000"/>
              <a:gd name="connsiteY4" fmla="*/ 1584176 h 1584176"/>
              <a:gd name="connsiteX5" fmla="*/ 0 w 1944000"/>
              <a:gd name="connsiteY5" fmla="*/ 0 h 1584176"/>
              <a:gd name="connsiteX0" fmla="*/ 0 w 1944000"/>
              <a:gd name="connsiteY0" fmla="*/ 0 h 1584176"/>
              <a:gd name="connsiteX1" fmla="*/ 1944000 w 1944000"/>
              <a:gd name="connsiteY1" fmla="*/ 0 h 1584176"/>
              <a:gd name="connsiteX2" fmla="*/ 1944000 w 1944000"/>
              <a:gd name="connsiteY2" fmla="*/ 1584176 h 1584176"/>
              <a:gd name="connsiteX3" fmla="*/ 0 w 1944000"/>
              <a:gd name="connsiteY3" fmla="*/ 1584176 h 1584176"/>
              <a:gd name="connsiteX4" fmla="*/ 0 w 1944000"/>
              <a:gd name="connsiteY4" fmla="*/ 0 h 1584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4000" h="1584176">
                <a:moveTo>
                  <a:pt x="0" y="0"/>
                </a:moveTo>
                <a:lnTo>
                  <a:pt x="1944000" y="0"/>
                </a:lnTo>
                <a:lnTo>
                  <a:pt x="1944000" y="1584176"/>
                </a:lnTo>
                <a:lnTo>
                  <a:pt x="0" y="1584176"/>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29" name="Rectangle 8">
            <a:extLst>
              <a:ext uri="{FF2B5EF4-FFF2-40B4-BE49-F238E27FC236}">
                <a16:creationId xmlns:a16="http://schemas.microsoft.com/office/drawing/2014/main" id="{077046BC-04C7-4CFE-9D6B-78D51C62B0B1}"/>
              </a:ext>
            </a:extLst>
          </p:cNvPr>
          <p:cNvSpPr/>
          <p:nvPr userDrawn="1"/>
        </p:nvSpPr>
        <p:spPr>
          <a:xfrm>
            <a:off x="4774670" y="3295550"/>
            <a:ext cx="1593000" cy="1134000"/>
          </a:xfrm>
          <a:custGeom>
            <a:avLst/>
            <a:gdLst>
              <a:gd name="connsiteX0" fmla="*/ 0 w 1944000"/>
              <a:gd name="connsiteY0" fmla="*/ 0 h 1584176"/>
              <a:gd name="connsiteX1" fmla="*/ 1944000 w 1944000"/>
              <a:gd name="connsiteY1" fmla="*/ 0 h 1584176"/>
              <a:gd name="connsiteX2" fmla="*/ 1944000 w 1944000"/>
              <a:gd name="connsiteY2" fmla="*/ 1584176 h 1584176"/>
              <a:gd name="connsiteX3" fmla="*/ 1260000 w 1944000"/>
              <a:gd name="connsiteY3" fmla="*/ 1584176 h 1584176"/>
              <a:gd name="connsiteX4" fmla="*/ 684000 w 1944000"/>
              <a:gd name="connsiteY4" fmla="*/ 1290771 h 1584176"/>
              <a:gd name="connsiteX5" fmla="*/ 684000 w 1944000"/>
              <a:gd name="connsiteY5" fmla="*/ 1584176 h 1584176"/>
              <a:gd name="connsiteX6" fmla="*/ 0 w 1944000"/>
              <a:gd name="connsiteY6" fmla="*/ 1584176 h 1584176"/>
              <a:gd name="connsiteX7" fmla="*/ 0 w 1944000"/>
              <a:gd name="connsiteY7" fmla="*/ 0 h 1584176"/>
              <a:gd name="connsiteX0" fmla="*/ 0 w 1944000"/>
              <a:gd name="connsiteY0" fmla="*/ 0 h 1584176"/>
              <a:gd name="connsiteX1" fmla="*/ 1944000 w 1944000"/>
              <a:gd name="connsiteY1" fmla="*/ 0 h 1584176"/>
              <a:gd name="connsiteX2" fmla="*/ 1944000 w 1944000"/>
              <a:gd name="connsiteY2" fmla="*/ 1584176 h 1584176"/>
              <a:gd name="connsiteX3" fmla="*/ 1260000 w 1944000"/>
              <a:gd name="connsiteY3" fmla="*/ 1584176 h 1584176"/>
              <a:gd name="connsiteX4" fmla="*/ 684000 w 1944000"/>
              <a:gd name="connsiteY4" fmla="*/ 1584176 h 1584176"/>
              <a:gd name="connsiteX5" fmla="*/ 0 w 1944000"/>
              <a:gd name="connsiteY5" fmla="*/ 1584176 h 1584176"/>
              <a:gd name="connsiteX6" fmla="*/ 0 w 1944000"/>
              <a:gd name="connsiteY6" fmla="*/ 0 h 1584176"/>
              <a:gd name="connsiteX0" fmla="*/ 0 w 1944000"/>
              <a:gd name="connsiteY0" fmla="*/ 0 h 1584176"/>
              <a:gd name="connsiteX1" fmla="*/ 1944000 w 1944000"/>
              <a:gd name="connsiteY1" fmla="*/ 0 h 1584176"/>
              <a:gd name="connsiteX2" fmla="*/ 1944000 w 1944000"/>
              <a:gd name="connsiteY2" fmla="*/ 1584176 h 1584176"/>
              <a:gd name="connsiteX3" fmla="*/ 1260000 w 1944000"/>
              <a:gd name="connsiteY3" fmla="*/ 1584176 h 1584176"/>
              <a:gd name="connsiteX4" fmla="*/ 0 w 1944000"/>
              <a:gd name="connsiteY4" fmla="*/ 1584176 h 1584176"/>
              <a:gd name="connsiteX5" fmla="*/ 0 w 1944000"/>
              <a:gd name="connsiteY5" fmla="*/ 0 h 1584176"/>
              <a:gd name="connsiteX0" fmla="*/ 0 w 1944000"/>
              <a:gd name="connsiteY0" fmla="*/ 0 h 1584176"/>
              <a:gd name="connsiteX1" fmla="*/ 1944000 w 1944000"/>
              <a:gd name="connsiteY1" fmla="*/ 0 h 1584176"/>
              <a:gd name="connsiteX2" fmla="*/ 1944000 w 1944000"/>
              <a:gd name="connsiteY2" fmla="*/ 1584176 h 1584176"/>
              <a:gd name="connsiteX3" fmla="*/ 0 w 1944000"/>
              <a:gd name="connsiteY3" fmla="*/ 1584176 h 1584176"/>
              <a:gd name="connsiteX4" fmla="*/ 0 w 1944000"/>
              <a:gd name="connsiteY4" fmla="*/ 0 h 1584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4000" h="1584176">
                <a:moveTo>
                  <a:pt x="0" y="0"/>
                </a:moveTo>
                <a:lnTo>
                  <a:pt x="1944000" y="0"/>
                </a:lnTo>
                <a:lnTo>
                  <a:pt x="1944000" y="1584176"/>
                </a:lnTo>
                <a:lnTo>
                  <a:pt x="0" y="1584176"/>
                </a:lnTo>
                <a:lnTo>
                  <a:pt x="0"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30" name="Rectangle 8">
            <a:extLst>
              <a:ext uri="{FF2B5EF4-FFF2-40B4-BE49-F238E27FC236}">
                <a16:creationId xmlns:a16="http://schemas.microsoft.com/office/drawing/2014/main" id="{13B85CA1-601A-4A68-A34B-A70AACBDC3E7}"/>
              </a:ext>
            </a:extLst>
          </p:cNvPr>
          <p:cNvSpPr/>
          <p:nvPr userDrawn="1"/>
        </p:nvSpPr>
        <p:spPr>
          <a:xfrm>
            <a:off x="6839576" y="3295550"/>
            <a:ext cx="1593000" cy="1134000"/>
          </a:xfrm>
          <a:custGeom>
            <a:avLst/>
            <a:gdLst>
              <a:gd name="connsiteX0" fmla="*/ 0 w 1944000"/>
              <a:gd name="connsiteY0" fmla="*/ 0 h 1584176"/>
              <a:gd name="connsiteX1" fmla="*/ 1944000 w 1944000"/>
              <a:gd name="connsiteY1" fmla="*/ 0 h 1584176"/>
              <a:gd name="connsiteX2" fmla="*/ 1944000 w 1944000"/>
              <a:gd name="connsiteY2" fmla="*/ 1584176 h 1584176"/>
              <a:gd name="connsiteX3" fmla="*/ 1260000 w 1944000"/>
              <a:gd name="connsiteY3" fmla="*/ 1584176 h 1584176"/>
              <a:gd name="connsiteX4" fmla="*/ 684000 w 1944000"/>
              <a:gd name="connsiteY4" fmla="*/ 1290771 h 1584176"/>
              <a:gd name="connsiteX5" fmla="*/ 684000 w 1944000"/>
              <a:gd name="connsiteY5" fmla="*/ 1584176 h 1584176"/>
              <a:gd name="connsiteX6" fmla="*/ 0 w 1944000"/>
              <a:gd name="connsiteY6" fmla="*/ 1584176 h 1584176"/>
              <a:gd name="connsiteX7" fmla="*/ 0 w 1944000"/>
              <a:gd name="connsiteY7" fmla="*/ 0 h 1584176"/>
              <a:gd name="connsiteX0" fmla="*/ 0 w 1944000"/>
              <a:gd name="connsiteY0" fmla="*/ 0 h 1584176"/>
              <a:gd name="connsiteX1" fmla="*/ 1944000 w 1944000"/>
              <a:gd name="connsiteY1" fmla="*/ 0 h 1584176"/>
              <a:gd name="connsiteX2" fmla="*/ 1944000 w 1944000"/>
              <a:gd name="connsiteY2" fmla="*/ 1584176 h 1584176"/>
              <a:gd name="connsiteX3" fmla="*/ 1260000 w 1944000"/>
              <a:gd name="connsiteY3" fmla="*/ 1584176 h 1584176"/>
              <a:gd name="connsiteX4" fmla="*/ 684000 w 1944000"/>
              <a:gd name="connsiteY4" fmla="*/ 1584176 h 1584176"/>
              <a:gd name="connsiteX5" fmla="*/ 0 w 1944000"/>
              <a:gd name="connsiteY5" fmla="*/ 1584176 h 1584176"/>
              <a:gd name="connsiteX6" fmla="*/ 0 w 1944000"/>
              <a:gd name="connsiteY6" fmla="*/ 0 h 1584176"/>
              <a:gd name="connsiteX0" fmla="*/ 0 w 1944000"/>
              <a:gd name="connsiteY0" fmla="*/ 0 h 1584176"/>
              <a:gd name="connsiteX1" fmla="*/ 1944000 w 1944000"/>
              <a:gd name="connsiteY1" fmla="*/ 0 h 1584176"/>
              <a:gd name="connsiteX2" fmla="*/ 1944000 w 1944000"/>
              <a:gd name="connsiteY2" fmla="*/ 1584176 h 1584176"/>
              <a:gd name="connsiteX3" fmla="*/ 1260000 w 1944000"/>
              <a:gd name="connsiteY3" fmla="*/ 1584176 h 1584176"/>
              <a:gd name="connsiteX4" fmla="*/ 0 w 1944000"/>
              <a:gd name="connsiteY4" fmla="*/ 1584176 h 1584176"/>
              <a:gd name="connsiteX5" fmla="*/ 0 w 1944000"/>
              <a:gd name="connsiteY5" fmla="*/ 0 h 1584176"/>
              <a:gd name="connsiteX0" fmla="*/ 0 w 1944000"/>
              <a:gd name="connsiteY0" fmla="*/ 0 h 1584176"/>
              <a:gd name="connsiteX1" fmla="*/ 1944000 w 1944000"/>
              <a:gd name="connsiteY1" fmla="*/ 0 h 1584176"/>
              <a:gd name="connsiteX2" fmla="*/ 1944000 w 1944000"/>
              <a:gd name="connsiteY2" fmla="*/ 1584176 h 1584176"/>
              <a:gd name="connsiteX3" fmla="*/ 0 w 1944000"/>
              <a:gd name="connsiteY3" fmla="*/ 1584176 h 1584176"/>
              <a:gd name="connsiteX4" fmla="*/ 0 w 1944000"/>
              <a:gd name="connsiteY4" fmla="*/ 0 h 1584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4000" h="1584176">
                <a:moveTo>
                  <a:pt x="0" y="0"/>
                </a:moveTo>
                <a:lnTo>
                  <a:pt x="1944000" y="0"/>
                </a:lnTo>
                <a:lnTo>
                  <a:pt x="1944000" y="1584176"/>
                </a:lnTo>
                <a:lnTo>
                  <a:pt x="0" y="1584176"/>
                </a:lnTo>
                <a:lnTo>
                  <a:pt x="0" y="0"/>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31" name="Rectangle 16">
            <a:extLst>
              <a:ext uri="{FF2B5EF4-FFF2-40B4-BE49-F238E27FC236}">
                <a16:creationId xmlns:a16="http://schemas.microsoft.com/office/drawing/2014/main" id="{5F117DB7-DDC6-469F-9F54-0F6E4D98DE57}"/>
              </a:ext>
            </a:extLst>
          </p:cNvPr>
          <p:cNvSpPr/>
          <p:nvPr userDrawn="1"/>
        </p:nvSpPr>
        <p:spPr>
          <a:xfrm>
            <a:off x="3317265" y="4224437"/>
            <a:ext cx="378000" cy="378000"/>
          </a:xfrm>
          <a:prstGeom prst="rect">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32" name="Rectangle 17">
            <a:extLst>
              <a:ext uri="{FF2B5EF4-FFF2-40B4-BE49-F238E27FC236}">
                <a16:creationId xmlns:a16="http://schemas.microsoft.com/office/drawing/2014/main" id="{48FCA12A-1A66-4221-827F-42C19D989A20}"/>
              </a:ext>
            </a:extLst>
          </p:cNvPr>
          <p:cNvSpPr/>
          <p:nvPr userDrawn="1"/>
        </p:nvSpPr>
        <p:spPr>
          <a:xfrm>
            <a:off x="5382170" y="4224437"/>
            <a:ext cx="378000" cy="3780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33" name="Rectangle 18">
            <a:extLst>
              <a:ext uri="{FF2B5EF4-FFF2-40B4-BE49-F238E27FC236}">
                <a16:creationId xmlns:a16="http://schemas.microsoft.com/office/drawing/2014/main" id="{254AA85F-5F94-400B-ADB5-87246B10685F}"/>
              </a:ext>
            </a:extLst>
          </p:cNvPr>
          <p:cNvSpPr/>
          <p:nvPr userDrawn="1"/>
        </p:nvSpPr>
        <p:spPr>
          <a:xfrm>
            <a:off x="7447076" y="4224437"/>
            <a:ext cx="378000" cy="3780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Tree>
    <p:extLst>
      <p:ext uri="{BB962C8B-B14F-4D97-AF65-F5344CB8AC3E}">
        <p14:creationId xmlns:p14="http://schemas.microsoft.com/office/powerpoint/2010/main" val="16788258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Section Break Layout">
    <p:bg>
      <p:bgPr>
        <a:solidFill>
          <a:schemeClr val="bg1"/>
        </a:solidFill>
        <a:effectLst/>
      </p:bgPr>
    </p:bg>
    <p:spTree>
      <p:nvGrpSpPr>
        <p:cNvPr id="1" name=""/>
        <p:cNvGrpSpPr/>
        <p:nvPr/>
      </p:nvGrpSpPr>
      <p:grpSpPr>
        <a:xfrm>
          <a:off x="0" y="0"/>
          <a:ext cx="0" cy="0"/>
          <a:chOff x="0" y="0"/>
          <a:chExt cx="0" cy="0"/>
        </a:xfrm>
      </p:grpSpPr>
      <p:grpSp>
        <p:nvGrpSpPr>
          <p:cNvPr id="3" name="그룹 2">
            <a:extLst>
              <a:ext uri="{FF2B5EF4-FFF2-40B4-BE49-F238E27FC236}">
                <a16:creationId xmlns:a16="http://schemas.microsoft.com/office/drawing/2014/main" id="{EB848A32-7D4C-4B71-B9E6-7192AA909683}"/>
              </a:ext>
            </a:extLst>
          </p:cNvPr>
          <p:cNvGrpSpPr/>
          <p:nvPr userDrawn="1"/>
        </p:nvGrpSpPr>
        <p:grpSpPr>
          <a:xfrm>
            <a:off x="964199" y="3398325"/>
            <a:ext cx="1373885" cy="1745175"/>
            <a:chOff x="1194997" y="4531100"/>
            <a:chExt cx="1391266" cy="2326900"/>
          </a:xfrm>
        </p:grpSpPr>
        <p:sp>
          <p:nvSpPr>
            <p:cNvPr id="2" name="평행 사변형 1">
              <a:extLst>
                <a:ext uri="{FF2B5EF4-FFF2-40B4-BE49-F238E27FC236}">
                  <a16:creationId xmlns:a16="http://schemas.microsoft.com/office/drawing/2014/main" id="{2B8AA02C-B6B0-4B35-89E0-87B97A43426A}"/>
                </a:ext>
              </a:extLst>
            </p:cNvPr>
            <p:cNvSpPr/>
            <p:nvPr userDrawn="1"/>
          </p:nvSpPr>
          <p:spPr>
            <a:xfrm flipH="1">
              <a:off x="1194997" y="4531100"/>
              <a:ext cx="1391266" cy="2326900"/>
            </a:xfrm>
            <a:prstGeom prst="parallelogram">
              <a:avLst>
                <a:gd name="adj" fmla="val 80803"/>
              </a:avLst>
            </a:prstGeom>
            <a:solidFill>
              <a:schemeClr val="accent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dirty="0">
                <a:ln>
                  <a:noFill/>
                </a:ln>
                <a:solidFill>
                  <a:prstClr val="white"/>
                </a:solidFill>
                <a:effectLst/>
                <a:uLnTx/>
                <a:uFillTx/>
                <a:latin typeface="Arial"/>
                <a:cs typeface="+mn-cs"/>
              </a:endParaRPr>
            </a:p>
          </p:txBody>
        </p:sp>
        <p:sp>
          <p:nvSpPr>
            <p:cNvPr id="10" name="평행 사변형 9">
              <a:extLst>
                <a:ext uri="{FF2B5EF4-FFF2-40B4-BE49-F238E27FC236}">
                  <a16:creationId xmlns:a16="http://schemas.microsoft.com/office/drawing/2014/main" id="{C0F73695-4F5E-4970-8CF3-C8172FE74F02}"/>
                </a:ext>
              </a:extLst>
            </p:cNvPr>
            <p:cNvSpPr/>
            <p:nvPr userDrawn="1"/>
          </p:nvSpPr>
          <p:spPr>
            <a:xfrm flipH="1">
              <a:off x="1435656" y="5606204"/>
              <a:ext cx="792473" cy="1251796"/>
            </a:xfrm>
            <a:prstGeom prst="parallelogram">
              <a:avLst>
                <a:gd name="adj" fmla="val 77385"/>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dirty="0">
                <a:ln>
                  <a:noFill/>
                </a:ln>
                <a:solidFill>
                  <a:prstClr val="white"/>
                </a:solidFill>
                <a:effectLst/>
                <a:uLnTx/>
                <a:uFillTx/>
                <a:latin typeface="Arial"/>
                <a:cs typeface="+mn-cs"/>
              </a:endParaRPr>
            </a:p>
          </p:txBody>
        </p:sp>
      </p:grpSp>
      <p:grpSp>
        <p:nvGrpSpPr>
          <p:cNvPr id="4" name="그룹 3">
            <a:extLst>
              <a:ext uri="{FF2B5EF4-FFF2-40B4-BE49-F238E27FC236}">
                <a16:creationId xmlns:a16="http://schemas.microsoft.com/office/drawing/2014/main" id="{394350A7-EFD9-4814-B86A-26643AF9EBD5}"/>
              </a:ext>
            </a:extLst>
          </p:cNvPr>
          <p:cNvGrpSpPr/>
          <p:nvPr userDrawn="1"/>
        </p:nvGrpSpPr>
        <p:grpSpPr>
          <a:xfrm>
            <a:off x="2667000" y="-95250"/>
            <a:ext cx="2964128" cy="3900734"/>
            <a:chOff x="3920151" y="-9053"/>
            <a:chExt cx="3215578" cy="4014975"/>
          </a:xfrm>
        </p:grpSpPr>
        <p:sp>
          <p:nvSpPr>
            <p:cNvPr id="13" name="평행 사변형 12">
              <a:extLst>
                <a:ext uri="{FF2B5EF4-FFF2-40B4-BE49-F238E27FC236}">
                  <a16:creationId xmlns:a16="http://schemas.microsoft.com/office/drawing/2014/main" id="{71BCA314-9337-4A75-818B-76B0C0EED895}"/>
                </a:ext>
              </a:extLst>
            </p:cNvPr>
            <p:cNvSpPr/>
            <p:nvPr userDrawn="1"/>
          </p:nvSpPr>
          <p:spPr>
            <a:xfrm>
              <a:off x="3920151" y="-4763"/>
              <a:ext cx="2921235" cy="4010685"/>
            </a:xfrm>
            <a:prstGeom prst="parallelogram">
              <a:avLst>
                <a:gd name="adj" fmla="val 91201"/>
              </a:avLst>
            </a:prstGeom>
            <a:solidFill>
              <a:schemeClr val="accent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14" name="평행 사변형 13">
              <a:extLst>
                <a:ext uri="{FF2B5EF4-FFF2-40B4-BE49-F238E27FC236}">
                  <a16:creationId xmlns:a16="http://schemas.microsoft.com/office/drawing/2014/main" id="{FC648CB1-83CE-4452-A37D-C391A74635DC}"/>
                </a:ext>
              </a:extLst>
            </p:cNvPr>
            <p:cNvSpPr/>
            <p:nvPr userDrawn="1"/>
          </p:nvSpPr>
          <p:spPr>
            <a:xfrm>
              <a:off x="4959760" y="-9053"/>
              <a:ext cx="2175969" cy="3064477"/>
            </a:xfrm>
            <a:prstGeom prst="parallelogram">
              <a:avLst>
                <a:gd name="adj" fmla="val 91630"/>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grpSp>
      <p:grpSp>
        <p:nvGrpSpPr>
          <p:cNvPr id="9" name="Group 10">
            <a:extLst>
              <a:ext uri="{FF2B5EF4-FFF2-40B4-BE49-F238E27FC236}">
                <a16:creationId xmlns:a16="http://schemas.microsoft.com/office/drawing/2014/main" id="{1D638CE8-AD20-4CB4-B6A3-210BB7201115}"/>
              </a:ext>
            </a:extLst>
          </p:cNvPr>
          <p:cNvGrpSpPr/>
          <p:nvPr userDrawn="1"/>
        </p:nvGrpSpPr>
        <p:grpSpPr>
          <a:xfrm rot="10800000" flipH="1" flipV="1">
            <a:off x="7125988" y="2558104"/>
            <a:ext cx="2018012" cy="2612555"/>
            <a:chOff x="5710110" y="861237"/>
            <a:chExt cx="2769391" cy="3585306"/>
          </a:xfrm>
        </p:grpSpPr>
        <p:sp>
          <p:nvSpPr>
            <p:cNvPr id="11" name="Isosceles Triangle 4">
              <a:extLst>
                <a:ext uri="{FF2B5EF4-FFF2-40B4-BE49-F238E27FC236}">
                  <a16:creationId xmlns:a16="http://schemas.microsoft.com/office/drawing/2014/main" id="{4401D16F-071F-48DF-B9E7-B14969668B30}"/>
                </a:ext>
              </a:extLst>
            </p:cNvPr>
            <p:cNvSpPr/>
            <p:nvPr userDrawn="1"/>
          </p:nvSpPr>
          <p:spPr>
            <a:xfrm>
              <a:off x="6400800" y="2052084"/>
              <a:ext cx="1381381" cy="1190846"/>
            </a:xfrm>
            <a:prstGeom prst="triangl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2" name="Isosceles Triangle 5">
              <a:extLst>
                <a:ext uri="{FF2B5EF4-FFF2-40B4-BE49-F238E27FC236}">
                  <a16:creationId xmlns:a16="http://schemas.microsoft.com/office/drawing/2014/main" id="{D167A15C-92B8-4066-873F-0711670DC70A}"/>
                </a:ext>
              </a:extLst>
            </p:cNvPr>
            <p:cNvSpPr/>
            <p:nvPr userDrawn="1"/>
          </p:nvSpPr>
          <p:spPr>
            <a:xfrm rot="10800000">
              <a:off x="7091490" y="2052084"/>
              <a:ext cx="1381381" cy="1190846"/>
            </a:xfrm>
            <a:prstGeom prst="triangle">
              <a:avLst/>
            </a:prstGeom>
            <a:solidFill>
              <a:schemeClr val="accent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5" name="Isosceles Triangle 6">
              <a:extLst>
                <a:ext uri="{FF2B5EF4-FFF2-40B4-BE49-F238E27FC236}">
                  <a16:creationId xmlns:a16="http://schemas.microsoft.com/office/drawing/2014/main" id="{E9FABD01-6038-40C2-AB88-2F53D5D2519B}"/>
                </a:ext>
              </a:extLst>
            </p:cNvPr>
            <p:cNvSpPr/>
            <p:nvPr userDrawn="1"/>
          </p:nvSpPr>
          <p:spPr>
            <a:xfrm>
              <a:off x="5710110" y="3232297"/>
              <a:ext cx="1381381" cy="1190846"/>
            </a:xfrm>
            <a:prstGeom prst="triangl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6" name="Isosceles Triangle 7">
              <a:extLst>
                <a:ext uri="{FF2B5EF4-FFF2-40B4-BE49-F238E27FC236}">
                  <a16:creationId xmlns:a16="http://schemas.microsoft.com/office/drawing/2014/main" id="{8FD28A03-2325-4BC7-9456-3B7B2A1849DF}"/>
                </a:ext>
              </a:extLst>
            </p:cNvPr>
            <p:cNvSpPr/>
            <p:nvPr userDrawn="1"/>
          </p:nvSpPr>
          <p:spPr>
            <a:xfrm rot="10800000">
              <a:off x="6400800" y="3232297"/>
              <a:ext cx="1381381" cy="1190846"/>
            </a:xfrm>
            <a:prstGeom prst="triangle">
              <a:avLst/>
            </a:prstGeom>
            <a:solidFill>
              <a:schemeClr val="accent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7" name="Isosceles Triangle 8">
              <a:extLst>
                <a:ext uri="{FF2B5EF4-FFF2-40B4-BE49-F238E27FC236}">
                  <a16:creationId xmlns:a16="http://schemas.microsoft.com/office/drawing/2014/main" id="{0B238841-B35E-4A6D-8711-0141841E43B0}"/>
                </a:ext>
              </a:extLst>
            </p:cNvPr>
            <p:cNvSpPr/>
            <p:nvPr userDrawn="1"/>
          </p:nvSpPr>
          <p:spPr>
            <a:xfrm>
              <a:off x="7091490" y="3242930"/>
              <a:ext cx="1381381" cy="1190846"/>
            </a:xfrm>
            <a:prstGeom prst="triangle">
              <a:avLst/>
            </a:prstGeom>
            <a:solidFill>
              <a:schemeClr val="accent1">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9" name="Isosceles Triangle 9">
              <a:extLst>
                <a:ext uri="{FF2B5EF4-FFF2-40B4-BE49-F238E27FC236}">
                  <a16:creationId xmlns:a16="http://schemas.microsoft.com/office/drawing/2014/main" id="{AA6769A0-D5A9-498C-AC0B-268E1CC7C2B0}"/>
                </a:ext>
              </a:extLst>
            </p:cNvPr>
            <p:cNvSpPr/>
            <p:nvPr userDrawn="1"/>
          </p:nvSpPr>
          <p:spPr>
            <a:xfrm>
              <a:off x="7091490" y="861237"/>
              <a:ext cx="1381381" cy="1190846"/>
            </a:xfrm>
            <a:prstGeom prst="triangle">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20" name="Isosceles Triangle 5">
              <a:extLst>
                <a:ext uri="{FF2B5EF4-FFF2-40B4-BE49-F238E27FC236}">
                  <a16:creationId xmlns:a16="http://schemas.microsoft.com/office/drawing/2014/main" id="{1B28F9E9-3E45-472A-BAE5-2D793E7B0095}"/>
                </a:ext>
              </a:extLst>
            </p:cNvPr>
            <p:cNvSpPr/>
            <p:nvPr userDrawn="1"/>
          </p:nvSpPr>
          <p:spPr>
            <a:xfrm rot="10800000">
              <a:off x="7798130" y="2053637"/>
              <a:ext cx="681371" cy="2392906"/>
            </a:xfrm>
            <a:custGeom>
              <a:avLst/>
              <a:gdLst>
                <a:gd name="connsiteX0" fmla="*/ 0 w 1342121"/>
                <a:gd name="connsiteY0" fmla="*/ 1157001 h 1157001"/>
                <a:gd name="connsiteX1" fmla="*/ 671061 w 1342121"/>
                <a:gd name="connsiteY1" fmla="*/ 0 h 1157001"/>
                <a:gd name="connsiteX2" fmla="*/ 1342121 w 1342121"/>
                <a:gd name="connsiteY2" fmla="*/ 1157001 h 1157001"/>
                <a:gd name="connsiteX3" fmla="*/ 0 w 1342121"/>
                <a:gd name="connsiteY3" fmla="*/ 1157001 h 1157001"/>
                <a:gd name="connsiteX0" fmla="*/ 0 w 1342121"/>
                <a:gd name="connsiteY0" fmla="*/ 2478806 h 2478806"/>
                <a:gd name="connsiteX1" fmla="*/ 145960 w 1342121"/>
                <a:gd name="connsiteY1" fmla="*/ 0 h 2478806"/>
                <a:gd name="connsiteX2" fmla="*/ 1342121 w 1342121"/>
                <a:gd name="connsiteY2" fmla="*/ 2478806 h 2478806"/>
                <a:gd name="connsiteX3" fmla="*/ 0 w 1342121"/>
                <a:gd name="connsiteY3" fmla="*/ 2478806 h 2478806"/>
                <a:gd name="connsiteX0" fmla="*/ 0 w 807966"/>
                <a:gd name="connsiteY0" fmla="*/ 2478806 h 2478806"/>
                <a:gd name="connsiteX1" fmla="*/ 145960 w 807966"/>
                <a:gd name="connsiteY1" fmla="*/ 0 h 2478806"/>
                <a:gd name="connsiteX2" fmla="*/ 807966 w 807966"/>
                <a:gd name="connsiteY2" fmla="*/ 1166053 h 2478806"/>
                <a:gd name="connsiteX3" fmla="*/ 0 w 807966"/>
                <a:gd name="connsiteY3" fmla="*/ 2478806 h 2478806"/>
                <a:gd name="connsiteX0" fmla="*/ 7949 w 662006"/>
                <a:gd name="connsiteY0" fmla="*/ 2324897 h 2324897"/>
                <a:gd name="connsiteX1" fmla="*/ 0 w 662006"/>
                <a:gd name="connsiteY1" fmla="*/ 0 h 2324897"/>
                <a:gd name="connsiteX2" fmla="*/ 662006 w 662006"/>
                <a:gd name="connsiteY2" fmla="*/ 1166053 h 2324897"/>
                <a:gd name="connsiteX3" fmla="*/ 7949 w 662006"/>
                <a:gd name="connsiteY3" fmla="*/ 2324897 h 2324897"/>
                <a:gd name="connsiteX0" fmla="*/ 7949 w 662006"/>
                <a:gd name="connsiteY0" fmla="*/ 2324897 h 2324897"/>
                <a:gd name="connsiteX1" fmla="*/ 0 w 662006"/>
                <a:gd name="connsiteY1" fmla="*/ 0 h 2324897"/>
                <a:gd name="connsiteX2" fmla="*/ 662006 w 662006"/>
                <a:gd name="connsiteY2" fmla="*/ 1175106 h 2324897"/>
                <a:gd name="connsiteX3" fmla="*/ 7949 w 662006"/>
                <a:gd name="connsiteY3" fmla="*/ 2324897 h 2324897"/>
              </a:gdLst>
              <a:ahLst/>
              <a:cxnLst>
                <a:cxn ang="0">
                  <a:pos x="connsiteX0" y="connsiteY0"/>
                </a:cxn>
                <a:cxn ang="0">
                  <a:pos x="connsiteX1" y="connsiteY1"/>
                </a:cxn>
                <a:cxn ang="0">
                  <a:pos x="connsiteX2" y="connsiteY2"/>
                </a:cxn>
                <a:cxn ang="0">
                  <a:pos x="connsiteX3" y="connsiteY3"/>
                </a:cxn>
              </a:cxnLst>
              <a:rect l="l" t="t" r="r" b="b"/>
              <a:pathLst>
                <a:path w="662006" h="2324897">
                  <a:moveTo>
                    <a:pt x="7949" y="2324897"/>
                  </a:moveTo>
                  <a:cubicBezTo>
                    <a:pt x="5299" y="1549931"/>
                    <a:pt x="2650" y="774966"/>
                    <a:pt x="0" y="0"/>
                  </a:cubicBezTo>
                  <a:lnTo>
                    <a:pt x="662006" y="1175106"/>
                  </a:lnTo>
                  <a:lnTo>
                    <a:pt x="7949" y="2324897"/>
                  </a:lnTo>
                  <a:close/>
                </a:path>
              </a:pathLst>
            </a:custGeom>
            <a:solidFill>
              <a:schemeClr val="accent1">
                <a:alpha val="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grpSp>
    </p:spTree>
    <p:extLst>
      <p:ext uri="{BB962C8B-B14F-4D97-AF65-F5344CB8AC3E}">
        <p14:creationId xmlns:p14="http://schemas.microsoft.com/office/powerpoint/2010/main" val="38874795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9" name="Right Triangle 8"/>
          <p:cNvSpPr/>
          <p:nvPr userDrawn="1"/>
        </p:nvSpPr>
        <p:spPr>
          <a:xfrm>
            <a:off x="0" y="1093500"/>
            <a:ext cx="4050000" cy="405000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10" name="Right Triangle 9"/>
          <p:cNvSpPr/>
          <p:nvPr userDrawn="1"/>
        </p:nvSpPr>
        <p:spPr>
          <a:xfrm rot="10800000">
            <a:off x="5364000" y="1"/>
            <a:ext cx="3780000" cy="378000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7" name="Picture Placeholder 2"/>
          <p:cNvSpPr>
            <a:spLocks noGrp="1"/>
          </p:cNvSpPr>
          <p:nvPr>
            <p:ph type="pic" idx="1" hasCustomPrompt="1"/>
          </p:nvPr>
        </p:nvSpPr>
        <p:spPr>
          <a:xfrm>
            <a:off x="559879" y="404948"/>
            <a:ext cx="2565000" cy="2133053"/>
          </a:xfrm>
          <a:prstGeom prst="rect">
            <a:avLst/>
          </a:prstGeom>
          <a:solidFill>
            <a:schemeClr val="bg1">
              <a:lumMod val="95000"/>
            </a:schemeClr>
          </a:solidFill>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 </a:t>
            </a:r>
            <a:endParaRPr lang="ko-KR" altLang="en-US" dirty="0"/>
          </a:p>
        </p:txBody>
      </p:sp>
      <p:sp>
        <p:nvSpPr>
          <p:cNvPr id="8" name="Picture Placeholder 2"/>
          <p:cNvSpPr>
            <a:spLocks noGrp="1"/>
          </p:cNvSpPr>
          <p:nvPr>
            <p:ph type="pic" idx="10" hasCustomPrompt="1"/>
          </p:nvPr>
        </p:nvSpPr>
        <p:spPr>
          <a:xfrm>
            <a:off x="559879" y="2604540"/>
            <a:ext cx="4050000" cy="2133000"/>
          </a:xfrm>
          <a:prstGeom prst="rect">
            <a:avLst/>
          </a:prstGeom>
          <a:solidFill>
            <a:schemeClr val="bg1">
              <a:lumMod val="95000"/>
            </a:schemeClr>
          </a:solidFill>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 </a:t>
            </a:r>
            <a:endParaRPr lang="ko-KR" altLang="en-US" dirty="0"/>
          </a:p>
        </p:txBody>
      </p:sp>
    </p:spTree>
    <p:extLst>
      <p:ext uri="{BB962C8B-B14F-4D97-AF65-F5344CB8AC3E}">
        <p14:creationId xmlns:p14="http://schemas.microsoft.com/office/powerpoint/2010/main" val="34478196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IMAGE AND CONTENTS LAYOUT_10">
    <p:bg>
      <p:bgPr>
        <a:solidFill>
          <a:schemeClr val="bg1"/>
        </a:solidFill>
        <a:effectLst/>
      </p:bgPr>
    </p:bg>
    <p:spTree>
      <p:nvGrpSpPr>
        <p:cNvPr id="1" name=""/>
        <p:cNvGrpSpPr/>
        <p:nvPr/>
      </p:nvGrpSpPr>
      <p:grpSpPr>
        <a:xfrm>
          <a:off x="0" y="0"/>
          <a:ext cx="0" cy="0"/>
          <a:chOff x="0" y="0"/>
          <a:chExt cx="0" cy="0"/>
        </a:xfrm>
      </p:grpSpPr>
      <p:sp>
        <p:nvSpPr>
          <p:cNvPr id="6" name="Rectangle 1"/>
          <p:cNvSpPr/>
          <p:nvPr userDrawn="1"/>
        </p:nvSpPr>
        <p:spPr>
          <a:xfrm>
            <a:off x="3799335" y="0"/>
            <a:ext cx="5344666" cy="5143500"/>
          </a:xfrm>
          <a:custGeom>
            <a:avLst/>
            <a:gdLst>
              <a:gd name="connsiteX0" fmla="*/ 0 w 4716016"/>
              <a:gd name="connsiteY0" fmla="*/ 0 h 6858000"/>
              <a:gd name="connsiteX1" fmla="*/ 4716016 w 4716016"/>
              <a:gd name="connsiteY1" fmla="*/ 0 h 6858000"/>
              <a:gd name="connsiteX2" fmla="*/ 4716016 w 4716016"/>
              <a:gd name="connsiteY2" fmla="*/ 6858000 h 6858000"/>
              <a:gd name="connsiteX3" fmla="*/ 0 w 4716016"/>
              <a:gd name="connsiteY3" fmla="*/ 6858000 h 6858000"/>
              <a:gd name="connsiteX4" fmla="*/ 0 w 4716016"/>
              <a:gd name="connsiteY4" fmla="*/ 0 h 6858000"/>
              <a:gd name="connsiteX0" fmla="*/ 2238375 w 4716016"/>
              <a:gd name="connsiteY0" fmla="*/ 0 h 6858000"/>
              <a:gd name="connsiteX1" fmla="*/ 4716016 w 4716016"/>
              <a:gd name="connsiteY1" fmla="*/ 0 h 6858000"/>
              <a:gd name="connsiteX2" fmla="*/ 4716016 w 4716016"/>
              <a:gd name="connsiteY2" fmla="*/ 6858000 h 6858000"/>
              <a:gd name="connsiteX3" fmla="*/ 0 w 4716016"/>
              <a:gd name="connsiteY3" fmla="*/ 6858000 h 6858000"/>
              <a:gd name="connsiteX4" fmla="*/ 2238375 w 4716016"/>
              <a:gd name="connsiteY4" fmla="*/ 0 h 6858000"/>
              <a:gd name="connsiteX0" fmla="*/ 2867025 w 5344666"/>
              <a:gd name="connsiteY0" fmla="*/ 0 h 6858000"/>
              <a:gd name="connsiteX1" fmla="*/ 5344666 w 5344666"/>
              <a:gd name="connsiteY1" fmla="*/ 0 h 6858000"/>
              <a:gd name="connsiteX2" fmla="*/ 5344666 w 5344666"/>
              <a:gd name="connsiteY2" fmla="*/ 6858000 h 6858000"/>
              <a:gd name="connsiteX3" fmla="*/ 0 w 5344666"/>
              <a:gd name="connsiteY3" fmla="*/ 6858000 h 6858000"/>
              <a:gd name="connsiteX4" fmla="*/ 2867025 w 534466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4666" h="6858000">
                <a:moveTo>
                  <a:pt x="2867025" y="0"/>
                </a:moveTo>
                <a:lnTo>
                  <a:pt x="5344666" y="0"/>
                </a:lnTo>
                <a:lnTo>
                  <a:pt x="5344666" y="6858000"/>
                </a:lnTo>
                <a:lnTo>
                  <a:pt x="0" y="6858000"/>
                </a:lnTo>
                <a:lnTo>
                  <a:pt x="286702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4" name="그림 개체 틀 2"/>
          <p:cNvSpPr>
            <a:spLocks noGrp="1"/>
          </p:cNvSpPr>
          <p:nvPr>
            <p:ph type="pic" sz="quarter" idx="42" hasCustomPrompt="1"/>
          </p:nvPr>
        </p:nvSpPr>
        <p:spPr>
          <a:xfrm>
            <a:off x="543088" y="1059582"/>
            <a:ext cx="5811992" cy="1782198"/>
          </a:xfrm>
          <a:prstGeom prst="rect">
            <a:avLst/>
          </a:prstGeom>
          <a:solidFill>
            <a:schemeClr val="bg1">
              <a:lumMod val="95000"/>
            </a:schemeClr>
          </a:solidFill>
        </p:spPr>
        <p:txBody>
          <a:bodyPr anchor="ctr"/>
          <a:lstStyle>
            <a:lvl1pPr marL="0" indent="0" algn="ctr">
              <a:buNone/>
              <a:defRPr sz="900"/>
            </a:lvl1pPr>
          </a:lstStyle>
          <a:p>
            <a:r>
              <a:rPr lang="en-US" altLang="ko-KR" dirty="0"/>
              <a:t>Place Your Picture Here</a:t>
            </a:r>
            <a:endParaRPr lang="ko-KR" altLang="en-US" dirty="0"/>
          </a:p>
        </p:txBody>
      </p:sp>
      <p:sp>
        <p:nvSpPr>
          <p:cNvPr id="5" name="그림 개체 틀 2"/>
          <p:cNvSpPr>
            <a:spLocks noGrp="1"/>
          </p:cNvSpPr>
          <p:nvPr>
            <p:ph type="pic" sz="quarter" idx="43" hasCustomPrompt="1"/>
          </p:nvPr>
        </p:nvSpPr>
        <p:spPr>
          <a:xfrm>
            <a:off x="543088" y="2924361"/>
            <a:ext cx="5811992" cy="1782198"/>
          </a:xfrm>
          <a:prstGeom prst="rect">
            <a:avLst/>
          </a:prstGeom>
          <a:solidFill>
            <a:schemeClr val="bg1">
              <a:lumMod val="95000"/>
            </a:schemeClr>
          </a:solidFill>
        </p:spPr>
        <p:txBody>
          <a:bodyPr anchor="ctr"/>
          <a:lstStyle>
            <a:lvl1pPr marL="0" indent="0" algn="ctr">
              <a:buNone/>
              <a:defRPr sz="900"/>
            </a:lvl1pPr>
          </a:lstStyle>
          <a:p>
            <a:r>
              <a:rPr lang="en-US" altLang="ko-KR" dirty="0"/>
              <a:t>Place Your Picture Here</a:t>
            </a:r>
            <a:endParaRPr lang="ko-KR" altLang="en-US" dirty="0"/>
          </a:p>
        </p:txBody>
      </p:sp>
      <p:sp>
        <p:nvSpPr>
          <p:cNvPr id="7" name="Text Placeholder 9">
            <a:extLst>
              <a:ext uri="{FF2B5EF4-FFF2-40B4-BE49-F238E27FC236}">
                <a16:creationId xmlns:a16="http://schemas.microsoft.com/office/drawing/2014/main" id="{EDF8DF77-11B6-4B78-A281-02644EE5F4FD}"/>
              </a:ext>
            </a:extLst>
          </p:cNvPr>
          <p:cNvSpPr>
            <a:spLocks noGrp="1"/>
          </p:cNvSpPr>
          <p:nvPr>
            <p:ph type="body" sz="quarter" idx="10" hasCustomPrompt="1"/>
          </p:nvPr>
        </p:nvSpPr>
        <p:spPr>
          <a:xfrm>
            <a:off x="463732" y="215441"/>
            <a:ext cx="8458812" cy="543185"/>
          </a:xfrm>
          <a:prstGeom prst="rect">
            <a:avLst/>
          </a:prstGeom>
        </p:spPr>
        <p:txBody>
          <a:bodyPr anchor="ctr"/>
          <a:lstStyle>
            <a:lvl1pPr marL="0" indent="0" algn="l">
              <a:buNone/>
              <a:defRPr sz="405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16762090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E6C150B-F9AC-49BD-A36D-A14512748402}" type="datetime1">
              <a:rPr lang="en-US" smtClean="0"/>
              <a:t>10/28/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2" name="Rectangle 1"/>
          <p:cNvSpPr/>
          <p:nvPr userDrawn="1"/>
        </p:nvSpPr>
        <p:spPr>
          <a:xfrm>
            <a:off x="5021051" y="978750"/>
            <a:ext cx="2538000" cy="3186000"/>
          </a:xfrm>
          <a:prstGeom prst="rect">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3" name="Picture Placeholder 2"/>
          <p:cNvSpPr>
            <a:spLocks noGrp="1"/>
          </p:cNvSpPr>
          <p:nvPr>
            <p:ph type="pic" idx="1" hasCustomPrompt="1"/>
          </p:nvPr>
        </p:nvSpPr>
        <p:spPr>
          <a:xfrm>
            <a:off x="5129051" y="1086750"/>
            <a:ext cx="2322000" cy="2970000"/>
          </a:xfrm>
          <a:prstGeom prst="rect">
            <a:avLst/>
          </a:prstGeom>
          <a:solidFill>
            <a:schemeClr val="bg1">
              <a:lumMod val="95000"/>
            </a:schemeClr>
          </a:solidFill>
        </p:spPr>
        <p:txBody>
          <a:bodyPr anchor="ctr"/>
          <a:lstStyle>
            <a:lvl1pPr marL="0" indent="0" algn="ctr">
              <a:buNone/>
              <a:defRPr sz="900" baseline="0">
                <a:solidFill>
                  <a:schemeClr val="tx1">
                    <a:lumMod val="75000"/>
                    <a:lumOff val="25000"/>
                  </a:schemeClr>
                </a:solidFill>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4" name="Picture Placeholder 2"/>
          <p:cNvSpPr>
            <a:spLocks noGrp="1"/>
          </p:cNvSpPr>
          <p:nvPr>
            <p:ph type="pic" idx="10" hasCustomPrompt="1"/>
          </p:nvPr>
        </p:nvSpPr>
        <p:spPr>
          <a:xfrm>
            <a:off x="4001987" y="0"/>
            <a:ext cx="1620000" cy="2160000"/>
          </a:xfrm>
          <a:prstGeom prst="rect">
            <a:avLst/>
          </a:prstGeom>
          <a:solidFill>
            <a:schemeClr val="bg1">
              <a:lumMod val="95000"/>
            </a:schemeClr>
          </a:solidFill>
        </p:spPr>
        <p:txBody>
          <a:bodyPr anchor="ctr"/>
          <a:lstStyle>
            <a:lvl1pPr marL="0" indent="0" algn="ctr">
              <a:buNone/>
              <a:defRPr sz="900" baseline="0">
                <a:solidFill>
                  <a:schemeClr val="tx1">
                    <a:lumMod val="75000"/>
                    <a:lumOff val="25000"/>
                  </a:schemeClr>
                </a:solidFill>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5" name="Picture Placeholder 2"/>
          <p:cNvSpPr>
            <a:spLocks noGrp="1"/>
          </p:cNvSpPr>
          <p:nvPr>
            <p:ph type="pic" idx="11" hasCustomPrompt="1"/>
          </p:nvPr>
        </p:nvSpPr>
        <p:spPr>
          <a:xfrm>
            <a:off x="6958115" y="2983500"/>
            <a:ext cx="1620000" cy="2160000"/>
          </a:xfrm>
          <a:prstGeom prst="rect">
            <a:avLst/>
          </a:prstGeom>
          <a:solidFill>
            <a:schemeClr val="bg1">
              <a:lumMod val="95000"/>
            </a:schemeClr>
          </a:solidFill>
        </p:spPr>
        <p:txBody>
          <a:bodyPr anchor="ctr"/>
          <a:lstStyle>
            <a:lvl1pPr marL="0" indent="0" algn="ctr">
              <a:buNone/>
              <a:defRPr sz="900" baseline="0">
                <a:solidFill>
                  <a:schemeClr val="tx1">
                    <a:lumMod val="75000"/>
                    <a:lumOff val="25000"/>
                  </a:schemeClr>
                </a:solidFill>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grpSp>
        <p:nvGrpSpPr>
          <p:cNvPr id="12" name="Group 10">
            <a:extLst>
              <a:ext uri="{FF2B5EF4-FFF2-40B4-BE49-F238E27FC236}">
                <a16:creationId xmlns:a16="http://schemas.microsoft.com/office/drawing/2014/main" id="{2227099C-49C9-496C-8AD6-ED885219FC8A}"/>
              </a:ext>
            </a:extLst>
          </p:cNvPr>
          <p:cNvGrpSpPr/>
          <p:nvPr userDrawn="1"/>
        </p:nvGrpSpPr>
        <p:grpSpPr>
          <a:xfrm>
            <a:off x="-909252" y="2956539"/>
            <a:ext cx="3353834" cy="2626647"/>
            <a:chOff x="-1212335" y="3942052"/>
            <a:chExt cx="4471778" cy="3502196"/>
          </a:xfrm>
        </p:grpSpPr>
        <p:sp>
          <p:nvSpPr>
            <p:cNvPr id="13" name="Rectangle 1">
              <a:extLst>
                <a:ext uri="{FF2B5EF4-FFF2-40B4-BE49-F238E27FC236}">
                  <a16:creationId xmlns:a16="http://schemas.microsoft.com/office/drawing/2014/main" id="{E4A62C8F-5104-4D18-A5E1-166308156408}"/>
                </a:ext>
              </a:extLst>
            </p:cNvPr>
            <p:cNvSpPr/>
            <p:nvPr userDrawn="1"/>
          </p:nvSpPr>
          <p:spPr>
            <a:xfrm rot="2700000">
              <a:off x="-1212335" y="3942052"/>
              <a:ext cx="2424670" cy="2424670"/>
            </a:xfrm>
            <a:custGeom>
              <a:avLst/>
              <a:gdLst>
                <a:gd name="connsiteX0" fmla="*/ 0 w 2424670"/>
                <a:gd name="connsiteY0" fmla="*/ 0 h 2424670"/>
                <a:gd name="connsiteX1" fmla="*/ 2424670 w 2424670"/>
                <a:gd name="connsiteY1" fmla="*/ 0 h 2424670"/>
                <a:gd name="connsiteX2" fmla="*/ 2424670 w 2424670"/>
                <a:gd name="connsiteY2" fmla="*/ 2424670 h 2424670"/>
                <a:gd name="connsiteX3" fmla="*/ 0 w 2424670"/>
                <a:gd name="connsiteY3" fmla="*/ 2424670 h 2424670"/>
                <a:gd name="connsiteX4" fmla="*/ 0 w 2424670"/>
                <a:gd name="connsiteY4" fmla="*/ 0 h 2424670"/>
                <a:gd name="connsiteX0" fmla="*/ 0 w 2424670"/>
                <a:gd name="connsiteY0" fmla="*/ 0 h 2424670"/>
                <a:gd name="connsiteX1" fmla="*/ 2424670 w 2424670"/>
                <a:gd name="connsiteY1" fmla="*/ 0 h 2424670"/>
                <a:gd name="connsiteX2" fmla="*/ 2424670 w 2424670"/>
                <a:gd name="connsiteY2" fmla="*/ 2424670 h 2424670"/>
                <a:gd name="connsiteX3" fmla="*/ 0 w 2424670"/>
                <a:gd name="connsiteY3" fmla="*/ 2424670 h 2424670"/>
                <a:gd name="connsiteX4" fmla="*/ 0 w 2424670"/>
                <a:gd name="connsiteY4" fmla="*/ 0 h 2424670"/>
                <a:gd name="connsiteX0" fmla="*/ 0 w 2424670"/>
                <a:gd name="connsiteY0" fmla="*/ 0 h 2424670"/>
                <a:gd name="connsiteX1" fmla="*/ 2424670 w 2424670"/>
                <a:gd name="connsiteY1" fmla="*/ 0 h 2424670"/>
                <a:gd name="connsiteX2" fmla="*/ 2424670 w 2424670"/>
                <a:gd name="connsiteY2" fmla="*/ 2424670 h 2424670"/>
                <a:gd name="connsiteX3" fmla="*/ 0 w 2424670"/>
                <a:gd name="connsiteY3" fmla="*/ 2424670 h 2424670"/>
                <a:gd name="connsiteX4" fmla="*/ 0 w 2424670"/>
                <a:gd name="connsiteY4" fmla="*/ 0 h 2424670"/>
                <a:gd name="connsiteX0" fmla="*/ 0 w 2424670"/>
                <a:gd name="connsiteY0" fmla="*/ 0 h 2424670"/>
                <a:gd name="connsiteX1" fmla="*/ 2424670 w 2424670"/>
                <a:gd name="connsiteY1" fmla="*/ 0 h 2424670"/>
                <a:gd name="connsiteX2" fmla="*/ 2424670 w 2424670"/>
                <a:gd name="connsiteY2" fmla="*/ 2424670 h 2424670"/>
                <a:gd name="connsiteX3" fmla="*/ 0 w 2424670"/>
                <a:gd name="connsiteY3" fmla="*/ 0 h 2424670"/>
              </a:gdLst>
              <a:ahLst/>
              <a:cxnLst>
                <a:cxn ang="0">
                  <a:pos x="connsiteX0" y="connsiteY0"/>
                </a:cxn>
                <a:cxn ang="0">
                  <a:pos x="connsiteX1" y="connsiteY1"/>
                </a:cxn>
                <a:cxn ang="0">
                  <a:pos x="connsiteX2" y="connsiteY2"/>
                </a:cxn>
                <a:cxn ang="0">
                  <a:pos x="connsiteX3" y="connsiteY3"/>
                </a:cxn>
              </a:cxnLst>
              <a:rect l="l" t="t" r="r" b="b"/>
              <a:pathLst>
                <a:path w="2424670" h="2424670">
                  <a:moveTo>
                    <a:pt x="0" y="0"/>
                  </a:moveTo>
                  <a:lnTo>
                    <a:pt x="2424670" y="0"/>
                  </a:lnTo>
                  <a:lnTo>
                    <a:pt x="2424670" y="2424670"/>
                  </a:lnTo>
                  <a:lnTo>
                    <a:pt x="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grpSp>
          <p:nvGrpSpPr>
            <p:cNvPr id="14" name="Group 6">
              <a:extLst>
                <a:ext uri="{FF2B5EF4-FFF2-40B4-BE49-F238E27FC236}">
                  <a16:creationId xmlns:a16="http://schemas.microsoft.com/office/drawing/2014/main" id="{35814EDE-F1F1-407C-96E3-66FAE0C7C18A}"/>
                </a:ext>
              </a:extLst>
            </p:cNvPr>
            <p:cNvGrpSpPr/>
            <p:nvPr userDrawn="1"/>
          </p:nvGrpSpPr>
          <p:grpSpPr>
            <a:xfrm>
              <a:off x="355907" y="4539344"/>
              <a:ext cx="2903536" cy="2904904"/>
              <a:chOff x="263078" y="5032130"/>
              <a:chExt cx="2289253" cy="2290332"/>
            </a:xfrm>
          </p:grpSpPr>
          <p:sp>
            <p:nvSpPr>
              <p:cNvPr id="15" name="Rectangle 5">
                <a:extLst>
                  <a:ext uri="{FF2B5EF4-FFF2-40B4-BE49-F238E27FC236}">
                    <a16:creationId xmlns:a16="http://schemas.microsoft.com/office/drawing/2014/main" id="{66E05557-77A9-4BED-BEE6-6EEDA1A7A1DE}"/>
                  </a:ext>
                </a:extLst>
              </p:cNvPr>
              <p:cNvSpPr/>
              <p:nvPr userDrawn="1"/>
            </p:nvSpPr>
            <p:spPr>
              <a:xfrm rot="2700000">
                <a:off x="263078" y="6400213"/>
                <a:ext cx="922249" cy="922249"/>
              </a:xfrm>
              <a:custGeom>
                <a:avLst/>
                <a:gdLst>
                  <a:gd name="connsiteX0" fmla="*/ 0 w 922249"/>
                  <a:gd name="connsiteY0" fmla="*/ 0 h 922249"/>
                  <a:gd name="connsiteX1" fmla="*/ 922249 w 922249"/>
                  <a:gd name="connsiteY1" fmla="*/ 0 h 922249"/>
                  <a:gd name="connsiteX2" fmla="*/ 922249 w 922249"/>
                  <a:gd name="connsiteY2" fmla="*/ 922249 h 922249"/>
                  <a:gd name="connsiteX3" fmla="*/ 0 w 922249"/>
                  <a:gd name="connsiteY3" fmla="*/ 922249 h 922249"/>
                  <a:gd name="connsiteX4" fmla="*/ 0 w 922249"/>
                  <a:gd name="connsiteY4" fmla="*/ 0 h 922249"/>
                  <a:gd name="connsiteX0" fmla="*/ 0 w 922249"/>
                  <a:gd name="connsiteY0" fmla="*/ 0 h 922249"/>
                  <a:gd name="connsiteX1" fmla="*/ 922249 w 922249"/>
                  <a:gd name="connsiteY1" fmla="*/ 0 h 922249"/>
                  <a:gd name="connsiteX2" fmla="*/ 922249 w 922249"/>
                  <a:gd name="connsiteY2" fmla="*/ 922249 h 922249"/>
                  <a:gd name="connsiteX3" fmla="*/ 0 w 922249"/>
                  <a:gd name="connsiteY3" fmla="*/ 922249 h 922249"/>
                  <a:gd name="connsiteX4" fmla="*/ 0 w 922249"/>
                  <a:gd name="connsiteY4" fmla="*/ 0 h 922249"/>
                  <a:gd name="connsiteX0" fmla="*/ 0 w 922249"/>
                  <a:gd name="connsiteY0" fmla="*/ 0 h 922249"/>
                  <a:gd name="connsiteX1" fmla="*/ 922249 w 922249"/>
                  <a:gd name="connsiteY1" fmla="*/ 0 h 922249"/>
                  <a:gd name="connsiteX2" fmla="*/ 0 w 922249"/>
                  <a:gd name="connsiteY2" fmla="*/ 922249 h 922249"/>
                  <a:gd name="connsiteX3" fmla="*/ 0 w 922249"/>
                  <a:gd name="connsiteY3" fmla="*/ 0 h 922249"/>
                </a:gdLst>
                <a:ahLst/>
                <a:cxnLst>
                  <a:cxn ang="0">
                    <a:pos x="connsiteX0" y="connsiteY0"/>
                  </a:cxn>
                  <a:cxn ang="0">
                    <a:pos x="connsiteX1" y="connsiteY1"/>
                  </a:cxn>
                  <a:cxn ang="0">
                    <a:pos x="connsiteX2" y="connsiteY2"/>
                  </a:cxn>
                  <a:cxn ang="0">
                    <a:pos x="connsiteX3" y="connsiteY3"/>
                  </a:cxn>
                </a:cxnLst>
                <a:rect l="l" t="t" r="r" b="b"/>
                <a:pathLst>
                  <a:path w="922249" h="922249">
                    <a:moveTo>
                      <a:pt x="0" y="0"/>
                    </a:moveTo>
                    <a:lnTo>
                      <a:pt x="922249" y="0"/>
                    </a:lnTo>
                    <a:lnTo>
                      <a:pt x="0" y="922249"/>
                    </a:lnTo>
                    <a:lnTo>
                      <a:pt x="0" y="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16" name="Rectangle 8">
                <a:extLst>
                  <a:ext uri="{FF2B5EF4-FFF2-40B4-BE49-F238E27FC236}">
                    <a16:creationId xmlns:a16="http://schemas.microsoft.com/office/drawing/2014/main" id="{2DDC342A-F0A1-4C39-9552-5BB730CFE773}"/>
                  </a:ext>
                </a:extLst>
              </p:cNvPr>
              <p:cNvSpPr/>
              <p:nvPr userDrawn="1"/>
            </p:nvSpPr>
            <p:spPr>
              <a:xfrm rot="2700000">
                <a:off x="946580" y="5716171"/>
                <a:ext cx="922249" cy="9222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17" name="Rectangle 9">
                <a:extLst>
                  <a:ext uri="{FF2B5EF4-FFF2-40B4-BE49-F238E27FC236}">
                    <a16:creationId xmlns:a16="http://schemas.microsoft.com/office/drawing/2014/main" id="{22FE0042-0B40-4FF3-902A-BF18EC50DFB4}"/>
                  </a:ext>
                </a:extLst>
              </p:cNvPr>
              <p:cNvSpPr/>
              <p:nvPr userDrawn="1"/>
            </p:nvSpPr>
            <p:spPr>
              <a:xfrm rot="2700000">
                <a:off x="1630082" y="5032130"/>
                <a:ext cx="922249" cy="9222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grpSp>
      </p:grpSp>
    </p:spTree>
    <p:extLst>
      <p:ext uri="{BB962C8B-B14F-4D97-AF65-F5344CB8AC3E}">
        <p14:creationId xmlns:p14="http://schemas.microsoft.com/office/powerpoint/2010/main" val="801942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IMAGE AND CONTENTS LAYOUT_12">
    <p:spTree>
      <p:nvGrpSpPr>
        <p:cNvPr id="1" name=""/>
        <p:cNvGrpSpPr/>
        <p:nvPr/>
      </p:nvGrpSpPr>
      <p:grpSpPr>
        <a:xfrm>
          <a:off x="0" y="0"/>
          <a:ext cx="0" cy="0"/>
          <a:chOff x="0" y="0"/>
          <a:chExt cx="0" cy="0"/>
        </a:xfrm>
      </p:grpSpPr>
      <p:sp>
        <p:nvSpPr>
          <p:cNvPr id="7" name="그림 개체 틀 2"/>
          <p:cNvSpPr>
            <a:spLocks noGrp="1"/>
          </p:cNvSpPr>
          <p:nvPr>
            <p:ph type="pic" sz="quarter" idx="46" hasCustomPrompt="1"/>
          </p:nvPr>
        </p:nvSpPr>
        <p:spPr>
          <a:xfrm>
            <a:off x="1406725" y="1364307"/>
            <a:ext cx="7194958" cy="1984497"/>
          </a:xfrm>
          <a:custGeom>
            <a:avLst/>
            <a:gdLst>
              <a:gd name="connsiteX0" fmla="*/ 0 w 6913722"/>
              <a:gd name="connsiteY0" fmla="*/ 0 h 1800200"/>
              <a:gd name="connsiteX1" fmla="*/ 6913722 w 6913722"/>
              <a:gd name="connsiteY1" fmla="*/ 0 h 1800200"/>
              <a:gd name="connsiteX2" fmla="*/ 6913722 w 6913722"/>
              <a:gd name="connsiteY2" fmla="*/ 1800200 h 1800200"/>
              <a:gd name="connsiteX3" fmla="*/ 0 w 6913722"/>
              <a:gd name="connsiteY3" fmla="*/ 1800200 h 1800200"/>
              <a:gd name="connsiteX4" fmla="*/ 0 w 6913722"/>
              <a:gd name="connsiteY4" fmla="*/ 0 h 1800200"/>
              <a:gd name="connsiteX0" fmla="*/ 0 w 6913722"/>
              <a:gd name="connsiteY0" fmla="*/ 0 h 1800200"/>
              <a:gd name="connsiteX1" fmla="*/ 6913722 w 6913722"/>
              <a:gd name="connsiteY1" fmla="*/ 0 h 1800200"/>
              <a:gd name="connsiteX2" fmla="*/ 6913722 w 6913722"/>
              <a:gd name="connsiteY2" fmla="*/ 1800200 h 1800200"/>
              <a:gd name="connsiteX3" fmla="*/ 1103257 w 6913722"/>
              <a:gd name="connsiteY3" fmla="*/ 1791789 h 1800200"/>
              <a:gd name="connsiteX4" fmla="*/ 0 w 6913722"/>
              <a:gd name="connsiteY4" fmla="*/ 1800200 h 1800200"/>
              <a:gd name="connsiteX5" fmla="*/ 0 w 6913722"/>
              <a:gd name="connsiteY5" fmla="*/ 0 h 1800200"/>
              <a:gd name="connsiteX0" fmla="*/ 0 w 6913722"/>
              <a:gd name="connsiteY0" fmla="*/ 0 h 1800200"/>
              <a:gd name="connsiteX1" fmla="*/ 6913722 w 6913722"/>
              <a:gd name="connsiteY1" fmla="*/ 0 h 1800200"/>
              <a:gd name="connsiteX2" fmla="*/ 6913722 w 6913722"/>
              <a:gd name="connsiteY2" fmla="*/ 1800200 h 1800200"/>
              <a:gd name="connsiteX3" fmla="*/ 1489151 w 6913722"/>
              <a:gd name="connsiteY3" fmla="*/ 1800178 h 1800200"/>
              <a:gd name="connsiteX4" fmla="*/ 1103257 w 6913722"/>
              <a:gd name="connsiteY4" fmla="*/ 1791789 h 1800200"/>
              <a:gd name="connsiteX5" fmla="*/ 0 w 6913722"/>
              <a:gd name="connsiteY5" fmla="*/ 1800200 h 1800200"/>
              <a:gd name="connsiteX6" fmla="*/ 0 w 6913722"/>
              <a:gd name="connsiteY6" fmla="*/ 0 h 1800200"/>
              <a:gd name="connsiteX0" fmla="*/ 0 w 6913722"/>
              <a:gd name="connsiteY0" fmla="*/ 0 h 1800200"/>
              <a:gd name="connsiteX1" fmla="*/ 6913722 w 6913722"/>
              <a:gd name="connsiteY1" fmla="*/ 0 h 1800200"/>
              <a:gd name="connsiteX2" fmla="*/ 6913722 w 6913722"/>
              <a:gd name="connsiteY2" fmla="*/ 1800200 h 1800200"/>
              <a:gd name="connsiteX3" fmla="*/ 1489151 w 6913722"/>
              <a:gd name="connsiteY3" fmla="*/ 1800178 h 1800200"/>
              <a:gd name="connsiteX4" fmla="*/ 1287815 w 6913722"/>
              <a:gd name="connsiteY4" fmla="*/ 1791789 h 1800200"/>
              <a:gd name="connsiteX5" fmla="*/ 1103257 w 6913722"/>
              <a:gd name="connsiteY5" fmla="*/ 1791789 h 1800200"/>
              <a:gd name="connsiteX6" fmla="*/ 0 w 6913722"/>
              <a:gd name="connsiteY6" fmla="*/ 1800200 h 1800200"/>
              <a:gd name="connsiteX7" fmla="*/ 0 w 6913722"/>
              <a:gd name="connsiteY7" fmla="*/ 0 h 1800200"/>
              <a:gd name="connsiteX0" fmla="*/ 0 w 6913722"/>
              <a:gd name="connsiteY0" fmla="*/ 0 h 1951179"/>
              <a:gd name="connsiteX1" fmla="*/ 6913722 w 6913722"/>
              <a:gd name="connsiteY1" fmla="*/ 0 h 1951179"/>
              <a:gd name="connsiteX2" fmla="*/ 6913722 w 6913722"/>
              <a:gd name="connsiteY2" fmla="*/ 1800200 h 1951179"/>
              <a:gd name="connsiteX3" fmla="*/ 1489151 w 6913722"/>
              <a:gd name="connsiteY3" fmla="*/ 1800178 h 1951179"/>
              <a:gd name="connsiteX4" fmla="*/ 1296204 w 6913722"/>
              <a:gd name="connsiteY4" fmla="*/ 1951179 h 1951179"/>
              <a:gd name="connsiteX5" fmla="*/ 1103257 w 6913722"/>
              <a:gd name="connsiteY5" fmla="*/ 1791789 h 1951179"/>
              <a:gd name="connsiteX6" fmla="*/ 0 w 6913722"/>
              <a:gd name="connsiteY6" fmla="*/ 1800200 h 1951179"/>
              <a:gd name="connsiteX7" fmla="*/ 0 w 6913722"/>
              <a:gd name="connsiteY7" fmla="*/ 0 h 1951179"/>
              <a:gd name="connsiteX0" fmla="*/ 0 w 6913722"/>
              <a:gd name="connsiteY0" fmla="*/ 0 h 2002718"/>
              <a:gd name="connsiteX1" fmla="*/ 6913722 w 6913722"/>
              <a:gd name="connsiteY1" fmla="*/ 0 h 2002718"/>
              <a:gd name="connsiteX2" fmla="*/ 6913722 w 6913722"/>
              <a:gd name="connsiteY2" fmla="*/ 1800200 h 2002718"/>
              <a:gd name="connsiteX3" fmla="*/ 1489151 w 6913722"/>
              <a:gd name="connsiteY3" fmla="*/ 1800178 h 2002718"/>
              <a:gd name="connsiteX4" fmla="*/ 1303214 w 6913722"/>
              <a:gd name="connsiteY4" fmla="*/ 2002718 h 2002718"/>
              <a:gd name="connsiteX5" fmla="*/ 1103257 w 6913722"/>
              <a:gd name="connsiteY5" fmla="*/ 1791789 h 2002718"/>
              <a:gd name="connsiteX6" fmla="*/ 0 w 6913722"/>
              <a:gd name="connsiteY6" fmla="*/ 1800200 h 2002718"/>
              <a:gd name="connsiteX7" fmla="*/ 0 w 6913722"/>
              <a:gd name="connsiteY7" fmla="*/ 0 h 2002718"/>
              <a:gd name="connsiteX0" fmla="*/ 0 w 6913722"/>
              <a:gd name="connsiteY0" fmla="*/ 0 h 2002718"/>
              <a:gd name="connsiteX1" fmla="*/ 6913722 w 6913722"/>
              <a:gd name="connsiteY1" fmla="*/ 0 h 2002718"/>
              <a:gd name="connsiteX2" fmla="*/ 6913722 w 6913722"/>
              <a:gd name="connsiteY2" fmla="*/ 1800200 h 2002718"/>
              <a:gd name="connsiteX3" fmla="*/ 1489151 w 6913722"/>
              <a:gd name="connsiteY3" fmla="*/ 1800178 h 2002718"/>
              <a:gd name="connsiteX4" fmla="*/ 1289193 w 6913722"/>
              <a:gd name="connsiteY4" fmla="*/ 2002718 h 2002718"/>
              <a:gd name="connsiteX5" fmla="*/ 1103257 w 6913722"/>
              <a:gd name="connsiteY5" fmla="*/ 1791789 h 2002718"/>
              <a:gd name="connsiteX6" fmla="*/ 0 w 6913722"/>
              <a:gd name="connsiteY6" fmla="*/ 1800200 h 2002718"/>
              <a:gd name="connsiteX7" fmla="*/ 0 w 6913722"/>
              <a:gd name="connsiteY7" fmla="*/ 0 h 200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13722" h="2002718">
                <a:moveTo>
                  <a:pt x="0" y="0"/>
                </a:moveTo>
                <a:lnTo>
                  <a:pt x="6913722" y="0"/>
                </a:lnTo>
                <a:lnTo>
                  <a:pt x="6913722" y="1800200"/>
                </a:lnTo>
                <a:lnTo>
                  <a:pt x="1489151" y="1800178"/>
                </a:lnTo>
                <a:lnTo>
                  <a:pt x="1289193" y="2002718"/>
                </a:lnTo>
                <a:lnTo>
                  <a:pt x="1103257" y="1791789"/>
                </a:lnTo>
                <a:lnTo>
                  <a:pt x="0" y="1800200"/>
                </a:lnTo>
                <a:lnTo>
                  <a:pt x="0" y="0"/>
                </a:lnTo>
                <a:close/>
              </a:path>
            </a:pathLst>
          </a:cu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9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8" name="Rectangle 7"/>
          <p:cNvSpPr/>
          <p:nvPr userDrawn="1"/>
        </p:nvSpPr>
        <p:spPr>
          <a:xfrm>
            <a:off x="0" y="1364308"/>
            <a:ext cx="1406726" cy="1792481"/>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cs typeface="+mn-cs"/>
            </a:endParaRPr>
          </a:p>
        </p:txBody>
      </p:sp>
      <p:sp>
        <p:nvSpPr>
          <p:cNvPr id="10" name="그림 개체 틀 2"/>
          <p:cNvSpPr>
            <a:spLocks noGrp="1"/>
          </p:cNvSpPr>
          <p:nvPr>
            <p:ph type="pic" sz="quarter" idx="58" hasCustomPrompt="1"/>
          </p:nvPr>
        </p:nvSpPr>
        <p:spPr>
          <a:xfrm>
            <a:off x="7211560" y="3297734"/>
            <a:ext cx="1390123" cy="125283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9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11" name="그림 개체 틀 2"/>
          <p:cNvSpPr>
            <a:spLocks noGrp="1"/>
          </p:cNvSpPr>
          <p:nvPr>
            <p:ph type="pic" sz="quarter" idx="59" hasCustomPrompt="1"/>
          </p:nvPr>
        </p:nvSpPr>
        <p:spPr>
          <a:xfrm>
            <a:off x="5678034" y="3297734"/>
            <a:ext cx="1390123" cy="125283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900" dirty="0">
                <a:solidFill>
                  <a:schemeClr val="tx1">
                    <a:lumMod val="75000"/>
                    <a:lumOff val="25000"/>
                  </a:schemeClr>
                </a:solidFill>
              </a:defRPr>
            </a:lvl1pPr>
          </a:lstStyle>
          <a:p>
            <a:pPr marL="0" lvl="0" algn="ctr"/>
            <a:r>
              <a:rPr lang="en-US" altLang="ko-KR" dirty="0"/>
              <a:t>Place Your Picture Here</a:t>
            </a:r>
            <a:endParaRPr lang="ko-KR" altLang="en-US" dirty="0"/>
          </a:p>
        </p:txBody>
      </p:sp>
    </p:spTree>
    <p:extLst>
      <p:ext uri="{BB962C8B-B14F-4D97-AF65-F5344CB8AC3E}">
        <p14:creationId xmlns:p14="http://schemas.microsoft.com/office/powerpoint/2010/main" val="27300100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2_Images &amp; Contents Layout">
    <p:bg>
      <p:bgPr>
        <a:solidFill>
          <a:schemeClr val="bg1"/>
        </a:solidFill>
        <a:effectLst/>
      </p:bgPr>
    </p:bg>
    <p:spTree>
      <p:nvGrpSpPr>
        <p:cNvPr id="1" name=""/>
        <p:cNvGrpSpPr/>
        <p:nvPr/>
      </p:nvGrpSpPr>
      <p:grpSpPr>
        <a:xfrm>
          <a:off x="0" y="0"/>
          <a:ext cx="0" cy="0"/>
          <a:chOff x="0" y="0"/>
          <a:chExt cx="0" cy="0"/>
        </a:xfrm>
      </p:grpSpPr>
      <p:sp>
        <p:nvSpPr>
          <p:cNvPr id="2" name="Picture Placeholder 2"/>
          <p:cNvSpPr>
            <a:spLocks noGrp="1"/>
          </p:cNvSpPr>
          <p:nvPr>
            <p:ph type="pic" idx="1" hasCustomPrompt="1"/>
          </p:nvPr>
        </p:nvSpPr>
        <p:spPr>
          <a:xfrm>
            <a:off x="6031980" y="1"/>
            <a:ext cx="3116455" cy="5150644"/>
          </a:xfrm>
          <a:custGeom>
            <a:avLst/>
            <a:gdLst>
              <a:gd name="connsiteX0" fmla="*/ 0 w 3600400"/>
              <a:gd name="connsiteY0" fmla="*/ 6858000 h 6858000"/>
              <a:gd name="connsiteX1" fmla="*/ 1090741 w 3600400"/>
              <a:gd name="connsiteY1" fmla="*/ 0 h 6858000"/>
              <a:gd name="connsiteX2" fmla="*/ 3600400 w 3600400"/>
              <a:gd name="connsiteY2" fmla="*/ 0 h 6858000"/>
              <a:gd name="connsiteX3" fmla="*/ 2509659 w 3600400"/>
              <a:gd name="connsiteY3" fmla="*/ 6858000 h 6858000"/>
              <a:gd name="connsiteX4" fmla="*/ 0 w 3600400"/>
              <a:gd name="connsiteY4" fmla="*/ 6858000 h 6858000"/>
              <a:gd name="connsiteX0" fmla="*/ 0 w 3600400"/>
              <a:gd name="connsiteY0" fmla="*/ 6858000 h 6858000"/>
              <a:gd name="connsiteX1" fmla="*/ 568846 w 3600400"/>
              <a:gd name="connsiteY1" fmla="*/ 3286125 h 6858000"/>
              <a:gd name="connsiteX2" fmla="*/ 1090741 w 3600400"/>
              <a:gd name="connsiteY2" fmla="*/ 0 h 6858000"/>
              <a:gd name="connsiteX3" fmla="*/ 3600400 w 3600400"/>
              <a:gd name="connsiteY3" fmla="*/ 0 h 6858000"/>
              <a:gd name="connsiteX4" fmla="*/ 2509659 w 3600400"/>
              <a:gd name="connsiteY4" fmla="*/ 6858000 h 6858000"/>
              <a:gd name="connsiteX5" fmla="*/ 0 w 3600400"/>
              <a:gd name="connsiteY5" fmla="*/ 6858000 h 6858000"/>
              <a:gd name="connsiteX0" fmla="*/ 0 w 3600400"/>
              <a:gd name="connsiteY0" fmla="*/ 6858000 h 6858000"/>
              <a:gd name="connsiteX1" fmla="*/ 464071 w 3600400"/>
              <a:gd name="connsiteY1" fmla="*/ 3933825 h 6858000"/>
              <a:gd name="connsiteX2" fmla="*/ 568846 w 3600400"/>
              <a:gd name="connsiteY2" fmla="*/ 3286125 h 6858000"/>
              <a:gd name="connsiteX3" fmla="*/ 1090741 w 3600400"/>
              <a:gd name="connsiteY3" fmla="*/ 0 h 6858000"/>
              <a:gd name="connsiteX4" fmla="*/ 3600400 w 3600400"/>
              <a:gd name="connsiteY4" fmla="*/ 0 h 6858000"/>
              <a:gd name="connsiteX5" fmla="*/ 2509659 w 3600400"/>
              <a:gd name="connsiteY5" fmla="*/ 6858000 h 6858000"/>
              <a:gd name="connsiteX6" fmla="*/ 0 w 3600400"/>
              <a:gd name="connsiteY6" fmla="*/ 6858000 h 6858000"/>
              <a:gd name="connsiteX0" fmla="*/ 0 w 3600400"/>
              <a:gd name="connsiteY0" fmla="*/ 6858000 h 6858000"/>
              <a:gd name="connsiteX1" fmla="*/ 1197496 w 3600400"/>
              <a:gd name="connsiteY1" fmla="*/ 3305175 h 6858000"/>
              <a:gd name="connsiteX2" fmla="*/ 568846 w 3600400"/>
              <a:gd name="connsiteY2" fmla="*/ 3286125 h 6858000"/>
              <a:gd name="connsiteX3" fmla="*/ 1090741 w 3600400"/>
              <a:gd name="connsiteY3" fmla="*/ 0 h 6858000"/>
              <a:gd name="connsiteX4" fmla="*/ 3600400 w 3600400"/>
              <a:gd name="connsiteY4" fmla="*/ 0 h 6858000"/>
              <a:gd name="connsiteX5" fmla="*/ 2509659 w 3600400"/>
              <a:gd name="connsiteY5" fmla="*/ 6858000 h 6858000"/>
              <a:gd name="connsiteX6" fmla="*/ 0 w 3600400"/>
              <a:gd name="connsiteY6" fmla="*/ 6858000 h 6858000"/>
              <a:gd name="connsiteX0" fmla="*/ 0 w 3600400"/>
              <a:gd name="connsiteY0" fmla="*/ 6858000 h 6858000"/>
              <a:gd name="connsiteX1" fmla="*/ 1197496 w 3600400"/>
              <a:gd name="connsiteY1" fmla="*/ 3305175 h 6858000"/>
              <a:gd name="connsiteX2" fmla="*/ 540271 w 3600400"/>
              <a:gd name="connsiteY2" fmla="*/ 3343275 h 6858000"/>
              <a:gd name="connsiteX3" fmla="*/ 1090741 w 3600400"/>
              <a:gd name="connsiteY3" fmla="*/ 0 h 6858000"/>
              <a:gd name="connsiteX4" fmla="*/ 3600400 w 3600400"/>
              <a:gd name="connsiteY4" fmla="*/ 0 h 6858000"/>
              <a:gd name="connsiteX5" fmla="*/ 2509659 w 3600400"/>
              <a:gd name="connsiteY5" fmla="*/ 6858000 h 6858000"/>
              <a:gd name="connsiteX6" fmla="*/ 0 w 3600400"/>
              <a:gd name="connsiteY6" fmla="*/ 6858000 h 6858000"/>
              <a:gd name="connsiteX0" fmla="*/ 0 w 3600400"/>
              <a:gd name="connsiteY0" fmla="*/ 6858000 h 6858000"/>
              <a:gd name="connsiteX1" fmla="*/ 1207021 w 3600400"/>
              <a:gd name="connsiteY1" fmla="*/ 3352800 h 6858000"/>
              <a:gd name="connsiteX2" fmla="*/ 540271 w 3600400"/>
              <a:gd name="connsiteY2" fmla="*/ 3343275 h 6858000"/>
              <a:gd name="connsiteX3" fmla="*/ 1090741 w 3600400"/>
              <a:gd name="connsiteY3" fmla="*/ 0 h 6858000"/>
              <a:gd name="connsiteX4" fmla="*/ 3600400 w 3600400"/>
              <a:gd name="connsiteY4" fmla="*/ 0 h 6858000"/>
              <a:gd name="connsiteX5" fmla="*/ 2509659 w 3600400"/>
              <a:gd name="connsiteY5" fmla="*/ 6858000 h 6858000"/>
              <a:gd name="connsiteX6" fmla="*/ 0 w 3600400"/>
              <a:gd name="connsiteY6" fmla="*/ 6858000 h 6858000"/>
              <a:gd name="connsiteX0" fmla="*/ 0 w 3600400"/>
              <a:gd name="connsiteY0" fmla="*/ 6858000 h 6858000"/>
              <a:gd name="connsiteX1" fmla="*/ 1207021 w 3600400"/>
              <a:gd name="connsiteY1" fmla="*/ 3324225 h 6858000"/>
              <a:gd name="connsiteX2" fmla="*/ 540271 w 3600400"/>
              <a:gd name="connsiteY2" fmla="*/ 3343275 h 6858000"/>
              <a:gd name="connsiteX3" fmla="*/ 1090741 w 3600400"/>
              <a:gd name="connsiteY3" fmla="*/ 0 h 6858000"/>
              <a:gd name="connsiteX4" fmla="*/ 3600400 w 3600400"/>
              <a:gd name="connsiteY4" fmla="*/ 0 h 6858000"/>
              <a:gd name="connsiteX5" fmla="*/ 2509659 w 3600400"/>
              <a:gd name="connsiteY5" fmla="*/ 6858000 h 6858000"/>
              <a:gd name="connsiteX6" fmla="*/ 0 w 3600400"/>
              <a:gd name="connsiteY6" fmla="*/ 6858000 h 6858000"/>
              <a:gd name="connsiteX0" fmla="*/ 0 w 3600400"/>
              <a:gd name="connsiteY0" fmla="*/ 6858000 h 6858000"/>
              <a:gd name="connsiteX1" fmla="*/ 1216546 w 3600400"/>
              <a:gd name="connsiteY1" fmla="*/ 3352800 h 6858000"/>
              <a:gd name="connsiteX2" fmla="*/ 540271 w 3600400"/>
              <a:gd name="connsiteY2" fmla="*/ 3343275 h 6858000"/>
              <a:gd name="connsiteX3" fmla="*/ 1090741 w 3600400"/>
              <a:gd name="connsiteY3" fmla="*/ 0 h 6858000"/>
              <a:gd name="connsiteX4" fmla="*/ 3600400 w 3600400"/>
              <a:gd name="connsiteY4" fmla="*/ 0 h 6858000"/>
              <a:gd name="connsiteX5" fmla="*/ 2509659 w 3600400"/>
              <a:gd name="connsiteY5" fmla="*/ 6858000 h 6858000"/>
              <a:gd name="connsiteX6" fmla="*/ 0 w 3600400"/>
              <a:gd name="connsiteY6" fmla="*/ 6858000 h 6858000"/>
              <a:gd name="connsiteX0" fmla="*/ 31229 w 3060129"/>
              <a:gd name="connsiteY0" fmla="*/ 6867525 h 6867525"/>
              <a:gd name="connsiteX1" fmla="*/ 676275 w 3060129"/>
              <a:gd name="connsiteY1" fmla="*/ 3352800 h 6867525"/>
              <a:gd name="connsiteX2" fmla="*/ 0 w 3060129"/>
              <a:gd name="connsiteY2" fmla="*/ 3343275 h 6867525"/>
              <a:gd name="connsiteX3" fmla="*/ 550470 w 3060129"/>
              <a:gd name="connsiteY3" fmla="*/ 0 h 6867525"/>
              <a:gd name="connsiteX4" fmla="*/ 3060129 w 3060129"/>
              <a:gd name="connsiteY4" fmla="*/ 0 h 6867525"/>
              <a:gd name="connsiteX5" fmla="*/ 1969388 w 3060129"/>
              <a:gd name="connsiteY5" fmla="*/ 6858000 h 6867525"/>
              <a:gd name="connsiteX6" fmla="*/ 31229 w 3060129"/>
              <a:gd name="connsiteY6" fmla="*/ 6867525 h 6867525"/>
              <a:gd name="connsiteX0" fmla="*/ 0 w 3086050"/>
              <a:gd name="connsiteY0" fmla="*/ 6867525 h 6867525"/>
              <a:gd name="connsiteX1" fmla="*/ 702196 w 3086050"/>
              <a:gd name="connsiteY1" fmla="*/ 3352800 h 6867525"/>
              <a:gd name="connsiteX2" fmla="*/ 25921 w 3086050"/>
              <a:gd name="connsiteY2" fmla="*/ 3343275 h 6867525"/>
              <a:gd name="connsiteX3" fmla="*/ 576391 w 3086050"/>
              <a:gd name="connsiteY3" fmla="*/ 0 h 6867525"/>
              <a:gd name="connsiteX4" fmla="*/ 3086050 w 3086050"/>
              <a:gd name="connsiteY4" fmla="*/ 0 h 6867525"/>
              <a:gd name="connsiteX5" fmla="*/ 1995309 w 3086050"/>
              <a:gd name="connsiteY5" fmla="*/ 6858000 h 6867525"/>
              <a:gd name="connsiteX6" fmla="*/ 0 w 3086050"/>
              <a:gd name="connsiteY6" fmla="*/ 6867525 h 6867525"/>
              <a:gd name="connsiteX0" fmla="*/ 0 w 3086050"/>
              <a:gd name="connsiteY0" fmla="*/ 6867525 h 6867525"/>
              <a:gd name="connsiteX1" fmla="*/ 635521 w 3086050"/>
              <a:gd name="connsiteY1" fmla="*/ 3352800 h 6867525"/>
              <a:gd name="connsiteX2" fmla="*/ 25921 w 3086050"/>
              <a:gd name="connsiteY2" fmla="*/ 3343275 h 6867525"/>
              <a:gd name="connsiteX3" fmla="*/ 576391 w 3086050"/>
              <a:gd name="connsiteY3" fmla="*/ 0 h 6867525"/>
              <a:gd name="connsiteX4" fmla="*/ 3086050 w 3086050"/>
              <a:gd name="connsiteY4" fmla="*/ 0 h 6867525"/>
              <a:gd name="connsiteX5" fmla="*/ 1995309 w 3086050"/>
              <a:gd name="connsiteY5" fmla="*/ 6858000 h 6867525"/>
              <a:gd name="connsiteX6" fmla="*/ 0 w 3086050"/>
              <a:gd name="connsiteY6" fmla="*/ 6867525 h 6867525"/>
              <a:gd name="connsiteX0" fmla="*/ 0 w 3109734"/>
              <a:gd name="connsiteY0" fmla="*/ 6867525 h 6867525"/>
              <a:gd name="connsiteX1" fmla="*/ 635521 w 3109734"/>
              <a:gd name="connsiteY1" fmla="*/ 3352800 h 6867525"/>
              <a:gd name="connsiteX2" fmla="*/ 25921 w 3109734"/>
              <a:gd name="connsiteY2" fmla="*/ 3343275 h 6867525"/>
              <a:gd name="connsiteX3" fmla="*/ 576391 w 3109734"/>
              <a:gd name="connsiteY3" fmla="*/ 0 h 6867525"/>
              <a:gd name="connsiteX4" fmla="*/ 3086050 w 3109734"/>
              <a:gd name="connsiteY4" fmla="*/ 0 h 6867525"/>
              <a:gd name="connsiteX5" fmla="*/ 3109734 w 3109734"/>
              <a:gd name="connsiteY5" fmla="*/ 6867525 h 6867525"/>
              <a:gd name="connsiteX6" fmla="*/ 0 w 3109734"/>
              <a:gd name="connsiteY6" fmla="*/ 6867525 h 6867525"/>
              <a:gd name="connsiteX0" fmla="*/ 0 w 3116455"/>
              <a:gd name="connsiteY0" fmla="*/ 6867525 h 6867525"/>
              <a:gd name="connsiteX1" fmla="*/ 635521 w 3116455"/>
              <a:gd name="connsiteY1" fmla="*/ 3352800 h 6867525"/>
              <a:gd name="connsiteX2" fmla="*/ 25921 w 3116455"/>
              <a:gd name="connsiteY2" fmla="*/ 3343275 h 6867525"/>
              <a:gd name="connsiteX3" fmla="*/ 576391 w 3116455"/>
              <a:gd name="connsiteY3" fmla="*/ 0 h 6867525"/>
              <a:gd name="connsiteX4" fmla="*/ 3114625 w 3116455"/>
              <a:gd name="connsiteY4" fmla="*/ 0 h 6867525"/>
              <a:gd name="connsiteX5" fmla="*/ 3109734 w 3116455"/>
              <a:gd name="connsiteY5" fmla="*/ 6867525 h 6867525"/>
              <a:gd name="connsiteX6" fmla="*/ 0 w 3116455"/>
              <a:gd name="connsiteY6" fmla="*/ 6867525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455" h="6867525">
                <a:moveTo>
                  <a:pt x="0" y="6867525"/>
                </a:moveTo>
                <a:lnTo>
                  <a:pt x="635521" y="3352800"/>
                </a:lnTo>
                <a:lnTo>
                  <a:pt x="25921" y="3343275"/>
                </a:lnTo>
                <a:lnTo>
                  <a:pt x="576391" y="0"/>
                </a:lnTo>
                <a:lnTo>
                  <a:pt x="3114625" y="0"/>
                </a:lnTo>
                <a:cubicBezTo>
                  <a:pt x="3122520" y="2289175"/>
                  <a:pt x="3101839" y="4578350"/>
                  <a:pt x="3109734" y="6867525"/>
                </a:cubicBezTo>
                <a:lnTo>
                  <a:pt x="0" y="6867525"/>
                </a:lnTo>
                <a:close/>
              </a:path>
            </a:pathLst>
          </a:custGeom>
          <a:solidFill>
            <a:schemeClr val="bg1">
              <a:lumMod val="95000"/>
            </a:schemeClr>
          </a:solidFill>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3" name="Picture Placeholder 2"/>
          <p:cNvSpPr>
            <a:spLocks noGrp="1"/>
          </p:cNvSpPr>
          <p:nvPr>
            <p:ph type="pic" idx="10" hasCustomPrompt="1"/>
          </p:nvPr>
        </p:nvSpPr>
        <p:spPr>
          <a:xfrm>
            <a:off x="3560191" y="0"/>
            <a:ext cx="2916000" cy="2511000"/>
          </a:xfrm>
          <a:prstGeom prst="flowChartInputOutput">
            <a:avLst/>
          </a:prstGeom>
          <a:solidFill>
            <a:schemeClr val="bg1">
              <a:lumMod val="95000"/>
            </a:schemeClr>
          </a:solidFill>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4" name="Picture Placeholder 2"/>
          <p:cNvSpPr>
            <a:spLocks noGrp="1"/>
          </p:cNvSpPr>
          <p:nvPr>
            <p:ph type="pic" idx="11" hasCustomPrompt="1"/>
          </p:nvPr>
        </p:nvSpPr>
        <p:spPr>
          <a:xfrm>
            <a:off x="3560191" y="2632500"/>
            <a:ext cx="2915488" cy="2511000"/>
          </a:xfrm>
          <a:prstGeom prst="flowChartInputOutput">
            <a:avLst/>
          </a:prstGeom>
          <a:solidFill>
            <a:schemeClr val="bg1">
              <a:lumMod val="95000"/>
            </a:schemeClr>
          </a:solidFill>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5" name="Rectangle 11">
            <a:extLst>
              <a:ext uri="{FF2B5EF4-FFF2-40B4-BE49-F238E27FC236}">
                <a16:creationId xmlns:a16="http://schemas.microsoft.com/office/drawing/2014/main" id="{377416EA-3BC7-46F5-BA01-2ED4ACAA9D61}"/>
              </a:ext>
            </a:extLst>
          </p:cNvPr>
          <p:cNvSpPr/>
          <p:nvPr userDrawn="1"/>
        </p:nvSpPr>
        <p:spPr>
          <a:xfrm>
            <a:off x="0" y="681540"/>
            <a:ext cx="540000" cy="13367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srgbClr val="F5679D"/>
              </a:solidFill>
              <a:effectLst/>
              <a:uLnTx/>
              <a:uFillTx/>
              <a:latin typeface="Arial"/>
              <a:cs typeface="+mn-cs"/>
            </a:endParaRPr>
          </a:p>
        </p:txBody>
      </p:sp>
      <p:sp>
        <p:nvSpPr>
          <p:cNvPr id="6" name="Parallelogram 8">
            <a:extLst>
              <a:ext uri="{FF2B5EF4-FFF2-40B4-BE49-F238E27FC236}">
                <a16:creationId xmlns:a16="http://schemas.microsoft.com/office/drawing/2014/main" id="{44E1236C-AF9C-40BA-8D4B-A528CBD7F6E9}"/>
              </a:ext>
            </a:extLst>
          </p:cNvPr>
          <p:cNvSpPr/>
          <p:nvPr userDrawn="1"/>
        </p:nvSpPr>
        <p:spPr>
          <a:xfrm>
            <a:off x="3131840" y="3273828"/>
            <a:ext cx="720081" cy="1869672"/>
          </a:xfrm>
          <a:prstGeom prst="parallelogram">
            <a:avLst>
              <a:gd name="adj" fmla="val 6364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7" name="Parallelogram 9">
            <a:extLst>
              <a:ext uri="{FF2B5EF4-FFF2-40B4-BE49-F238E27FC236}">
                <a16:creationId xmlns:a16="http://schemas.microsoft.com/office/drawing/2014/main" id="{A7A58638-C86F-4317-BF5F-5F70F0939630}"/>
              </a:ext>
            </a:extLst>
          </p:cNvPr>
          <p:cNvSpPr/>
          <p:nvPr userDrawn="1"/>
        </p:nvSpPr>
        <p:spPr>
          <a:xfrm>
            <a:off x="2949724" y="3705876"/>
            <a:ext cx="476532" cy="1437624"/>
          </a:xfrm>
          <a:prstGeom prst="parallelogram">
            <a:avLst>
              <a:gd name="adj" fmla="val 810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dirty="0">
              <a:ln>
                <a:noFill/>
              </a:ln>
              <a:solidFill>
                <a:prstClr val="white"/>
              </a:solidFill>
              <a:effectLst/>
              <a:uLnTx/>
              <a:uFillTx/>
              <a:latin typeface="Arial"/>
              <a:cs typeface="+mn-cs"/>
            </a:endParaRPr>
          </a:p>
        </p:txBody>
      </p:sp>
    </p:spTree>
    <p:extLst>
      <p:ext uri="{BB962C8B-B14F-4D97-AF65-F5344CB8AC3E}">
        <p14:creationId xmlns:p14="http://schemas.microsoft.com/office/powerpoint/2010/main" val="20477416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3_Images &amp; Contents Layout">
    <p:bg>
      <p:bgPr>
        <a:solidFill>
          <a:schemeClr val="bg1"/>
        </a:solidFill>
        <a:effectLst/>
      </p:bgPr>
    </p:bg>
    <p:spTree>
      <p:nvGrpSpPr>
        <p:cNvPr id="1" name=""/>
        <p:cNvGrpSpPr/>
        <p:nvPr/>
      </p:nvGrpSpPr>
      <p:grpSpPr>
        <a:xfrm>
          <a:off x="0" y="0"/>
          <a:ext cx="0" cy="0"/>
          <a:chOff x="0" y="0"/>
          <a:chExt cx="0" cy="0"/>
        </a:xfrm>
      </p:grpSpPr>
      <p:sp>
        <p:nvSpPr>
          <p:cNvPr id="14" name="직사각형 13">
            <a:extLst>
              <a:ext uri="{FF2B5EF4-FFF2-40B4-BE49-F238E27FC236}">
                <a16:creationId xmlns:a16="http://schemas.microsoft.com/office/drawing/2014/main" id="{C5CAE6CC-0777-410B-BE73-8A074C9199CF}"/>
              </a:ext>
            </a:extLst>
          </p:cNvPr>
          <p:cNvSpPr/>
          <p:nvPr userDrawn="1"/>
        </p:nvSpPr>
        <p:spPr>
          <a:xfrm>
            <a:off x="6072511" y="1"/>
            <a:ext cx="3071490" cy="51435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15" name="직각 삼각형 14">
            <a:extLst>
              <a:ext uri="{FF2B5EF4-FFF2-40B4-BE49-F238E27FC236}">
                <a16:creationId xmlns:a16="http://schemas.microsoft.com/office/drawing/2014/main" id="{27AB863B-2D74-4A53-A2E3-274C4C5FB816}"/>
              </a:ext>
            </a:extLst>
          </p:cNvPr>
          <p:cNvSpPr/>
          <p:nvPr userDrawn="1"/>
        </p:nvSpPr>
        <p:spPr>
          <a:xfrm rot="16200000">
            <a:off x="2495778" y="1566768"/>
            <a:ext cx="5143500" cy="2009964"/>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grpSp>
        <p:nvGrpSpPr>
          <p:cNvPr id="7" name="그룹 6">
            <a:extLst>
              <a:ext uri="{FF2B5EF4-FFF2-40B4-BE49-F238E27FC236}">
                <a16:creationId xmlns:a16="http://schemas.microsoft.com/office/drawing/2014/main" id="{076FB581-D82A-4A07-BEDE-D963D08A73CA}"/>
              </a:ext>
            </a:extLst>
          </p:cNvPr>
          <p:cNvGrpSpPr/>
          <p:nvPr userDrawn="1"/>
        </p:nvGrpSpPr>
        <p:grpSpPr>
          <a:xfrm>
            <a:off x="4212772" y="0"/>
            <a:ext cx="4931228" cy="5143501"/>
            <a:chOff x="5617029" y="0"/>
            <a:chExt cx="6574971" cy="6858001"/>
          </a:xfrm>
        </p:grpSpPr>
        <p:sp>
          <p:nvSpPr>
            <p:cNvPr id="4" name="직사각형 3">
              <a:extLst>
                <a:ext uri="{FF2B5EF4-FFF2-40B4-BE49-F238E27FC236}">
                  <a16:creationId xmlns:a16="http://schemas.microsoft.com/office/drawing/2014/main" id="{B37C9B50-0D09-46C8-85D1-5A89A7E84EE9}"/>
                </a:ext>
              </a:extLst>
            </p:cNvPr>
            <p:cNvSpPr/>
            <p:nvPr userDrawn="1"/>
          </p:nvSpPr>
          <p:spPr>
            <a:xfrm>
              <a:off x="8297363" y="1"/>
              <a:ext cx="389463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5" name="직각 삼각형 4">
              <a:extLst>
                <a:ext uri="{FF2B5EF4-FFF2-40B4-BE49-F238E27FC236}">
                  <a16:creationId xmlns:a16="http://schemas.microsoft.com/office/drawing/2014/main" id="{0CD561B9-7D36-45DD-BD33-82B9A6F8DBD2}"/>
                </a:ext>
              </a:extLst>
            </p:cNvPr>
            <p:cNvSpPr/>
            <p:nvPr userDrawn="1"/>
          </p:nvSpPr>
          <p:spPr>
            <a:xfrm rot="16200000">
              <a:off x="3528005" y="2089024"/>
              <a:ext cx="6858000" cy="2679952"/>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grpSp>
      <p:sp>
        <p:nvSpPr>
          <p:cNvPr id="13" name="Parallelogram 3">
            <a:extLst>
              <a:ext uri="{FF2B5EF4-FFF2-40B4-BE49-F238E27FC236}">
                <a16:creationId xmlns:a16="http://schemas.microsoft.com/office/drawing/2014/main" id="{011EAF74-627A-4689-B0B7-AB245EAA78D8}"/>
              </a:ext>
            </a:extLst>
          </p:cNvPr>
          <p:cNvSpPr/>
          <p:nvPr userDrawn="1"/>
        </p:nvSpPr>
        <p:spPr>
          <a:xfrm>
            <a:off x="0" y="407217"/>
            <a:ext cx="1293540" cy="2009915"/>
          </a:xfrm>
          <a:custGeom>
            <a:avLst/>
            <a:gdLst/>
            <a:ahLst/>
            <a:cxnLst/>
            <a:rect l="l" t="t" r="r" b="b"/>
            <a:pathLst>
              <a:path w="1293540" h="1944216">
                <a:moveTo>
                  <a:pt x="0" y="0"/>
                </a:moveTo>
                <a:lnTo>
                  <a:pt x="540405" y="0"/>
                </a:lnTo>
                <a:lnTo>
                  <a:pt x="611560" y="0"/>
                </a:lnTo>
                <a:lnTo>
                  <a:pt x="1293540" y="0"/>
                </a:lnTo>
                <a:lnTo>
                  <a:pt x="534507" y="1944216"/>
                </a:lnTo>
                <a:lnTo>
                  <a:pt x="0" y="194421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26" name="Picture Placeholder 9"/>
          <p:cNvSpPr>
            <a:spLocks noGrp="1"/>
          </p:cNvSpPr>
          <p:nvPr>
            <p:ph type="pic" sz="quarter" idx="11" hasCustomPrompt="1"/>
          </p:nvPr>
        </p:nvSpPr>
        <p:spPr>
          <a:xfrm>
            <a:off x="6223023" y="407217"/>
            <a:ext cx="2476516" cy="2008069"/>
          </a:xfrm>
          <a:prstGeom prst="parallelogram">
            <a:avLst>
              <a:gd name="adj" fmla="val 38849"/>
            </a:avLst>
          </a:prstGeom>
          <a:solidFill>
            <a:schemeClr val="bg1">
              <a:lumMod val="95000"/>
            </a:schemeClr>
          </a:solidFill>
        </p:spPr>
        <p:txBody>
          <a:bodyPr tIns="0" anchor="ctr"/>
          <a:lstStyle>
            <a:lvl1pPr marL="0" indent="0" algn="ctr">
              <a:buNone/>
              <a:defRPr sz="900">
                <a:latin typeface="+mn-lt"/>
                <a:cs typeface="Arial" pitchFamily="34" charset="0"/>
              </a:defRPr>
            </a:lvl1pPr>
          </a:lstStyle>
          <a:p>
            <a:r>
              <a:rPr lang="en-US" altLang="ko-KR" dirty="0"/>
              <a:t>Insert Your Image</a:t>
            </a:r>
            <a:endParaRPr lang="ko-KR" altLang="en-US" dirty="0"/>
          </a:p>
        </p:txBody>
      </p:sp>
      <p:sp>
        <p:nvSpPr>
          <p:cNvPr id="28" name="Picture Placeholder 9"/>
          <p:cNvSpPr>
            <a:spLocks noGrp="1"/>
          </p:cNvSpPr>
          <p:nvPr>
            <p:ph type="pic" sz="quarter" idx="12" hasCustomPrompt="1"/>
          </p:nvPr>
        </p:nvSpPr>
        <p:spPr>
          <a:xfrm>
            <a:off x="4364775" y="407217"/>
            <a:ext cx="2476516" cy="2008069"/>
          </a:xfrm>
          <a:prstGeom prst="parallelogram">
            <a:avLst>
              <a:gd name="adj" fmla="val 38849"/>
            </a:avLst>
          </a:prstGeom>
          <a:solidFill>
            <a:schemeClr val="bg1">
              <a:lumMod val="95000"/>
            </a:schemeClr>
          </a:solidFill>
        </p:spPr>
        <p:txBody>
          <a:bodyPr tIns="0" anchor="ctr"/>
          <a:lstStyle>
            <a:lvl1pPr marL="0" indent="0" algn="ctr">
              <a:buNone/>
              <a:defRPr sz="900">
                <a:latin typeface="+mn-lt"/>
                <a:cs typeface="Arial" pitchFamily="34" charset="0"/>
              </a:defRPr>
            </a:lvl1pPr>
          </a:lstStyle>
          <a:p>
            <a:r>
              <a:rPr lang="en-US" altLang="ko-KR" dirty="0"/>
              <a:t>Insert Your Image</a:t>
            </a:r>
            <a:endParaRPr lang="ko-KR" altLang="en-US" dirty="0"/>
          </a:p>
        </p:txBody>
      </p:sp>
      <p:sp>
        <p:nvSpPr>
          <p:cNvPr id="29" name="Picture Placeholder 9"/>
          <p:cNvSpPr>
            <a:spLocks noGrp="1"/>
          </p:cNvSpPr>
          <p:nvPr>
            <p:ph type="pic" sz="quarter" idx="13" hasCustomPrompt="1"/>
          </p:nvPr>
        </p:nvSpPr>
        <p:spPr>
          <a:xfrm>
            <a:off x="2506527" y="407217"/>
            <a:ext cx="2476516" cy="2008069"/>
          </a:xfrm>
          <a:prstGeom prst="parallelogram">
            <a:avLst>
              <a:gd name="adj" fmla="val 38849"/>
            </a:avLst>
          </a:prstGeom>
          <a:solidFill>
            <a:schemeClr val="bg1">
              <a:lumMod val="95000"/>
            </a:schemeClr>
          </a:solidFill>
        </p:spPr>
        <p:txBody>
          <a:bodyPr tIns="0" anchor="ctr"/>
          <a:lstStyle>
            <a:lvl1pPr marL="0" indent="0" algn="ctr">
              <a:buNone/>
              <a:defRPr sz="900">
                <a:latin typeface="+mn-lt"/>
                <a:cs typeface="Arial" pitchFamily="34" charset="0"/>
              </a:defRPr>
            </a:lvl1pPr>
          </a:lstStyle>
          <a:p>
            <a:r>
              <a:rPr lang="en-US" altLang="ko-KR" dirty="0"/>
              <a:t>Insert Your Image</a:t>
            </a:r>
            <a:endParaRPr lang="ko-KR" altLang="en-US" dirty="0"/>
          </a:p>
        </p:txBody>
      </p:sp>
      <p:sp>
        <p:nvSpPr>
          <p:cNvPr id="30" name="Picture Placeholder 9"/>
          <p:cNvSpPr>
            <a:spLocks noGrp="1"/>
          </p:cNvSpPr>
          <p:nvPr>
            <p:ph type="pic" sz="quarter" idx="14" hasCustomPrompt="1"/>
          </p:nvPr>
        </p:nvSpPr>
        <p:spPr>
          <a:xfrm>
            <a:off x="648281" y="407217"/>
            <a:ext cx="2476516" cy="2008069"/>
          </a:xfrm>
          <a:prstGeom prst="parallelogram">
            <a:avLst>
              <a:gd name="adj" fmla="val 38849"/>
            </a:avLst>
          </a:prstGeom>
          <a:solidFill>
            <a:schemeClr val="bg1">
              <a:lumMod val="95000"/>
            </a:schemeClr>
          </a:solidFill>
        </p:spPr>
        <p:txBody>
          <a:bodyPr tIns="0" anchor="ctr"/>
          <a:lstStyle>
            <a:lvl1pPr marL="0" indent="0" algn="ctr">
              <a:buNone/>
              <a:defRPr sz="900">
                <a:latin typeface="+mn-lt"/>
                <a:cs typeface="Arial" pitchFamily="34" charset="0"/>
              </a:defRPr>
            </a:lvl1pPr>
          </a:lstStyle>
          <a:p>
            <a:r>
              <a:rPr lang="en-US" altLang="ko-KR" dirty="0"/>
              <a:t>Insert Your Image</a:t>
            </a:r>
            <a:endParaRPr lang="ko-KR" altLang="en-US" dirty="0"/>
          </a:p>
        </p:txBody>
      </p:sp>
    </p:spTree>
    <p:extLst>
      <p:ext uri="{BB962C8B-B14F-4D97-AF65-F5344CB8AC3E}">
        <p14:creationId xmlns:p14="http://schemas.microsoft.com/office/powerpoint/2010/main" val="27281002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6_Images &amp; Contents Layout">
    <p:spTree>
      <p:nvGrpSpPr>
        <p:cNvPr id="1" name=""/>
        <p:cNvGrpSpPr/>
        <p:nvPr/>
      </p:nvGrpSpPr>
      <p:grpSpPr>
        <a:xfrm>
          <a:off x="0" y="0"/>
          <a:ext cx="0" cy="0"/>
          <a:chOff x="0" y="0"/>
          <a:chExt cx="0" cy="0"/>
        </a:xfrm>
      </p:grpSpPr>
      <p:sp>
        <p:nvSpPr>
          <p:cNvPr id="3" name="Picture Placeholder 2"/>
          <p:cNvSpPr>
            <a:spLocks noGrp="1"/>
          </p:cNvSpPr>
          <p:nvPr>
            <p:ph type="pic" idx="12" hasCustomPrompt="1"/>
          </p:nvPr>
        </p:nvSpPr>
        <p:spPr>
          <a:xfrm>
            <a:off x="5568070" y="3496500"/>
            <a:ext cx="1728000" cy="1647000"/>
          </a:xfrm>
          <a:prstGeom prst="rect">
            <a:avLst/>
          </a:prstGeom>
          <a:solidFill>
            <a:schemeClr val="bg1">
              <a:lumMod val="95000"/>
            </a:schemeClr>
          </a:solidFill>
        </p:spPr>
        <p:txBody>
          <a:bodyPr anchor="ctr"/>
          <a:lstStyle>
            <a:lvl1pPr marL="0" indent="0" algn="ctr">
              <a:buNone/>
              <a:defRPr sz="900">
                <a:solidFill>
                  <a:schemeClr val="tx1">
                    <a:lumMod val="75000"/>
                    <a:lumOff val="25000"/>
                  </a:schemeClr>
                </a:solidFill>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4" name="Picture Placeholder 2"/>
          <p:cNvSpPr>
            <a:spLocks noGrp="1"/>
          </p:cNvSpPr>
          <p:nvPr>
            <p:ph type="pic" idx="13" hasCustomPrompt="1"/>
          </p:nvPr>
        </p:nvSpPr>
        <p:spPr>
          <a:xfrm>
            <a:off x="1408202" y="0"/>
            <a:ext cx="2214000" cy="1647000"/>
          </a:xfrm>
          <a:prstGeom prst="rect">
            <a:avLst/>
          </a:prstGeom>
          <a:solidFill>
            <a:schemeClr val="bg1">
              <a:lumMod val="95000"/>
            </a:schemeClr>
          </a:solidFill>
        </p:spPr>
        <p:txBody>
          <a:bodyPr anchor="ctr"/>
          <a:lstStyle>
            <a:lvl1pPr marL="0" indent="0" algn="ctr">
              <a:buNone/>
              <a:defRPr sz="900">
                <a:solidFill>
                  <a:schemeClr val="tx1">
                    <a:lumMod val="75000"/>
                    <a:lumOff val="25000"/>
                  </a:schemeClr>
                </a:solidFill>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5" name="Picture Placeholder 2"/>
          <p:cNvSpPr>
            <a:spLocks noGrp="1"/>
          </p:cNvSpPr>
          <p:nvPr>
            <p:ph type="pic" idx="15" hasCustomPrompt="1"/>
          </p:nvPr>
        </p:nvSpPr>
        <p:spPr>
          <a:xfrm>
            <a:off x="5568070" y="0"/>
            <a:ext cx="3575930" cy="1647000"/>
          </a:xfrm>
          <a:prstGeom prst="rect">
            <a:avLst/>
          </a:prstGeom>
          <a:solidFill>
            <a:schemeClr val="bg1">
              <a:lumMod val="95000"/>
            </a:schemeClr>
          </a:solidFill>
        </p:spPr>
        <p:txBody>
          <a:bodyPr anchor="ctr"/>
          <a:lstStyle>
            <a:lvl1pPr marL="0" indent="0" algn="ctr">
              <a:buNone/>
              <a:defRPr sz="900">
                <a:solidFill>
                  <a:schemeClr val="tx1">
                    <a:lumMod val="75000"/>
                    <a:lumOff val="25000"/>
                  </a:schemeClr>
                </a:solidFill>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6" name="Picture Placeholder 2"/>
          <p:cNvSpPr>
            <a:spLocks noGrp="1"/>
          </p:cNvSpPr>
          <p:nvPr>
            <p:ph type="pic" idx="16" hasCustomPrompt="1"/>
          </p:nvPr>
        </p:nvSpPr>
        <p:spPr>
          <a:xfrm>
            <a:off x="1405867" y="1768500"/>
            <a:ext cx="4050000" cy="3375000"/>
          </a:xfrm>
          <a:prstGeom prst="rect">
            <a:avLst/>
          </a:prstGeom>
          <a:solidFill>
            <a:schemeClr val="bg1">
              <a:lumMod val="95000"/>
            </a:schemeClr>
          </a:solidFill>
        </p:spPr>
        <p:txBody>
          <a:bodyPr anchor="ctr"/>
          <a:lstStyle>
            <a:lvl1pPr marL="0" indent="0" algn="ctr">
              <a:buNone/>
              <a:defRPr sz="900">
                <a:solidFill>
                  <a:schemeClr val="tx1">
                    <a:lumMod val="75000"/>
                    <a:lumOff val="25000"/>
                  </a:schemeClr>
                </a:solidFill>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7" name="Picture Placeholder 2"/>
          <p:cNvSpPr>
            <a:spLocks noGrp="1"/>
          </p:cNvSpPr>
          <p:nvPr>
            <p:ph type="pic" idx="17" hasCustomPrompt="1"/>
          </p:nvPr>
        </p:nvSpPr>
        <p:spPr>
          <a:xfrm>
            <a:off x="7416000" y="1748250"/>
            <a:ext cx="1728000" cy="1647000"/>
          </a:xfrm>
          <a:prstGeom prst="rect">
            <a:avLst/>
          </a:prstGeom>
          <a:solidFill>
            <a:schemeClr val="bg1">
              <a:lumMod val="95000"/>
            </a:schemeClr>
          </a:solidFill>
        </p:spPr>
        <p:txBody>
          <a:bodyPr anchor="ctr"/>
          <a:lstStyle>
            <a:lvl1pPr marL="0" indent="0" algn="ctr">
              <a:buNone/>
              <a:defRPr sz="900">
                <a:solidFill>
                  <a:schemeClr val="tx1">
                    <a:lumMod val="75000"/>
                    <a:lumOff val="25000"/>
                  </a:schemeClr>
                </a:solidFill>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8" name="Rectangle 7"/>
          <p:cNvSpPr/>
          <p:nvPr userDrawn="1"/>
        </p:nvSpPr>
        <p:spPr>
          <a:xfrm>
            <a:off x="0" y="0"/>
            <a:ext cx="1296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dirty="0">
              <a:ln>
                <a:noFill/>
              </a:ln>
              <a:solidFill>
                <a:prstClr val="white"/>
              </a:solidFill>
              <a:effectLst/>
              <a:uLnTx/>
              <a:uFillTx/>
              <a:latin typeface="Arial"/>
              <a:cs typeface="+mn-cs"/>
            </a:endParaRPr>
          </a:p>
        </p:txBody>
      </p:sp>
      <p:sp>
        <p:nvSpPr>
          <p:cNvPr id="9" name="Rectangle 8"/>
          <p:cNvSpPr/>
          <p:nvPr userDrawn="1"/>
        </p:nvSpPr>
        <p:spPr>
          <a:xfrm>
            <a:off x="3727675" y="0"/>
            <a:ext cx="1728192" cy="164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dirty="0">
              <a:ln>
                <a:noFill/>
              </a:ln>
              <a:solidFill>
                <a:prstClr val="white"/>
              </a:solidFill>
              <a:effectLst/>
              <a:uLnTx/>
              <a:uFillTx/>
              <a:latin typeface="Arial"/>
              <a:cs typeface="+mn-cs"/>
            </a:endParaRPr>
          </a:p>
        </p:txBody>
      </p:sp>
      <p:sp>
        <p:nvSpPr>
          <p:cNvPr id="10" name="Rectangle 9"/>
          <p:cNvSpPr/>
          <p:nvPr userDrawn="1"/>
        </p:nvSpPr>
        <p:spPr>
          <a:xfrm>
            <a:off x="5568070" y="1748250"/>
            <a:ext cx="1728192" cy="1647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dirty="0">
              <a:ln>
                <a:noFill/>
              </a:ln>
              <a:solidFill>
                <a:prstClr val="white"/>
              </a:solidFill>
              <a:effectLst/>
              <a:uLnTx/>
              <a:uFillTx/>
              <a:latin typeface="Arial"/>
              <a:cs typeface="+mn-cs"/>
            </a:endParaRPr>
          </a:p>
        </p:txBody>
      </p:sp>
      <p:sp>
        <p:nvSpPr>
          <p:cNvPr id="11" name="Rectangle 10"/>
          <p:cNvSpPr/>
          <p:nvPr userDrawn="1"/>
        </p:nvSpPr>
        <p:spPr>
          <a:xfrm>
            <a:off x="7415808" y="3496500"/>
            <a:ext cx="1728192" cy="1647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dirty="0">
              <a:ln>
                <a:noFill/>
              </a:ln>
              <a:solidFill>
                <a:prstClr val="white"/>
              </a:solidFill>
              <a:effectLst/>
              <a:uLnTx/>
              <a:uFillTx/>
              <a:latin typeface="Arial"/>
              <a:cs typeface="+mn-cs"/>
            </a:endParaRPr>
          </a:p>
        </p:txBody>
      </p:sp>
    </p:spTree>
    <p:extLst>
      <p:ext uri="{BB962C8B-B14F-4D97-AF65-F5344CB8AC3E}">
        <p14:creationId xmlns:p14="http://schemas.microsoft.com/office/powerpoint/2010/main" val="42385303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Picture with Caption">
    <p:spTree>
      <p:nvGrpSpPr>
        <p:cNvPr id="1" name=""/>
        <p:cNvGrpSpPr/>
        <p:nvPr/>
      </p:nvGrpSpPr>
      <p:grpSpPr>
        <a:xfrm>
          <a:off x="0" y="0"/>
          <a:ext cx="0" cy="0"/>
          <a:chOff x="0" y="0"/>
          <a:chExt cx="0" cy="0"/>
        </a:xfrm>
      </p:grpSpPr>
      <p:grpSp>
        <p:nvGrpSpPr>
          <p:cNvPr id="2" name="그룹 1">
            <a:extLst>
              <a:ext uri="{FF2B5EF4-FFF2-40B4-BE49-F238E27FC236}">
                <a16:creationId xmlns:a16="http://schemas.microsoft.com/office/drawing/2014/main" id="{ED37F19E-C458-4BA3-A232-498C272DF661}"/>
              </a:ext>
            </a:extLst>
          </p:cNvPr>
          <p:cNvGrpSpPr/>
          <p:nvPr userDrawn="1"/>
        </p:nvGrpSpPr>
        <p:grpSpPr>
          <a:xfrm flipH="1">
            <a:off x="1287173" y="3619044"/>
            <a:ext cx="3313983" cy="1524456"/>
            <a:chOff x="7591933" y="4836187"/>
            <a:chExt cx="4418644" cy="2032608"/>
          </a:xfrm>
        </p:grpSpPr>
        <p:sp>
          <p:nvSpPr>
            <p:cNvPr id="21" name="평행 사변형 20">
              <a:extLst>
                <a:ext uri="{FF2B5EF4-FFF2-40B4-BE49-F238E27FC236}">
                  <a16:creationId xmlns:a16="http://schemas.microsoft.com/office/drawing/2014/main" id="{9EF84E64-F77C-46EF-8785-1B8CF4C1A7F3}"/>
                </a:ext>
              </a:extLst>
            </p:cNvPr>
            <p:cNvSpPr/>
            <p:nvPr userDrawn="1"/>
          </p:nvSpPr>
          <p:spPr>
            <a:xfrm flipH="1">
              <a:off x="9266547" y="5209812"/>
              <a:ext cx="2744030" cy="1658983"/>
            </a:xfrm>
            <a:prstGeom prst="parallelogram">
              <a:avLst>
                <a:gd name="adj" fmla="val 132222"/>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dirty="0">
                <a:ln>
                  <a:noFill/>
                </a:ln>
                <a:solidFill>
                  <a:prstClr val="white"/>
                </a:solidFill>
                <a:effectLst/>
                <a:uLnTx/>
                <a:uFillTx/>
                <a:latin typeface="Arial"/>
                <a:cs typeface="+mn-cs"/>
              </a:endParaRPr>
            </a:p>
          </p:txBody>
        </p:sp>
        <p:sp>
          <p:nvSpPr>
            <p:cNvPr id="22" name="평행 사변형 21">
              <a:extLst>
                <a:ext uri="{FF2B5EF4-FFF2-40B4-BE49-F238E27FC236}">
                  <a16:creationId xmlns:a16="http://schemas.microsoft.com/office/drawing/2014/main" id="{08BF381B-A734-484A-B59B-DC3842694795}"/>
                </a:ext>
              </a:extLst>
            </p:cNvPr>
            <p:cNvSpPr/>
            <p:nvPr userDrawn="1"/>
          </p:nvSpPr>
          <p:spPr>
            <a:xfrm flipH="1">
              <a:off x="8716942" y="5895058"/>
              <a:ext cx="1889840" cy="973737"/>
            </a:xfrm>
            <a:prstGeom prst="parallelogram">
              <a:avLst>
                <a:gd name="adj" fmla="val 132222"/>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dirty="0">
                <a:ln>
                  <a:noFill/>
                </a:ln>
                <a:solidFill>
                  <a:prstClr val="white"/>
                </a:solidFill>
                <a:effectLst/>
                <a:uLnTx/>
                <a:uFillTx/>
                <a:latin typeface="Arial"/>
                <a:cs typeface="+mn-cs"/>
              </a:endParaRPr>
            </a:p>
          </p:txBody>
        </p:sp>
        <p:sp>
          <p:nvSpPr>
            <p:cNvPr id="23" name="평행 사변형 22">
              <a:extLst>
                <a:ext uri="{FF2B5EF4-FFF2-40B4-BE49-F238E27FC236}">
                  <a16:creationId xmlns:a16="http://schemas.microsoft.com/office/drawing/2014/main" id="{0F054B9A-EAB7-438B-BBDC-22DADD34FDE8}"/>
                </a:ext>
              </a:extLst>
            </p:cNvPr>
            <p:cNvSpPr/>
            <p:nvPr userDrawn="1"/>
          </p:nvSpPr>
          <p:spPr>
            <a:xfrm flipH="1">
              <a:off x="8108174" y="4836187"/>
              <a:ext cx="2661819" cy="1658983"/>
            </a:xfrm>
            <a:prstGeom prst="parallelogram">
              <a:avLst>
                <a:gd name="adj" fmla="val 137472"/>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dirty="0">
                <a:ln>
                  <a:noFill/>
                </a:ln>
                <a:solidFill>
                  <a:prstClr val="white"/>
                </a:solidFill>
                <a:effectLst/>
                <a:uLnTx/>
                <a:uFillTx/>
                <a:latin typeface="Arial"/>
                <a:cs typeface="+mn-cs"/>
              </a:endParaRPr>
            </a:p>
          </p:txBody>
        </p:sp>
        <p:sp>
          <p:nvSpPr>
            <p:cNvPr id="24" name="평행 사변형 23">
              <a:extLst>
                <a:ext uri="{FF2B5EF4-FFF2-40B4-BE49-F238E27FC236}">
                  <a16:creationId xmlns:a16="http://schemas.microsoft.com/office/drawing/2014/main" id="{5CBDB330-F373-494F-9BC1-AF7929F40AD6}"/>
                </a:ext>
              </a:extLst>
            </p:cNvPr>
            <p:cNvSpPr/>
            <p:nvPr userDrawn="1"/>
          </p:nvSpPr>
          <p:spPr>
            <a:xfrm flipH="1">
              <a:off x="7591933" y="5497370"/>
              <a:ext cx="2129887" cy="1371425"/>
            </a:xfrm>
            <a:prstGeom prst="parallelogram">
              <a:avLst>
                <a:gd name="adj" fmla="val 131757"/>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dirty="0">
                <a:ln>
                  <a:noFill/>
                </a:ln>
                <a:solidFill>
                  <a:prstClr val="white"/>
                </a:solidFill>
                <a:effectLst/>
                <a:uLnTx/>
                <a:uFillTx/>
                <a:latin typeface="Arial"/>
                <a:cs typeface="+mn-cs"/>
              </a:endParaRPr>
            </a:p>
          </p:txBody>
        </p:sp>
      </p:grpSp>
      <p:sp>
        <p:nvSpPr>
          <p:cNvPr id="17" name="Picture Placeholder 2"/>
          <p:cNvSpPr>
            <a:spLocks noGrp="1"/>
          </p:cNvSpPr>
          <p:nvPr>
            <p:ph type="pic" idx="13" hasCustomPrompt="1"/>
          </p:nvPr>
        </p:nvSpPr>
        <p:spPr>
          <a:xfrm>
            <a:off x="3040782" y="415212"/>
            <a:ext cx="2160000" cy="2754000"/>
          </a:xfrm>
          <a:prstGeom prst="rect">
            <a:avLst/>
          </a:prstGeom>
          <a:solidFill>
            <a:schemeClr val="bg1">
              <a:lumMod val="95000"/>
            </a:schemeClr>
          </a:solidFill>
          <a:ln w="88900">
            <a:solidFill>
              <a:schemeClr val="bg1"/>
            </a:solidFill>
          </a:ln>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15" name="Picture Placeholder 2"/>
          <p:cNvSpPr>
            <a:spLocks noGrp="1"/>
          </p:cNvSpPr>
          <p:nvPr>
            <p:ph type="pic" idx="11" hasCustomPrompt="1"/>
          </p:nvPr>
        </p:nvSpPr>
        <p:spPr>
          <a:xfrm>
            <a:off x="541040" y="415212"/>
            <a:ext cx="2457000" cy="1350000"/>
          </a:xfrm>
          <a:prstGeom prst="rect">
            <a:avLst/>
          </a:prstGeom>
          <a:solidFill>
            <a:schemeClr val="bg1">
              <a:lumMod val="95000"/>
            </a:schemeClr>
          </a:solidFill>
          <a:ln w="88900">
            <a:solidFill>
              <a:schemeClr val="bg1"/>
            </a:solidFill>
          </a:ln>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16" name="Picture Placeholder 2"/>
          <p:cNvSpPr>
            <a:spLocks noGrp="1"/>
          </p:cNvSpPr>
          <p:nvPr>
            <p:ph type="pic" idx="12" hasCustomPrompt="1"/>
          </p:nvPr>
        </p:nvSpPr>
        <p:spPr>
          <a:xfrm>
            <a:off x="541040" y="1819212"/>
            <a:ext cx="2457000" cy="1350000"/>
          </a:xfrm>
          <a:prstGeom prst="rect">
            <a:avLst/>
          </a:prstGeom>
          <a:solidFill>
            <a:schemeClr val="bg1">
              <a:lumMod val="95000"/>
            </a:schemeClr>
          </a:solidFill>
          <a:ln w="88900">
            <a:solidFill>
              <a:schemeClr val="bg1"/>
            </a:solidFill>
          </a:ln>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18" name="Picture Placeholder 2"/>
          <p:cNvSpPr>
            <a:spLocks noGrp="1"/>
          </p:cNvSpPr>
          <p:nvPr>
            <p:ph type="pic" idx="14" hasCustomPrompt="1"/>
          </p:nvPr>
        </p:nvSpPr>
        <p:spPr>
          <a:xfrm>
            <a:off x="3982873" y="2021405"/>
            <a:ext cx="2160000" cy="2754000"/>
          </a:xfrm>
          <a:prstGeom prst="rect">
            <a:avLst/>
          </a:prstGeom>
          <a:solidFill>
            <a:schemeClr val="bg1">
              <a:lumMod val="95000"/>
            </a:schemeClr>
          </a:solidFill>
          <a:ln w="88900">
            <a:solidFill>
              <a:schemeClr val="bg1"/>
            </a:solidFill>
          </a:ln>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19" name="Picture Placeholder 2"/>
          <p:cNvSpPr>
            <a:spLocks noGrp="1"/>
          </p:cNvSpPr>
          <p:nvPr>
            <p:ph type="pic" idx="15" hasCustomPrompt="1"/>
          </p:nvPr>
        </p:nvSpPr>
        <p:spPr>
          <a:xfrm>
            <a:off x="6191126" y="2021405"/>
            <a:ext cx="2457000" cy="1350000"/>
          </a:xfrm>
          <a:prstGeom prst="rect">
            <a:avLst/>
          </a:prstGeom>
          <a:solidFill>
            <a:schemeClr val="bg1">
              <a:lumMod val="95000"/>
            </a:schemeClr>
          </a:solidFill>
          <a:ln w="88900">
            <a:solidFill>
              <a:schemeClr val="bg1"/>
            </a:solidFill>
          </a:ln>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
        <p:nvSpPr>
          <p:cNvPr id="20" name="Picture Placeholder 2"/>
          <p:cNvSpPr>
            <a:spLocks noGrp="1"/>
          </p:cNvSpPr>
          <p:nvPr>
            <p:ph type="pic" idx="16" hasCustomPrompt="1"/>
          </p:nvPr>
        </p:nvSpPr>
        <p:spPr>
          <a:xfrm>
            <a:off x="6191126" y="3425405"/>
            <a:ext cx="2457000" cy="1350000"/>
          </a:xfrm>
          <a:prstGeom prst="rect">
            <a:avLst/>
          </a:prstGeom>
          <a:solidFill>
            <a:schemeClr val="bg1">
              <a:lumMod val="95000"/>
            </a:schemeClr>
          </a:solidFill>
          <a:ln w="88900">
            <a:solidFill>
              <a:schemeClr val="bg1"/>
            </a:solidFill>
          </a:ln>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Tree>
    <p:extLst>
      <p:ext uri="{BB962C8B-B14F-4D97-AF65-F5344CB8AC3E}">
        <p14:creationId xmlns:p14="http://schemas.microsoft.com/office/powerpoint/2010/main" val="500540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0_Images and Contents Layout">
    <p:spTree>
      <p:nvGrpSpPr>
        <p:cNvPr id="1" name=""/>
        <p:cNvGrpSpPr/>
        <p:nvPr/>
      </p:nvGrpSpPr>
      <p:grpSpPr>
        <a:xfrm>
          <a:off x="0" y="0"/>
          <a:ext cx="0" cy="0"/>
          <a:chOff x="0" y="0"/>
          <a:chExt cx="0" cy="0"/>
        </a:xfrm>
      </p:grpSpPr>
      <p:sp>
        <p:nvSpPr>
          <p:cNvPr id="2" name="Right Triangle 1"/>
          <p:cNvSpPr/>
          <p:nvPr userDrawn="1"/>
        </p:nvSpPr>
        <p:spPr>
          <a:xfrm rot="16200000">
            <a:off x="2549238" y="-1452580"/>
            <a:ext cx="4047404" cy="9155183"/>
          </a:xfrm>
          <a:custGeom>
            <a:avLst/>
            <a:gdLst>
              <a:gd name="connsiteX0" fmla="*/ 0 w 5652120"/>
              <a:gd name="connsiteY0" fmla="*/ 5652120 h 5652120"/>
              <a:gd name="connsiteX1" fmla="*/ 0 w 5652120"/>
              <a:gd name="connsiteY1" fmla="*/ 0 h 5652120"/>
              <a:gd name="connsiteX2" fmla="*/ 5652120 w 5652120"/>
              <a:gd name="connsiteY2" fmla="*/ 5652120 h 5652120"/>
              <a:gd name="connsiteX3" fmla="*/ 0 w 5652120"/>
              <a:gd name="connsiteY3" fmla="*/ 5652120 h 5652120"/>
              <a:gd name="connsiteX0" fmla="*/ 9525 w 5661645"/>
              <a:gd name="connsiteY0" fmla="*/ 9195420 h 9195420"/>
              <a:gd name="connsiteX1" fmla="*/ 0 w 5661645"/>
              <a:gd name="connsiteY1" fmla="*/ 0 h 9195420"/>
              <a:gd name="connsiteX2" fmla="*/ 5661645 w 5661645"/>
              <a:gd name="connsiteY2" fmla="*/ 9195420 h 9195420"/>
              <a:gd name="connsiteX3" fmla="*/ 9525 w 5661645"/>
              <a:gd name="connsiteY3" fmla="*/ 9195420 h 9195420"/>
              <a:gd name="connsiteX0" fmla="*/ 9525 w 5661645"/>
              <a:gd name="connsiteY0" fmla="*/ 9373173 h 9373173"/>
              <a:gd name="connsiteX1" fmla="*/ 0 w 5661645"/>
              <a:gd name="connsiteY1" fmla="*/ 177753 h 9373173"/>
              <a:gd name="connsiteX2" fmla="*/ 1419226 w 5661645"/>
              <a:gd name="connsiteY2" fmla="*/ 229173 h 9373173"/>
              <a:gd name="connsiteX3" fmla="*/ 5661645 w 5661645"/>
              <a:gd name="connsiteY3" fmla="*/ 9373173 h 9373173"/>
              <a:gd name="connsiteX4" fmla="*/ 9525 w 5661645"/>
              <a:gd name="connsiteY4" fmla="*/ 9373173 h 9373173"/>
              <a:gd name="connsiteX0" fmla="*/ 9525 w 5661645"/>
              <a:gd name="connsiteY0" fmla="*/ 9195420 h 9195420"/>
              <a:gd name="connsiteX1" fmla="*/ 0 w 5661645"/>
              <a:gd name="connsiteY1" fmla="*/ 0 h 9195420"/>
              <a:gd name="connsiteX2" fmla="*/ 1419226 w 5661645"/>
              <a:gd name="connsiteY2" fmla="*/ 51420 h 9195420"/>
              <a:gd name="connsiteX3" fmla="*/ 5661645 w 5661645"/>
              <a:gd name="connsiteY3" fmla="*/ 9195420 h 9195420"/>
              <a:gd name="connsiteX4" fmla="*/ 9525 w 5661645"/>
              <a:gd name="connsiteY4" fmla="*/ 9195420 h 9195420"/>
              <a:gd name="connsiteX0" fmla="*/ 9525 w 5661645"/>
              <a:gd name="connsiteY0" fmla="*/ 9195420 h 9195420"/>
              <a:gd name="connsiteX1" fmla="*/ 0 w 5661645"/>
              <a:gd name="connsiteY1" fmla="*/ 0 h 9195420"/>
              <a:gd name="connsiteX2" fmla="*/ 1419226 w 5661645"/>
              <a:gd name="connsiteY2" fmla="*/ 51420 h 9195420"/>
              <a:gd name="connsiteX3" fmla="*/ 5661645 w 5661645"/>
              <a:gd name="connsiteY3" fmla="*/ 9195420 h 9195420"/>
              <a:gd name="connsiteX4" fmla="*/ 9525 w 5661645"/>
              <a:gd name="connsiteY4" fmla="*/ 9195420 h 9195420"/>
              <a:gd name="connsiteX0" fmla="*/ 19050 w 5671170"/>
              <a:gd name="connsiteY0" fmla="*/ 9145220 h 9145220"/>
              <a:gd name="connsiteX1" fmla="*/ 0 w 5671170"/>
              <a:gd name="connsiteY1" fmla="*/ 16475 h 9145220"/>
              <a:gd name="connsiteX2" fmla="*/ 1428751 w 5671170"/>
              <a:gd name="connsiteY2" fmla="*/ 1220 h 9145220"/>
              <a:gd name="connsiteX3" fmla="*/ 5671170 w 5671170"/>
              <a:gd name="connsiteY3" fmla="*/ 9145220 h 9145220"/>
              <a:gd name="connsiteX4" fmla="*/ 19050 w 5671170"/>
              <a:gd name="connsiteY4" fmla="*/ 9145220 h 9145220"/>
              <a:gd name="connsiteX0" fmla="*/ 0 w 5652120"/>
              <a:gd name="connsiteY0" fmla="*/ 9166845 h 9166845"/>
              <a:gd name="connsiteX1" fmla="*/ 0 w 5652120"/>
              <a:gd name="connsiteY1" fmla="*/ 0 h 9166845"/>
              <a:gd name="connsiteX2" fmla="*/ 1409701 w 5652120"/>
              <a:gd name="connsiteY2" fmla="*/ 22845 h 9166845"/>
              <a:gd name="connsiteX3" fmla="*/ 5652120 w 5652120"/>
              <a:gd name="connsiteY3" fmla="*/ 9166845 h 9166845"/>
              <a:gd name="connsiteX4" fmla="*/ 0 w 5652120"/>
              <a:gd name="connsiteY4" fmla="*/ 9166845 h 9166845"/>
              <a:gd name="connsiteX0" fmla="*/ 0 w 5652120"/>
              <a:gd name="connsiteY0" fmla="*/ 9166845 h 9166845"/>
              <a:gd name="connsiteX1" fmla="*/ 0 w 5652120"/>
              <a:gd name="connsiteY1" fmla="*/ 0 h 9166845"/>
              <a:gd name="connsiteX2" fmla="*/ 1409701 w 5652120"/>
              <a:gd name="connsiteY2" fmla="*/ 22845 h 9166845"/>
              <a:gd name="connsiteX3" fmla="*/ 5652120 w 5652120"/>
              <a:gd name="connsiteY3" fmla="*/ 9166845 h 9166845"/>
              <a:gd name="connsiteX4" fmla="*/ 0 w 5652120"/>
              <a:gd name="connsiteY4" fmla="*/ 9166845 h 9166845"/>
              <a:gd name="connsiteX0" fmla="*/ 0 w 5652120"/>
              <a:gd name="connsiteY0" fmla="*/ 9145072 h 9145072"/>
              <a:gd name="connsiteX1" fmla="*/ 0 w 5652120"/>
              <a:gd name="connsiteY1" fmla="*/ 35377 h 9145072"/>
              <a:gd name="connsiteX2" fmla="*/ 1409701 w 5652120"/>
              <a:gd name="connsiteY2" fmla="*/ 1072 h 9145072"/>
              <a:gd name="connsiteX3" fmla="*/ 5652120 w 5652120"/>
              <a:gd name="connsiteY3" fmla="*/ 9145072 h 9145072"/>
              <a:gd name="connsiteX4" fmla="*/ 0 w 5652120"/>
              <a:gd name="connsiteY4" fmla="*/ 9145072 h 9145072"/>
              <a:gd name="connsiteX0" fmla="*/ 0 w 5652120"/>
              <a:gd name="connsiteY0" fmla="*/ 9157320 h 9157320"/>
              <a:gd name="connsiteX1" fmla="*/ 19050 w 5652120"/>
              <a:gd name="connsiteY1" fmla="*/ 0 h 9157320"/>
              <a:gd name="connsiteX2" fmla="*/ 1409701 w 5652120"/>
              <a:gd name="connsiteY2" fmla="*/ 13320 h 9157320"/>
              <a:gd name="connsiteX3" fmla="*/ 5652120 w 5652120"/>
              <a:gd name="connsiteY3" fmla="*/ 9157320 h 9157320"/>
              <a:gd name="connsiteX4" fmla="*/ 0 w 5652120"/>
              <a:gd name="connsiteY4" fmla="*/ 9157320 h 9157320"/>
              <a:gd name="connsiteX0" fmla="*/ 11285 w 5663405"/>
              <a:gd name="connsiteY0" fmla="*/ 9152986 h 9152986"/>
              <a:gd name="connsiteX1" fmla="*/ 0 w 5663405"/>
              <a:gd name="connsiteY1" fmla="*/ 0 h 9152986"/>
              <a:gd name="connsiteX2" fmla="*/ 1420986 w 5663405"/>
              <a:gd name="connsiteY2" fmla="*/ 8986 h 9152986"/>
              <a:gd name="connsiteX3" fmla="*/ 5663405 w 5663405"/>
              <a:gd name="connsiteY3" fmla="*/ 9152986 h 9152986"/>
              <a:gd name="connsiteX4" fmla="*/ 11285 w 5663405"/>
              <a:gd name="connsiteY4" fmla="*/ 9152986 h 9152986"/>
              <a:gd name="connsiteX0" fmla="*/ 6951 w 5659071"/>
              <a:gd name="connsiteY0" fmla="*/ 9145466 h 9145466"/>
              <a:gd name="connsiteX1" fmla="*/ 0 w 5659071"/>
              <a:gd name="connsiteY1" fmla="*/ 14148 h 9145466"/>
              <a:gd name="connsiteX2" fmla="*/ 1416652 w 5659071"/>
              <a:gd name="connsiteY2" fmla="*/ 1466 h 9145466"/>
              <a:gd name="connsiteX3" fmla="*/ 5659071 w 5659071"/>
              <a:gd name="connsiteY3" fmla="*/ 9145466 h 9145466"/>
              <a:gd name="connsiteX4" fmla="*/ 6951 w 5659071"/>
              <a:gd name="connsiteY4" fmla="*/ 9145466 h 9145466"/>
              <a:gd name="connsiteX0" fmla="*/ 6951 w 5659071"/>
              <a:gd name="connsiteY0" fmla="*/ 9148652 h 9148652"/>
              <a:gd name="connsiteX1" fmla="*/ 0 w 5659071"/>
              <a:gd name="connsiteY1" fmla="*/ 0 h 9148652"/>
              <a:gd name="connsiteX2" fmla="*/ 1416652 w 5659071"/>
              <a:gd name="connsiteY2" fmla="*/ 4652 h 9148652"/>
              <a:gd name="connsiteX3" fmla="*/ 5659071 w 5659071"/>
              <a:gd name="connsiteY3" fmla="*/ 9148652 h 9148652"/>
              <a:gd name="connsiteX4" fmla="*/ 6951 w 5659071"/>
              <a:gd name="connsiteY4" fmla="*/ 9148652 h 9148652"/>
              <a:gd name="connsiteX0" fmla="*/ 6951 w 5659071"/>
              <a:gd name="connsiteY0" fmla="*/ 9148652 h 9148652"/>
              <a:gd name="connsiteX1" fmla="*/ 0 w 5659071"/>
              <a:gd name="connsiteY1" fmla="*/ 0 h 9148652"/>
              <a:gd name="connsiteX2" fmla="*/ 1416652 w 5659071"/>
              <a:gd name="connsiteY2" fmla="*/ 4652 h 9148652"/>
              <a:gd name="connsiteX3" fmla="*/ 5659071 w 5659071"/>
              <a:gd name="connsiteY3" fmla="*/ 9148652 h 9148652"/>
              <a:gd name="connsiteX4" fmla="*/ 6951 w 5659071"/>
              <a:gd name="connsiteY4" fmla="*/ 9148652 h 9148652"/>
              <a:gd name="connsiteX0" fmla="*/ 6951 w 5659071"/>
              <a:gd name="connsiteY0" fmla="*/ 9148652 h 9148652"/>
              <a:gd name="connsiteX1" fmla="*/ 0 w 5659071"/>
              <a:gd name="connsiteY1" fmla="*/ 0 h 9148652"/>
              <a:gd name="connsiteX2" fmla="*/ 1416652 w 5659071"/>
              <a:gd name="connsiteY2" fmla="*/ 4652 h 9148652"/>
              <a:gd name="connsiteX3" fmla="*/ 5659071 w 5659071"/>
              <a:gd name="connsiteY3" fmla="*/ 9148652 h 9148652"/>
              <a:gd name="connsiteX4" fmla="*/ 6951 w 5659071"/>
              <a:gd name="connsiteY4" fmla="*/ 9148652 h 9148652"/>
              <a:gd name="connsiteX0" fmla="*/ 6951 w 5659071"/>
              <a:gd name="connsiteY0" fmla="*/ 9150135 h 9150135"/>
              <a:gd name="connsiteX1" fmla="*/ 0 w 5659071"/>
              <a:gd name="connsiteY1" fmla="*/ 1483 h 9150135"/>
              <a:gd name="connsiteX2" fmla="*/ 1416652 w 5659071"/>
              <a:gd name="connsiteY2" fmla="*/ 6135 h 9150135"/>
              <a:gd name="connsiteX3" fmla="*/ 5659071 w 5659071"/>
              <a:gd name="connsiteY3" fmla="*/ 9150135 h 9150135"/>
              <a:gd name="connsiteX4" fmla="*/ 6951 w 5659071"/>
              <a:gd name="connsiteY4" fmla="*/ 9150135 h 9150135"/>
              <a:gd name="connsiteX0" fmla="*/ 6951 w 5659071"/>
              <a:gd name="connsiteY0" fmla="*/ 9161156 h 9161156"/>
              <a:gd name="connsiteX1" fmla="*/ 0 w 5659071"/>
              <a:gd name="connsiteY1" fmla="*/ 12504 h 9161156"/>
              <a:gd name="connsiteX2" fmla="*/ 1412318 w 5659071"/>
              <a:gd name="connsiteY2" fmla="*/ 4155 h 9161156"/>
              <a:gd name="connsiteX3" fmla="*/ 5659071 w 5659071"/>
              <a:gd name="connsiteY3" fmla="*/ 9161156 h 9161156"/>
              <a:gd name="connsiteX4" fmla="*/ 6951 w 5659071"/>
              <a:gd name="connsiteY4" fmla="*/ 9161156 h 9161156"/>
              <a:gd name="connsiteX0" fmla="*/ 6951 w 5659071"/>
              <a:gd name="connsiteY0" fmla="*/ 9157001 h 9157001"/>
              <a:gd name="connsiteX1" fmla="*/ 0 w 5659071"/>
              <a:gd name="connsiteY1" fmla="*/ 8349 h 9157001"/>
              <a:gd name="connsiteX2" fmla="*/ 1412318 w 5659071"/>
              <a:gd name="connsiteY2" fmla="*/ 0 h 9157001"/>
              <a:gd name="connsiteX3" fmla="*/ 5659071 w 5659071"/>
              <a:gd name="connsiteY3" fmla="*/ 9157001 h 9157001"/>
              <a:gd name="connsiteX4" fmla="*/ 6951 w 5659071"/>
              <a:gd name="connsiteY4" fmla="*/ 9157001 h 9157001"/>
              <a:gd name="connsiteX0" fmla="*/ 6951 w 5659071"/>
              <a:gd name="connsiteY0" fmla="*/ 9157001 h 9157001"/>
              <a:gd name="connsiteX1" fmla="*/ 0 w 5659071"/>
              <a:gd name="connsiteY1" fmla="*/ 8349 h 9157001"/>
              <a:gd name="connsiteX2" fmla="*/ 1412318 w 5659071"/>
              <a:gd name="connsiteY2" fmla="*/ 0 h 9157001"/>
              <a:gd name="connsiteX3" fmla="*/ 5659071 w 5659071"/>
              <a:gd name="connsiteY3" fmla="*/ 9157001 h 9157001"/>
              <a:gd name="connsiteX4" fmla="*/ 6951 w 5659071"/>
              <a:gd name="connsiteY4" fmla="*/ 9157001 h 9157001"/>
              <a:gd name="connsiteX0" fmla="*/ 6951 w 5659071"/>
              <a:gd name="connsiteY0" fmla="*/ 9150469 h 9150469"/>
              <a:gd name="connsiteX1" fmla="*/ 0 w 5659071"/>
              <a:gd name="connsiteY1" fmla="*/ 1817 h 9150469"/>
              <a:gd name="connsiteX2" fmla="*/ 1220231 w 5659071"/>
              <a:gd name="connsiteY2" fmla="*/ 0 h 9150469"/>
              <a:gd name="connsiteX3" fmla="*/ 5659071 w 5659071"/>
              <a:gd name="connsiteY3" fmla="*/ 9150469 h 9150469"/>
              <a:gd name="connsiteX4" fmla="*/ 6951 w 5659071"/>
              <a:gd name="connsiteY4" fmla="*/ 9150469 h 9150469"/>
              <a:gd name="connsiteX0" fmla="*/ 6951 w 5659071"/>
              <a:gd name="connsiteY0" fmla="*/ 9150469 h 9150469"/>
              <a:gd name="connsiteX1" fmla="*/ 0 w 5659071"/>
              <a:gd name="connsiteY1" fmla="*/ 1817 h 9150469"/>
              <a:gd name="connsiteX2" fmla="*/ 1119613 w 5659071"/>
              <a:gd name="connsiteY2" fmla="*/ 0 h 9150469"/>
              <a:gd name="connsiteX3" fmla="*/ 5659071 w 5659071"/>
              <a:gd name="connsiteY3" fmla="*/ 9150469 h 9150469"/>
              <a:gd name="connsiteX4" fmla="*/ 6951 w 5659071"/>
              <a:gd name="connsiteY4" fmla="*/ 9150469 h 9150469"/>
              <a:gd name="connsiteX0" fmla="*/ 6951 w 5896893"/>
              <a:gd name="connsiteY0" fmla="*/ 9150469 h 9157000"/>
              <a:gd name="connsiteX1" fmla="*/ 0 w 5896893"/>
              <a:gd name="connsiteY1" fmla="*/ 1817 h 9157000"/>
              <a:gd name="connsiteX2" fmla="*/ 1119613 w 5896893"/>
              <a:gd name="connsiteY2" fmla="*/ 0 h 9157000"/>
              <a:gd name="connsiteX3" fmla="*/ 5896893 w 5896893"/>
              <a:gd name="connsiteY3" fmla="*/ 9157000 h 9157000"/>
              <a:gd name="connsiteX4" fmla="*/ 6951 w 5896893"/>
              <a:gd name="connsiteY4" fmla="*/ 9150469 h 9157000"/>
              <a:gd name="connsiteX0" fmla="*/ 6951 w 5896893"/>
              <a:gd name="connsiteY0" fmla="*/ 9150469 h 9157000"/>
              <a:gd name="connsiteX1" fmla="*/ 0 w 5896893"/>
              <a:gd name="connsiteY1" fmla="*/ 1817 h 9157000"/>
              <a:gd name="connsiteX2" fmla="*/ 836056 w 5896893"/>
              <a:gd name="connsiteY2" fmla="*/ 0 h 9157000"/>
              <a:gd name="connsiteX3" fmla="*/ 5896893 w 5896893"/>
              <a:gd name="connsiteY3" fmla="*/ 9157000 h 9157000"/>
              <a:gd name="connsiteX4" fmla="*/ 6951 w 5896893"/>
              <a:gd name="connsiteY4" fmla="*/ 9150469 h 9157000"/>
              <a:gd name="connsiteX0" fmla="*/ 6951 w 5896893"/>
              <a:gd name="connsiteY0" fmla="*/ 9148652 h 9155183"/>
              <a:gd name="connsiteX1" fmla="*/ 0 w 5896893"/>
              <a:gd name="connsiteY1" fmla="*/ 0 h 9155183"/>
              <a:gd name="connsiteX2" fmla="*/ 744587 w 5896893"/>
              <a:gd name="connsiteY2" fmla="*/ 4715 h 9155183"/>
              <a:gd name="connsiteX3" fmla="*/ 5896893 w 5896893"/>
              <a:gd name="connsiteY3" fmla="*/ 9155183 h 9155183"/>
              <a:gd name="connsiteX4" fmla="*/ 6951 w 5896893"/>
              <a:gd name="connsiteY4" fmla="*/ 9148652 h 9155183"/>
              <a:gd name="connsiteX0" fmla="*/ 6951 w 5668219"/>
              <a:gd name="connsiteY0" fmla="*/ 9148652 h 9155183"/>
              <a:gd name="connsiteX1" fmla="*/ 0 w 5668219"/>
              <a:gd name="connsiteY1" fmla="*/ 0 h 9155183"/>
              <a:gd name="connsiteX2" fmla="*/ 744587 w 5668219"/>
              <a:gd name="connsiteY2" fmla="*/ 4715 h 9155183"/>
              <a:gd name="connsiteX3" fmla="*/ 5668219 w 5668219"/>
              <a:gd name="connsiteY3" fmla="*/ 9155183 h 9155183"/>
              <a:gd name="connsiteX4" fmla="*/ 6951 w 5668219"/>
              <a:gd name="connsiteY4" fmla="*/ 9148652 h 9155183"/>
              <a:gd name="connsiteX0" fmla="*/ 6951 w 5668219"/>
              <a:gd name="connsiteY0" fmla="*/ 9148652 h 9155183"/>
              <a:gd name="connsiteX1" fmla="*/ 0 w 5668219"/>
              <a:gd name="connsiteY1" fmla="*/ 0 h 9155183"/>
              <a:gd name="connsiteX2" fmla="*/ 744587 w 5668219"/>
              <a:gd name="connsiteY2" fmla="*/ 4715 h 9155183"/>
              <a:gd name="connsiteX3" fmla="*/ 5668219 w 5668219"/>
              <a:gd name="connsiteY3" fmla="*/ 9155183 h 9155183"/>
              <a:gd name="connsiteX4" fmla="*/ 6951 w 5668219"/>
              <a:gd name="connsiteY4" fmla="*/ 9148652 h 9155183"/>
              <a:gd name="connsiteX0" fmla="*/ 6951 w 5668219"/>
              <a:gd name="connsiteY0" fmla="*/ 9148652 h 9155183"/>
              <a:gd name="connsiteX1" fmla="*/ 0 w 5668219"/>
              <a:gd name="connsiteY1" fmla="*/ 0 h 9155183"/>
              <a:gd name="connsiteX2" fmla="*/ 744587 w 5668219"/>
              <a:gd name="connsiteY2" fmla="*/ 4715 h 9155183"/>
              <a:gd name="connsiteX3" fmla="*/ 5668219 w 5668219"/>
              <a:gd name="connsiteY3" fmla="*/ 9155183 h 9155183"/>
              <a:gd name="connsiteX4" fmla="*/ 6951 w 5668219"/>
              <a:gd name="connsiteY4" fmla="*/ 9148652 h 9155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8219" h="9155183">
                <a:moveTo>
                  <a:pt x="6951" y="9148652"/>
                </a:moveTo>
                <a:cubicBezTo>
                  <a:pt x="3189" y="6097657"/>
                  <a:pt x="3762" y="3050995"/>
                  <a:pt x="0" y="0"/>
                </a:cubicBezTo>
                <a:cubicBezTo>
                  <a:pt x="429979" y="8171"/>
                  <a:pt x="-63323" y="15593"/>
                  <a:pt x="744587" y="4715"/>
                </a:cubicBezTo>
                <a:cubicBezTo>
                  <a:pt x="2385798" y="3054871"/>
                  <a:pt x="4036157" y="6065838"/>
                  <a:pt x="5668219" y="9155183"/>
                </a:cubicBezTo>
                <a:lnTo>
                  <a:pt x="6951" y="9148652"/>
                </a:lnTo>
                <a:close/>
              </a:path>
            </a:pathLst>
          </a:cu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grpSp>
        <p:nvGrpSpPr>
          <p:cNvPr id="14" name="Group 4">
            <a:extLst>
              <a:ext uri="{FF2B5EF4-FFF2-40B4-BE49-F238E27FC236}">
                <a16:creationId xmlns:a16="http://schemas.microsoft.com/office/drawing/2014/main" id="{7588A63B-2360-41C6-91F3-3ED848C1316F}"/>
              </a:ext>
            </a:extLst>
          </p:cNvPr>
          <p:cNvGrpSpPr/>
          <p:nvPr userDrawn="1"/>
        </p:nvGrpSpPr>
        <p:grpSpPr>
          <a:xfrm>
            <a:off x="6574910" y="1263648"/>
            <a:ext cx="1998222" cy="3512770"/>
            <a:chOff x="445712" y="1449040"/>
            <a:chExt cx="2113018" cy="3924176"/>
          </a:xfrm>
        </p:grpSpPr>
        <p:sp>
          <p:nvSpPr>
            <p:cNvPr id="17" name="Rounded Rectangle 5">
              <a:extLst>
                <a:ext uri="{FF2B5EF4-FFF2-40B4-BE49-F238E27FC236}">
                  <a16:creationId xmlns:a16="http://schemas.microsoft.com/office/drawing/2014/main" id="{6A00CC09-8BCE-4032-8E87-74B33C254FE5}"/>
                </a:ext>
              </a:extLst>
            </p:cNvPr>
            <p:cNvSpPr/>
            <p:nvPr userDrawn="1"/>
          </p:nvSpPr>
          <p:spPr>
            <a:xfrm>
              <a:off x="445712" y="1449040"/>
              <a:ext cx="2113018" cy="3924176"/>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18" name="Rectangle 6">
              <a:extLst>
                <a:ext uri="{FF2B5EF4-FFF2-40B4-BE49-F238E27FC236}">
                  <a16:creationId xmlns:a16="http://schemas.microsoft.com/office/drawing/2014/main" id="{BBADC3B4-4BC1-4301-8D6D-A75D84615236}"/>
                </a:ext>
              </a:extLst>
            </p:cNvPr>
            <p:cNvSpPr/>
            <p:nvPr userDrawn="1"/>
          </p:nvSpPr>
          <p:spPr>
            <a:xfrm>
              <a:off x="1379920" y="1650572"/>
              <a:ext cx="216024" cy="34350"/>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grpSp>
          <p:nvGrpSpPr>
            <p:cNvPr id="19" name="Group 7">
              <a:extLst>
                <a:ext uri="{FF2B5EF4-FFF2-40B4-BE49-F238E27FC236}">
                  <a16:creationId xmlns:a16="http://schemas.microsoft.com/office/drawing/2014/main" id="{FE81EC83-0FCE-471B-82B4-30C79416A061}"/>
                </a:ext>
              </a:extLst>
            </p:cNvPr>
            <p:cNvGrpSpPr/>
            <p:nvPr userDrawn="1"/>
          </p:nvGrpSpPr>
          <p:grpSpPr>
            <a:xfrm>
              <a:off x="1407705" y="5045834"/>
              <a:ext cx="211967" cy="211967"/>
              <a:chOff x="1549420" y="5712364"/>
              <a:chExt cx="312583" cy="312583"/>
            </a:xfrm>
          </p:grpSpPr>
          <p:sp>
            <p:nvSpPr>
              <p:cNvPr id="20" name="Oval 8">
                <a:extLst>
                  <a:ext uri="{FF2B5EF4-FFF2-40B4-BE49-F238E27FC236}">
                    <a16:creationId xmlns:a16="http://schemas.microsoft.com/office/drawing/2014/main" id="{2367515F-970C-488E-A0AB-9B54831DBE49}"/>
                  </a:ext>
                </a:extLst>
              </p:cNvPr>
              <p:cNvSpPr/>
              <p:nvPr userDrawn="1"/>
            </p:nvSpPr>
            <p:spPr>
              <a:xfrm>
                <a:off x="1549420" y="5712364"/>
                <a:ext cx="312583" cy="312583"/>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sp>
            <p:nvSpPr>
              <p:cNvPr id="21" name="Rounded Rectangle 10">
                <a:extLst>
                  <a:ext uri="{FF2B5EF4-FFF2-40B4-BE49-F238E27FC236}">
                    <a16:creationId xmlns:a16="http://schemas.microsoft.com/office/drawing/2014/main" id="{4D3EACEA-3828-49FE-B26A-D626FB254ACD}"/>
                  </a:ext>
                </a:extLst>
              </p:cNvPr>
              <p:cNvSpPr/>
              <p:nvPr userDrawn="1"/>
            </p:nvSpPr>
            <p:spPr>
              <a:xfrm>
                <a:off x="1634225" y="5796647"/>
                <a:ext cx="142969" cy="144016"/>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cs typeface="+mn-cs"/>
                </a:endParaRPr>
              </a:p>
            </p:txBody>
          </p:sp>
        </p:grpSp>
      </p:grpSp>
      <p:sp>
        <p:nvSpPr>
          <p:cNvPr id="22" name="Picture Placeholder 2">
            <a:extLst>
              <a:ext uri="{FF2B5EF4-FFF2-40B4-BE49-F238E27FC236}">
                <a16:creationId xmlns:a16="http://schemas.microsoft.com/office/drawing/2014/main" id="{2BAD1F61-0C01-4AD6-8986-232422D46A96}"/>
              </a:ext>
            </a:extLst>
          </p:cNvPr>
          <p:cNvSpPr>
            <a:spLocks noGrp="1"/>
          </p:cNvSpPr>
          <p:nvPr>
            <p:ph type="pic" idx="11" hasCustomPrompt="1"/>
          </p:nvPr>
        </p:nvSpPr>
        <p:spPr>
          <a:xfrm>
            <a:off x="6715848" y="1572326"/>
            <a:ext cx="1716345" cy="2814806"/>
          </a:xfrm>
          <a:prstGeom prst="rect">
            <a:avLst/>
          </a:prstGeom>
          <a:solidFill>
            <a:schemeClr val="bg1">
              <a:lumMod val="95000"/>
            </a:schemeClr>
          </a:solidFill>
          <a:ln w="12700">
            <a:noFill/>
          </a:ln>
        </p:spPr>
        <p:txBody>
          <a:bodyPr anchor="ctr"/>
          <a:lstStyle>
            <a:lvl1pPr marL="0" indent="0" algn="ctr">
              <a:buNone/>
              <a:defRPr sz="1200">
                <a:latin typeface="Arial" pitchFamily="34" charset="0"/>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 </a:t>
            </a:r>
            <a:endParaRPr lang="ko-KR" altLang="en-US" dirty="0"/>
          </a:p>
        </p:txBody>
      </p:sp>
      <p:sp>
        <p:nvSpPr>
          <p:cNvPr id="23" name="Text Placeholder 9">
            <a:extLst>
              <a:ext uri="{FF2B5EF4-FFF2-40B4-BE49-F238E27FC236}">
                <a16:creationId xmlns:a16="http://schemas.microsoft.com/office/drawing/2014/main" id="{2AE737FC-12CA-4582-A034-15AC837BA62F}"/>
              </a:ext>
            </a:extLst>
          </p:cNvPr>
          <p:cNvSpPr>
            <a:spLocks noGrp="1"/>
          </p:cNvSpPr>
          <p:nvPr>
            <p:ph type="body" sz="quarter" idx="10" hasCustomPrompt="1"/>
          </p:nvPr>
        </p:nvSpPr>
        <p:spPr>
          <a:xfrm>
            <a:off x="242646" y="282024"/>
            <a:ext cx="8679898" cy="543185"/>
          </a:xfrm>
          <a:prstGeom prst="rect">
            <a:avLst/>
          </a:prstGeom>
        </p:spPr>
        <p:txBody>
          <a:bodyPr anchor="ctr"/>
          <a:lstStyle>
            <a:lvl1pPr marL="0" indent="0" algn="ctr">
              <a:buNone/>
              <a:defRPr sz="405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14996122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캡션 있는 콘텐츠">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AF4C67A-16CF-4A87-952C-7DC81D7DC0EA}"/>
              </a:ext>
            </a:extLst>
          </p:cNvPr>
          <p:cNvSpPr>
            <a:spLocks noGrp="1"/>
          </p:cNvSpPr>
          <p:nvPr>
            <p:ph type="pic" idx="16" hasCustomPrompt="1"/>
          </p:nvPr>
        </p:nvSpPr>
        <p:spPr>
          <a:xfrm>
            <a:off x="0" y="0"/>
            <a:ext cx="9144000" cy="5143500"/>
          </a:xfrm>
          <a:prstGeom prst="rect">
            <a:avLst/>
          </a:prstGeom>
          <a:solidFill>
            <a:schemeClr val="bg1">
              <a:lumMod val="95000"/>
            </a:schemeClr>
          </a:solidFill>
        </p:spPr>
        <p:txBody>
          <a:bodyPr anchor="ctr"/>
          <a:lstStyle>
            <a:lvl1pPr marL="0" indent="0" algn="ctr">
              <a:buNone/>
              <a:defRPr sz="900">
                <a:latin typeface="Arial" pitchFamily="34" charset="0"/>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Tree>
    <p:extLst>
      <p:ext uri="{BB962C8B-B14F-4D97-AF65-F5344CB8AC3E}">
        <p14:creationId xmlns:p14="http://schemas.microsoft.com/office/powerpoint/2010/main" val="5396298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캡션 있는 콘텐츠">
    <p:spTree>
      <p:nvGrpSpPr>
        <p:cNvPr id="1" name=""/>
        <p:cNvGrpSpPr/>
        <p:nvPr/>
      </p:nvGrpSpPr>
      <p:grpSpPr>
        <a:xfrm>
          <a:off x="0" y="0"/>
          <a:ext cx="0" cy="0"/>
          <a:chOff x="0" y="0"/>
          <a:chExt cx="0" cy="0"/>
        </a:xfrm>
      </p:grpSpPr>
      <p:sp>
        <p:nvSpPr>
          <p:cNvPr id="5" name="자유형: 도형 4">
            <a:extLst>
              <a:ext uri="{FF2B5EF4-FFF2-40B4-BE49-F238E27FC236}">
                <a16:creationId xmlns:a16="http://schemas.microsoft.com/office/drawing/2014/main" id="{7BB3987B-D002-4893-8FE3-CD1BE40130F6}"/>
              </a:ext>
            </a:extLst>
          </p:cNvPr>
          <p:cNvSpPr>
            <a:spLocks noGrp="1"/>
          </p:cNvSpPr>
          <p:nvPr>
            <p:ph type="pic" idx="16" hasCustomPrompt="1"/>
          </p:nvPr>
        </p:nvSpPr>
        <p:spPr>
          <a:xfrm>
            <a:off x="247759" y="1688664"/>
            <a:ext cx="8756480" cy="3342458"/>
          </a:xfrm>
          <a:custGeom>
            <a:avLst/>
            <a:gdLst>
              <a:gd name="connsiteX0" fmla="*/ 10618976 w 11675306"/>
              <a:gd name="connsiteY0" fmla="*/ 4156366 h 4456611"/>
              <a:gd name="connsiteX1" fmla="*/ 10623885 w 11675306"/>
              <a:gd name="connsiteY1" fmla="*/ 4160004 h 4456611"/>
              <a:gd name="connsiteX2" fmla="*/ 10618030 w 11675306"/>
              <a:gd name="connsiteY2" fmla="*/ 4159903 h 4456611"/>
              <a:gd name="connsiteX3" fmla="*/ 6143530 w 11675306"/>
              <a:gd name="connsiteY3" fmla="*/ 1722392 h 4456611"/>
              <a:gd name="connsiteX4" fmla="*/ 6138631 w 11675306"/>
              <a:gd name="connsiteY4" fmla="*/ 1747121 h 4456611"/>
              <a:gd name="connsiteX5" fmla="*/ 6143530 w 11675306"/>
              <a:gd name="connsiteY5" fmla="*/ 1771849 h 4456611"/>
              <a:gd name="connsiteX6" fmla="*/ 6156158 w 11675306"/>
              <a:gd name="connsiteY6" fmla="*/ 1747121 h 4456611"/>
              <a:gd name="connsiteX7" fmla="*/ 9857349 w 11675306"/>
              <a:gd name="connsiteY7" fmla="*/ 1710126 h 4456611"/>
              <a:gd name="connsiteX8" fmla="*/ 9834377 w 11675306"/>
              <a:gd name="connsiteY8" fmla="*/ 1732855 h 4456611"/>
              <a:gd name="connsiteX9" fmla="*/ 9829704 w 11675306"/>
              <a:gd name="connsiteY9" fmla="*/ 1747120 h 4456611"/>
              <a:gd name="connsiteX10" fmla="*/ 9834377 w 11675306"/>
              <a:gd name="connsiteY10" fmla="*/ 1761387 h 4456611"/>
              <a:gd name="connsiteX11" fmla="*/ 9857350 w 11675306"/>
              <a:gd name="connsiteY11" fmla="*/ 1784115 h 4456611"/>
              <a:gd name="connsiteX12" fmla="*/ 9859798 w 11675306"/>
              <a:gd name="connsiteY12" fmla="*/ 1747121 h 4456611"/>
              <a:gd name="connsiteX13" fmla="*/ 6226300 w 11675306"/>
              <a:gd name="connsiteY13" fmla="*/ 0 h 4456611"/>
              <a:gd name="connsiteX14" fmla="*/ 6241605 w 11675306"/>
              <a:gd name="connsiteY14" fmla="*/ 129702 h 4456611"/>
              <a:gd name="connsiteX15" fmla="*/ 6286183 w 11675306"/>
              <a:gd name="connsiteY15" fmla="*/ 259915 h 4456611"/>
              <a:gd name="connsiteX16" fmla="*/ 6353971 w 11675306"/>
              <a:gd name="connsiteY16" fmla="*/ 66947 h 4456611"/>
              <a:gd name="connsiteX17" fmla="*/ 6363626 w 11675306"/>
              <a:gd name="connsiteY17" fmla="*/ 184783 h 4456611"/>
              <a:gd name="connsiteX18" fmla="*/ 6438708 w 11675306"/>
              <a:gd name="connsiteY18" fmla="*/ 244928 h 4456611"/>
              <a:gd name="connsiteX19" fmla="*/ 6633551 w 11675306"/>
              <a:gd name="connsiteY19" fmla="*/ 154194 h 4456611"/>
              <a:gd name="connsiteX20" fmla="*/ 6624719 w 11675306"/>
              <a:gd name="connsiteY20" fmla="*/ 324659 h 4456611"/>
              <a:gd name="connsiteX21" fmla="*/ 6616913 w 11675306"/>
              <a:gd name="connsiteY21" fmla="*/ 436307 h 4456611"/>
              <a:gd name="connsiteX22" fmla="*/ 6629957 w 11675306"/>
              <a:gd name="connsiteY22" fmla="*/ 360051 h 4456611"/>
              <a:gd name="connsiteX23" fmla="*/ 6694665 w 11675306"/>
              <a:gd name="connsiteY23" fmla="*/ 343530 h 4456611"/>
              <a:gd name="connsiteX24" fmla="*/ 6783715 w 11675306"/>
              <a:gd name="connsiteY24" fmla="*/ 274483 h 4456611"/>
              <a:gd name="connsiteX25" fmla="*/ 6800354 w 11675306"/>
              <a:gd name="connsiteY25" fmla="*/ 327725 h 4456611"/>
              <a:gd name="connsiteX26" fmla="*/ 6842465 w 11675306"/>
              <a:gd name="connsiteY26" fmla="*/ 263742 h 4456611"/>
              <a:gd name="connsiteX27" fmla="*/ 6854072 w 11675306"/>
              <a:gd name="connsiteY27" fmla="*/ 269827 h 4456611"/>
              <a:gd name="connsiteX28" fmla="*/ 6899265 w 11675306"/>
              <a:gd name="connsiteY28" fmla="*/ 364752 h 4456611"/>
              <a:gd name="connsiteX29" fmla="*/ 6947744 w 11675306"/>
              <a:gd name="connsiteY29" fmla="*/ 271463 h 4456611"/>
              <a:gd name="connsiteX30" fmla="*/ 6991601 w 11675306"/>
              <a:gd name="connsiteY30" fmla="*/ 107493 h 4456611"/>
              <a:gd name="connsiteX31" fmla="*/ 7024879 w 11675306"/>
              <a:gd name="connsiteY31" fmla="*/ 213975 h 4456611"/>
              <a:gd name="connsiteX32" fmla="*/ 7036897 w 11675306"/>
              <a:gd name="connsiteY32" fmla="*/ 196535 h 4456611"/>
              <a:gd name="connsiteX33" fmla="*/ 7168571 w 11675306"/>
              <a:gd name="connsiteY33" fmla="*/ 34098 h 4456611"/>
              <a:gd name="connsiteX34" fmla="*/ 7204006 w 11675306"/>
              <a:gd name="connsiteY34" fmla="*/ 17066 h 4456611"/>
              <a:gd name="connsiteX35" fmla="*/ 7209759 w 11675306"/>
              <a:gd name="connsiteY35" fmla="*/ 23050 h 4456611"/>
              <a:gd name="connsiteX36" fmla="*/ 7206987 w 11675306"/>
              <a:gd name="connsiteY36" fmla="*/ 181853 h 4456611"/>
              <a:gd name="connsiteX37" fmla="*/ 7194661 w 11675306"/>
              <a:gd name="connsiteY37" fmla="*/ 216939 h 4456611"/>
              <a:gd name="connsiteX38" fmla="*/ 7170730 w 11675306"/>
              <a:gd name="connsiteY38" fmla="*/ 245938 h 4456611"/>
              <a:gd name="connsiteX39" fmla="*/ 7205240 w 11675306"/>
              <a:gd name="connsiteY39" fmla="*/ 281841 h 4456611"/>
              <a:gd name="connsiteX40" fmla="*/ 7246530 w 11675306"/>
              <a:gd name="connsiteY40" fmla="*/ 264911 h 4456611"/>
              <a:gd name="connsiteX41" fmla="*/ 7336914 w 11675306"/>
              <a:gd name="connsiteY41" fmla="*/ 119404 h 4456611"/>
              <a:gd name="connsiteX42" fmla="*/ 7335066 w 11675306"/>
              <a:gd name="connsiteY42" fmla="*/ 225273 h 4456611"/>
              <a:gd name="connsiteX43" fmla="*/ 7350783 w 11675306"/>
              <a:gd name="connsiteY43" fmla="*/ 331449 h 4456611"/>
              <a:gd name="connsiteX44" fmla="*/ 7409120 w 11675306"/>
              <a:gd name="connsiteY44" fmla="*/ 8880 h 4456611"/>
              <a:gd name="connsiteX45" fmla="*/ 7458629 w 11675306"/>
              <a:gd name="connsiteY45" fmla="*/ 192130 h 4456611"/>
              <a:gd name="connsiteX46" fmla="*/ 7494474 w 11675306"/>
              <a:gd name="connsiteY46" fmla="*/ 151571 h 4456611"/>
              <a:gd name="connsiteX47" fmla="*/ 7576540 w 11675306"/>
              <a:gd name="connsiteY47" fmla="*/ 147121 h 4456611"/>
              <a:gd name="connsiteX48" fmla="*/ 7657681 w 11675306"/>
              <a:gd name="connsiteY48" fmla="*/ 195604 h 4456611"/>
              <a:gd name="connsiteX49" fmla="*/ 7706469 w 11675306"/>
              <a:gd name="connsiteY49" fmla="*/ 84671 h 4456611"/>
              <a:gd name="connsiteX50" fmla="*/ 7794287 w 11675306"/>
              <a:gd name="connsiteY50" fmla="*/ 86203 h 4456611"/>
              <a:gd name="connsiteX51" fmla="*/ 7824278 w 11675306"/>
              <a:gd name="connsiteY51" fmla="*/ 45544 h 4456611"/>
              <a:gd name="connsiteX52" fmla="*/ 7876661 w 11675306"/>
              <a:gd name="connsiteY52" fmla="*/ 64108 h 4456611"/>
              <a:gd name="connsiteX53" fmla="*/ 7909631 w 11675306"/>
              <a:gd name="connsiteY53" fmla="*/ 188235 h 4456611"/>
              <a:gd name="connsiteX54" fmla="*/ 7975058 w 11675306"/>
              <a:gd name="connsiteY54" fmla="*/ 130543 h 4456611"/>
              <a:gd name="connsiteX55" fmla="*/ 7953902 w 11675306"/>
              <a:gd name="connsiteY55" fmla="*/ 336093 h 4456611"/>
              <a:gd name="connsiteX56" fmla="*/ 8078386 w 11675306"/>
              <a:gd name="connsiteY56" fmla="*/ 250015 h 4456611"/>
              <a:gd name="connsiteX57" fmla="*/ 8096669 w 11675306"/>
              <a:gd name="connsiteY57" fmla="*/ 209149 h 4456611"/>
              <a:gd name="connsiteX58" fmla="*/ 8138472 w 11675306"/>
              <a:gd name="connsiteY58" fmla="*/ 162812 h 4456611"/>
              <a:gd name="connsiteX59" fmla="*/ 8173290 w 11675306"/>
              <a:gd name="connsiteY59" fmla="*/ 181071 h 4456611"/>
              <a:gd name="connsiteX60" fmla="*/ 8171341 w 11675306"/>
              <a:gd name="connsiteY60" fmla="*/ 292820 h 4456611"/>
              <a:gd name="connsiteX61" fmla="*/ 8124299 w 11675306"/>
              <a:gd name="connsiteY61" fmla="*/ 303767 h 4456611"/>
              <a:gd name="connsiteX62" fmla="*/ 8210166 w 11675306"/>
              <a:gd name="connsiteY62" fmla="*/ 417050 h 4456611"/>
              <a:gd name="connsiteX63" fmla="*/ 8218690 w 11675306"/>
              <a:gd name="connsiteY63" fmla="*/ 264230 h 4456611"/>
              <a:gd name="connsiteX64" fmla="*/ 8324276 w 11675306"/>
              <a:gd name="connsiteY64" fmla="*/ 254307 h 4456611"/>
              <a:gd name="connsiteX65" fmla="*/ 8394838 w 11675306"/>
              <a:gd name="connsiteY65" fmla="*/ 237888 h 4456611"/>
              <a:gd name="connsiteX66" fmla="*/ 8448864 w 11675306"/>
              <a:gd name="connsiteY66" fmla="*/ 162347 h 4456611"/>
              <a:gd name="connsiteX67" fmla="*/ 8508745 w 11675306"/>
              <a:gd name="connsiteY67" fmla="*/ 86908 h 4456611"/>
              <a:gd name="connsiteX68" fmla="*/ 8549932 w 11675306"/>
              <a:gd name="connsiteY68" fmla="*/ 75860 h 4456611"/>
              <a:gd name="connsiteX69" fmla="*/ 8694960 w 11675306"/>
              <a:gd name="connsiteY69" fmla="*/ 154876 h 4456611"/>
              <a:gd name="connsiteX70" fmla="*/ 8729780 w 11675306"/>
              <a:gd name="connsiteY70" fmla="*/ 173133 h 4456611"/>
              <a:gd name="connsiteX71" fmla="*/ 8764803 w 11675306"/>
              <a:gd name="connsiteY71" fmla="*/ 179629 h 4456611"/>
              <a:gd name="connsiteX72" fmla="*/ 8897097 w 11675306"/>
              <a:gd name="connsiteY72" fmla="*/ 317256 h 4456611"/>
              <a:gd name="connsiteX73" fmla="*/ 8956154 w 11675306"/>
              <a:gd name="connsiteY73" fmla="*/ 288870 h 4456611"/>
              <a:gd name="connsiteX74" fmla="*/ 8990152 w 11675306"/>
              <a:gd name="connsiteY74" fmla="*/ 354181 h 4456611"/>
              <a:gd name="connsiteX75" fmla="*/ 9036476 w 11675306"/>
              <a:gd name="connsiteY75" fmla="*/ 384406 h 4456611"/>
              <a:gd name="connsiteX76" fmla="*/ 9043357 w 11675306"/>
              <a:gd name="connsiteY76" fmla="*/ 325692 h 4456611"/>
              <a:gd name="connsiteX77" fmla="*/ 9026307 w 11675306"/>
              <a:gd name="connsiteY77" fmla="*/ 295977 h 4456611"/>
              <a:gd name="connsiteX78" fmla="*/ 9083723 w 11675306"/>
              <a:gd name="connsiteY78" fmla="*/ 361697 h 4456611"/>
              <a:gd name="connsiteX79" fmla="*/ 9219197 w 11675306"/>
              <a:gd name="connsiteY79" fmla="*/ 316995 h 4456611"/>
              <a:gd name="connsiteX80" fmla="*/ 9337314 w 11675306"/>
              <a:gd name="connsiteY80" fmla="*/ 260223 h 4456611"/>
              <a:gd name="connsiteX81" fmla="*/ 9466115 w 11675306"/>
              <a:gd name="connsiteY81" fmla="*/ 262471 h 4456611"/>
              <a:gd name="connsiteX82" fmla="*/ 9500832 w 11675306"/>
              <a:gd name="connsiteY82" fmla="*/ 286610 h 4456611"/>
              <a:gd name="connsiteX83" fmla="*/ 9517882 w 11675306"/>
              <a:gd name="connsiteY83" fmla="*/ 316324 h 4456611"/>
              <a:gd name="connsiteX84" fmla="*/ 9521681 w 11675306"/>
              <a:gd name="connsiteY84" fmla="*/ 434060 h 4456611"/>
              <a:gd name="connsiteX85" fmla="*/ 9631788 w 11675306"/>
              <a:gd name="connsiteY85" fmla="*/ 500698 h 4456611"/>
              <a:gd name="connsiteX86" fmla="*/ 9631584 w 11675306"/>
              <a:gd name="connsiteY86" fmla="*/ 512462 h 4456611"/>
              <a:gd name="connsiteX87" fmla="*/ 9637542 w 11675306"/>
              <a:gd name="connsiteY87" fmla="*/ 506683 h 4456611"/>
              <a:gd name="connsiteX88" fmla="*/ 9697935 w 11675306"/>
              <a:gd name="connsiteY88" fmla="*/ 401836 h 4456611"/>
              <a:gd name="connsiteX89" fmla="*/ 9729875 w 11675306"/>
              <a:gd name="connsiteY89" fmla="*/ 249424 h 4456611"/>
              <a:gd name="connsiteX90" fmla="*/ 9814818 w 11675306"/>
              <a:gd name="connsiteY90" fmla="*/ 415643 h 4456611"/>
              <a:gd name="connsiteX91" fmla="*/ 9927595 w 11675306"/>
              <a:gd name="connsiteY91" fmla="*/ 329360 h 4456611"/>
              <a:gd name="connsiteX92" fmla="*/ 9956456 w 11675306"/>
              <a:gd name="connsiteY92" fmla="*/ 353397 h 4456611"/>
              <a:gd name="connsiteX93" fmla="*/ 9943620 w 11675306"/>
              <a:gd name="connsiteY93" fmla="*/ 417891 h 4456611"/>
              <a:gd name="connsiteX94" fmla="*/ 9865456 w 11675306"/>
              <a:gd name="connsiteY94" fmla="*/ 534195 h 4456611"/>
              <a:gd name="connsiteX95" fmla="*/ 9876241 w 11675306"/>
              <a:gd name="connsiteY95" fmla="*/ 587333 h 4456611"/>
              <a:gd name="connsiteX96" fmla="*/ 9923797 w 11675306"/>
              <a:gd name="connsiteY96" fmla="*/ 546980 h 4456611"/>
              <a:gd name="connsiteX97" fmla="*/ 10012025 w 11675306"/>
              <a:gd name="connsiteY97" fmla="*/ 524986 h 4456611"/>
              <a:gd name="connsiteX98" fmla="*/ 10029179 w 11675306"/>
              <a:gd name="connsiteY98" fmla="*/ 548819 h 4456611"/>
              <a:gd name="connsiteX99" fmla="*/ 10075500 w 11675306"/>
              <a:gd name="connsiteY99" fmla="*/ 579044 h 4456611"/>
              <a:gd name="connsiteX100" fmla="*/ 10106930 w 11675306"/>
              <a:gd name="connsiteY100" fmla="*/ 456042 h 4456611"/>
              <a:gd name="connsiteX101" fmla="*/ 10141955 w 11675306"/>
              <a:gd name="connsiteY101" fmla="*/ 462536 h 4456611"/>
              <a:gd name="connsiteX102" fmla="*/ 10212928 w 11675306"/>
              <a:gd name="connsiteY102" fmla="*/ 422592 h 4456611"/>
              <a:gd name="connsiteX103" fmla="*/ 10224740 w 11675306"/>
              <a:gd name="connsiteY103" fmla="*/ 416914 h 4456611"/>
              <a:gd name="connsiteX104" fmla="*/ 10278662 w 11675306"/>
              <a:gd name="connsiteY104" fmla="*/ 347255 h 4456611"/>
              <a:gd name="connsiteX105" fmla="*/ 10319642 w 11675306"/>
              <a:gd name="connsiteY105" fmla="*/ 347970 h 4456611"/>
              <a:gd name="connsiteX106" fmla="*/ 10389999 w 11675306"/>
              <a:gd name="connsiteY106" fmla="*/ 343315 h 4456611"/>
              <a:gd name="connsiteX107" fmla="*/ 10407873 w 11675306"/>
              <a:gd name="connsiteY107" fmla="*/ 325976 h 4456611"/>
              <a:gd name="connsiteX108" fmla="*/ 10435912 w 11675306"/>
              <a:gd name="connsiteY108" fmla="*/ 397067 h 4456611"/>
              <a:gd name="connsiteX109" fmla="*/ 10529688 w 11675306"/>
              <a:gd name="connsiteY109" fmla="*/ 392820 h 4456611"/>
              <a:gd name="connsiteX110" fmla="*/ 10542115 w 11675306"/>
              <a:gd name="connsiteY110" fmla="*/ 351853 h 4456611"/>
              <a:gd name="connsiteX111" fmla="*/ 10548688 w 11675306"/>
              <a:gd name="connsiteY111" fmla="*/ 310784 h 4456611"/>
              <a:gd name="connsiteX112" fmla="*/ 10630856 w 11675306"/>
              <a:gd name="connsiteY112" fmla="*/ 300451 h 4456611"/>
              <a:gd name="connsiteX113" fmla="*/ 10624182 w 11675306"/>
              <a:gd name="connsiteY113" fmla="*/ 347403 h 4456611"/>
              <a:gd name="connsiteX114" fmla="*/ 10638972 w 11675306"/>
              <a:gd name="connsiteY114" fmla="*/ 506512 h 4456611"/>
              <a:gd name="connsiteX115" fmla="*/ 10691560 w 11675306"/>
              <a:gd name="connsiteY115" fmla="*/ 513314 h 4456611"/>
              <a:gd name="connsiteX116" fmla="*/ 10711998 w 11675306"/>
              <a:gd name="connsiteY116" fmla="*/ 348936 h 4456611"/>
              <a:gd name="connsiteX117" fmla="*/ 10936631 w 11675306"/>
              <a:gd name="connsiteY117" fmla="*/ 564659 h 4456611"/>
              <a:gd name="connsiteX118" fmla="*/ 10920504 w 11675306"/>
              <a:gd name="connsiteY118" fmla="*/ 482010 h 4456611"/>
              <a:gd name="connsiteX119" fmla="*/ 10966416 w 11675306"/>
              <a:gd name="connsiteY119" fmla="*/ 535761 h 4456611"/>
              <a:gd name="connsiteX120" fmla="*/ 10973296 w 11675306"/>
              <a:gd name="connsiteY120" fmla="*/ 477048 h 4456611"/>
              <a:gd name="connsiteX121" fmla="*/ 10973708 w 11675306"/>
              <a:gd name="connsiteY121" fmla="*/ 453521 h 4456611"/>
              <a:gd name="connsiteX122" fmla="*/ 11015099 w 11675306"/>
              <a:gd name="connsiteY122" fmla="*/ 430710 h 4456611"/>
              <a:gd name="connsiteX123" fmla="*/ 10998665 w 11675306"/>
              <a:gd name="connsiteY123" fmla="*/ 365705 h 4456611"/>
              <a:gd name="connsiteX124" fmla="*/ 11028041 w 11675306"/>
              <a:gd name="connsiteY124" fmla="*/ 360335 h 4456611"/>
              <a:gd name="connsiteX125" fmla="*/ 11044681 w 11675306"/>
              <a:gd name="connsiteY125" fmla="*/ 413576 h 4456611"/>
              <a:gd name="connsiteX126" fmla="*/ 11101378 w 11675306"/>
              <a:gd name="connsiteY126" fmla="*/ 520467 h 4456611"/>
              <a:gd name="connsiteX127" fmla="*/ 11304643 w 11675306"/>
              <a:gd name="connsiteY127" fmla="*/ 618150 h 4456611"/>
              <a:gd name="connsiteX128" fmla="*/ 11351068 w 11675306"/>
              <a:gd name="connsiteY128" fmla="*/ 642494 h 4456611"/>
              <a:gd name="connsiteX129" fmla="*/ 11415571 w 11675306"/>
              <a:gd name="connsiteY129" fmla="*/ 637736 h 4456611"/>
              <a:gd name="connsiteX130" fmla="*/ 11491681 w 11675306"/>
              <a:gd name="connsiteY130" fmla="*/ 639064 h 4456611"/>
              <a:gd name="connsiteX131" fmla="*/ 11542729 w 11675306"/>
              <a:gd name="connsiteY131" fmla="*/ 734090 h 4456611"/>
              <a:gd name="connsiteX132" fmla="*/ 11594700 w 11675306"/>
              <a:gd name="connsiteY132" fmla="*/ 776181 h 4456611"/>
              <a:gd name="connsiteX133" fmla="*/ 11606102 w 11675306"/>
              <a:gd name="connsiteY133" fmla="*/ 794030 h 4456611"/>
              <a:gd name="connsiteX134" fmla="*/ 11661262 w 11675306"/>
              <a:gd name="connsiteY134" fmla="*/ 1324499 h 4456611"/>
              <a:gd name="connsiteX135" fmla="*/ 11670918 w 11675306"/>
              <a:gd name="connsiteY135" fmla="*/ 1442336 h 4456611"/>
              <a:gd name="connsiteX136" fmla="*/ 11646473 w 11675306"/>
              <a:gd name="connsiteY136" fmla="*/ 1500743 h 4456611"/>
              <a:gd name="connsiteX137" fmla="*/ 11637954 w 11675306"/>
              <a:gd name="connsiteY137" fmla="*/ 1505250 h 4456611"/>
              <a:gd name="connsiteX138" fmla="*/ 11637952 w 11675306"/>
              <a:gd name="connsiteY138" fmla="*/ 1505325 h 4456611"/>
              <a:gd name="connsiteX139" fmla="*/ 11639542 w 11675306"/>
              <a:gd name="connsiteY139" fmla="*/ 1722248 h 4456611"/>
              <a:gd name="connsiteX140" fmla="*/ 11636130 w 11675306"/>
              <a:gd name="connsiteY140" fmla="*/ 1747121 h 4456611"/>
              <a:gd name="connsiteX141" fmla="*/ 11639542 w 11675306"/>
              <a:gd name="connsiteY141" fmla="*/ 1771994 h 4456611"/>
              <a:gd name="connsiteX142" fmla="*/ 11637952 w 11675306"/>
              <a:gd name="connsiteY142" fmla="*/ 1988917 h 4456611"/>
              <a:gd name="connsiteX143" fmla="*/ 11637953 w 11675306"/>
              <a:gd name="connsiteY143" fmla="*/ 1988993 h 4456611"/>
              <a:gd name="connsiteX144" fmla="*/ 11646473 w 11675306"/>
              <a:gd name="connsiteY144" fmla="*/ 1993499 h 4456611"/>
              <a:gd name="connsiteX145" fmla="*/ 11670917 w 11675306"/>
              <a:gd name="connsiteY145" fmla="*/ 2051906 h 4456611"/>
              <a:gd name="connsiteX146" fmla="*/ 11661261 w 11675306"/>
              <a:gd name="connsiteY146" fmla="*/ 2169743 h 4456611"/>
              <a:gd name="connsiteX147" fmla="*/ 11606102 w 11675306"/>
              <a:gd name="connsiteY147" fmla="*/ 2700212 h 4456611"/>
              <a:gd name="connsiteX148" fmla="*/ 11594701 w 11675306"/>
              <a:gd name="connsiteY148" fmla="*/ 2718061 h 4456611"/>
              <a:gd name="connsiteX149" fmla="*/ 11542728 w 11675306"/>
              <a:gd name="connsiteY149" fmla="*/ 2760152 h 4456611"/>
              <a:gd name="connsiteX150" fmla="*/ 11515875 w 11675306"/>
              <a:gd name="connsiteY150" fmla="*/ 2806217 h 4456611"/>
              <a:gd name="connsiteX151" fmla="*/ 11542727 w 11675306"/>
              <a:gd name="connsiteY151" fmla="*/ 2852278 h 4456611"/>
              <a:gd name="connsiteX152" fmla="*/ 11594699 w 11675306"/>
              <a:gd name="connsiteY152" fmla="*/ 2894369 h 4456611"/>
              <a:gd name="connsiteX153" fmla="*/ 11606100 w 11675306"/>
              <a:gd name="connsiteY153" fmla="*/ 2912218 h 4456611"/>
              <a:gd name="connsiteX154" fmla="*/ 11661260 w 11675306"/>
              <a:gd name="connsiteY154" fmla="*/ 3442687 h 4456611"/>
              <a:gd name="connsiteX155" fmla="*/ 11670915 w 11675306"/>
              <a:gd name="connsiteY155" fmla="*/ 3560523 h 4456611"/>
              <a:gd name="connsiteX156" fmla="*/ 11646470 w 11675306"/>
              <a:gd name="connsiteY156" fmla="*/ 3618931 h 4456611"/>
              <a:gd name="connsiteX157" fmla="*/ 11610317 w 11675306"/>
              <a:gd name="connsiteY157" fmla="*/ 3677133 h 4456611"/>
              <a:gd name="connsiteX158" fmla="*/ 11637949 w 11675306"/>
              <a:gd name="connsiteY158" fmla="*/ 4107105 h 4456611"/>
              <a:gd name="connsiteX159" fmla="*/ 11643291 w 11675306"/>
              <a:gd name="connsiteY159" fmla="*/ 4136615 h 4456611"/>
              <a:gd name="connsiteX160" fmla="*/ 11612889 w 11675306"/>
              <a:gd name="connsiteY160" fmla="*/ 4200802 h 4456611"/>
              <a:gd name="connsiteX161" fmla="*/ 11541300 w 11675306"/>
              <a:gd name="connsiteY161" fmla="*/ 4276036 h 4456611"/>
              <a:gd name="connsiteX162" fmla="*/ 11438485 w 11675306"/>
              <a:gd name="connsiteY162" fmla="*/ 4127156 h 4456611"/>
              <a:gd name="connsiteX163" fmla="*/ 11382099 w 11675306"/>
              <a:gd name="connsiteY163" fmla="*/ 4337975 h 4456611"/>
              <a:gd name="connsiteX164" fmla="*/ 11330845 w 11675306"/>
              <a:gd name="connsiteY164" fmla="*/ 4254712 h 4456611"/>
              <a:gd name="connsiteX165" fmla="*/ 11039762 w 11675306"/>
              <a:gd name="connsiteY165" fmla="*/ 4155498 h 4456611"/>
              <a:gd name="connsiteX166" fmla="*/ 10846254 w 11675306"/>
              <a:gd name="connsiteY166" fmla="*/ 4169770 h 4456611"/>
              <a:gd name="connsiteX167" fmla="*/ 10642783 w 11675306"/>
              <a:gd name="connsiteY167" fmla="*/ 4083851 h 4456611"/>
              <a:gd name="connsiteX168" fmla="*/ 10628211 w 11675306"/>
              <a:gd name="connsiteY168" fmla="*/ 4121838 h 4456611"/>
              <a:gd name="connsiteX169" fmla="*/ 10618976 w 11675306"/>
              <a:gd name="connsiteY169" fmla="*/ 4156366 h 4456611"/>
              <a:gd name="connsiteX170" fmla="*/ 10610425 w 11675306"/>
              <a:gd name="connsiteY170" fmla="*/ 4150025 h 4456611"/>
              <a:gd name="connsiteX171" fmla="*/ 10594407 w 11675306"/>
              <a:gd name="connsiteY171" fmla="*/ 4171258 h 4456611"/>
              <a:gd name="connsiteX172" fmla="*/ 10562773 w 11675306"/>
              <a:gd name="connsiteY172" fmla="*/ 4306023 h 4456611"/>
              <a:gd name="connsiteX173" fmla="*/ 10502479 w 11675306"/>
              <a:gd name="connsiteY173" fmla="*/ 4069635 h 4456611"/>
              <a:gd name="connsiteX174" fmla="*/ 10488615 w 11675306"/>
              <a:gd name="connsiteY174" fmla="*/ 4192945 h 4456611"/>
              <a:gd name="connsiteX175" fmla="*/ 10429145 w 11675306"/>
              <a:gd name="connsiteY175" fmla="*/ 4244857 h 4456611"/>
              <a:gd name="connsiteX176" fmla="*/ 10307125 w 11675306"/>
              <a:gd name="connsiteY176" fmla="*/ 4189777 h 4456611"/>
              <a:gd name="connsiteX177" fmla="*/ 10137651 w 11675306"/>
              <a:gd name="connsiteY177" fmla="*/ 4169168 h 4456611"/>
              <a:gd name="connsiteX178" fmla="*/ 10097799 w 11675306"/>
              <a:gd name="connsiteY178" fmla="*/ 4103755 h 4456611"/>
              <a:gd name="connsiteX179" fmla="*/ 9990980 w 11675306"/>
              <a:gd name="connsiteY179" fmla="*/ 4184258 h 4456611"/>
              <a:gd name="connsiteX180" fmla="*/ 9862588 w 11675306"/>
              <a:gd name="connsiteY180" fmla="*/ 3823130 h 4456611"/>
              <a:gd name="connsiteX181" fmla="*/ 9825305 w 11675306"/>
              <a:gd name="connsiteY181" fmla="*/ 3946030 h 4456611"/>
              <a:gd name="connsiteX182" fmla="*/ 9777443 w 11675306"/>
              <a:gd name="connsiteY182" fmla="*/ 4004028 h 4456611"/>
              <a:gd name="connsiteX183" fmla="*/ 9724444 w 11675306"/>
              <a:gd name="connsiteY183" fmla="*/ 4020754 h 4456611"/>
              <a:gd name="connsiteX184" fmla="*/ 9635701 w 11675306"/>
              <a:gd name="connsiteY184" fmla="*/ 4072156 h 4456611"/>
              <a:gd name="connsiteX185" fmla="*/ 9501048 w 11675306"/>
              <a:gd name="connsiteY185" fmla="*/ 4069804 h 4456611"/>
              <a:gd name="connsiteX186" fmla="*/ 9379129 w 11675306"/>
              <a:gd name="connsiteY186" fmla="*/ 4008842 h 4456611"/>
              <a:gd name="connsiteX187" fmla="*/ 9349857 w 11675306"/>
              <a:gd name="connsiteY187" fmla="*/ 4008331 h 4456611"/>
              <a:gd name="connsiteX188" fmla="*/ 9295626 w 11675306"/>
              <a:gd name="connsiteY188" fmla="*/ 4095636 h 4456611"/>
              <a:gd name="connsiteX189" fmla="*/ 9322742 w 11675306"/>
              <a:gd name="connsiteY189" fmla="*/ 4219660 h 4456611"/>
              <a:gd name="connsiteX190" fmla="*/ 9213046 w 11675306"/>
              <a:gd name="connsiteY190" fmla="*/ 4129495 h 4456611"/>
              <a:gd name="connsiteX191" fmla="*/ 9184800 w 11675306"/>
              <a:gd name="connsiteY191" fmla="*/ 4070168 h 4456611"/>
              <a:gd name="connsiteX192" fmla="*/ 9118861 w 11675306"/>
              <a:gd name="connsiteY192" fmla="*/ 4157269 h 4456611"/>
              <a:gd name="connsiteX193" fmla="*/ 9085889 w 11675306"/>
              <a:gd name="connsiteY193" fmla="*/ 4033141 h 4456611"/>
              <a:gd name="connsiteX194" fmla="*/ 9042546 w 11675306"/>
              <a:gd name="connsiteY194" fmla="*/ 4167702 h 4456611"/>
              <a:gd name="connsiteX195" fmla="*/ 8969107 w 11675306"/>
              <a:gd name="connsiteY195" fmla="*/ 4013452 h 4456611"/>
              <a:gd name="connsiteX196" fmla="*/ 8978558 w 11675306"/>
              <a:gd name="connsiteY196" fmla="*/ 4143052 h 4456611"/>
              <a:gd name="connsiteX197" fmla="*/ 8919190 w 11675306"/>
              <a:gd name="connsiteY197" fmla="*/ 4189084 h 4456611"/>
              <a:gd name="connsiteX198" fmla="*/ 8569767 w 11675306"/>
              <a:gd name="connsiteY198" fmla="*/ 4077082 h 4456611"/>
              <a:gd name="connsiteX199" fmla="*/ 8475274 w 11675306"/>
              <a:gd name="connsiteY199" fmla="*/ 4122501 h 4456611"/>
              <a:gd name="connsiteX200" fmla="*/ 8395774 w 11675306"/>
              <a:gd name="connsiteY200" fmla="*/ 3979911 h 4456611"/>
              <a:gd name="connsiteX201" fmla="*/ 8320282 w 11675306"/>
              <a:gd name="connsiteY201" fmla="*/ 3943293 h 4456611"/>
              <a:gd name="connsiteX202" fmla="*/ 8331275 w 11675306"/>
              <a:gd name="connsiteY202" fmla="*/ 4320023 h 4456611"/>
              <a:gd name="connsiteX203" fmla="*/ 8269852 w 11675306"/>
              <a:gd name="connsiteY203" fmla="*/ 4148332 h 4456611"/>
              <a:gd name="connsiteX204" fmla="*/ 8241195 w 11675306"/>
              <a:gd name="connsiteY204" fmla="*/ 4112531 h 4456611"/>
              <a:gd name="connsiteX205" fmla="*/ 8205452 w 11675306"/>
              <a:gd name="connsiteY205" fmla="*/ 4147208 h 4456611"/>
              <a:gd name="connsiteX206" fmla="*/ 8163239 w 11675306"/>
              <a:gd name="connsiteY206" fmla="*/ 4217072 h 4456611"/>
              <a:gd name="connsiteX207" fmla="*/ 8046045 w 11675306"/>
              <a:gd name="connsiteY207" fmla="*/ 4220910 h 4456611"/>
              <a:gd name="connsiteX208" fmla="*/ 7977847 w 11675306"/>
              <a:gd name="connsiteY208" fmla="*/ 4437405 h 4456611"/>
              <a:gd name="connsiteX209" fmla="*/ 7896397 w 11675306"/>
              <a:gd name="connsiteY209" fmla="*/ 4406567 h 4456611"/>
              <a:gd name="connsiteX210" fmla="*/ 7885715 w 11675306"/>
              <a:gd name="connsiteY210" fmla="*/ 4347546 h 4456611"/>
              <a:gd name="connsiteX211" fmla="*/ 7869897 w 11675306"/>
              <a:gd name="connsiteY211" fmla="*/ 4247252 h 4456611"/>
              <a:gd name="connsiteX212" fmla="*/ 7864555 w 11675306"/>
              <a:gd name="connsiteY212" fmla="*/ 4217742 h 4456611"/>
              <a:gd name="connsiteX213" fmla="*/ 7778277 w 11675306"/>
              <a:gd name="connsiteY213" fmla="*/ 4127985 h 4456611"/>
              <a:gd name="connsiteX214" fmla="*/ 7651223 w 11675306"/>
              <a:gd name="connsiteY214" fmla="*/ 4025750 h 4456611"/>
              <a:gd name="connsiteX215" fmla="*/ 7631195 w 11675306"/>
              <a:gd name="connsiteY215" fmla="*/ 4166602 h 4456611"/>
              <a:gd name="connsiteX216" fmla="*/ 7520986 w 11675306"/>
              <a:gd name="connsiteY216" fmla="*/ 4105843 h 4456611"/>
              <a:gd name="connsiteX217" fmla="*/ 7492021 w 11675306"/>
              <a:gd name="connsiteY217" fmla="*/ 4087688 h 4456611"/>
              <a:gd name="connsiteX218" fmla="*/ 7428032 w 11675306"/>
              <a:gd name="connsiteY218" fmla="*/ 4063037 h 4456611"/>
              <a:gd name="connsiteX219" fmla="*/ 7416323 w 11675306"/>
              <a:gd name="connsiteY219" fmla="*/ 4062833 h 4456611"/>
              <a:gd name="connsiteX220" fmla="*/ 7315462 w 11675306"/>
              <a:gd name="connsiteY220" fmla="*/ 4137557 h 4456611"/>
              <a:gd name="connsiteX221" fmla="*/ 7239147 w 11675306"/>
              <a:gd name="connsiteY221" fmla="*/ 4147992 h 4456611"/>
              <a:gd name="connsiteX222" fmla="*/ 7174542 w 11675306"/>
              <a:gd name="connsiteY222" fmla="*/ 4158631 h 4456611"/>
              <a:gd name="connsiteX223" fmla="*/ 7159955 w 11675306"/>
              <a:gd name="connsiteY223" fmla="*/ 3987757 h 4456611"/>
              <a:gd name="connsiteX224" fmla="*/ 7154101 w 11675306"/>
              <a:gd name="connsiteY224" fmla="*/ 3987655 h 4456611"/>
              <a:gd name="connsiteX225" fmla="*/ 7142188 w 11675306"/>
              <a:gd name="connsiteY225" fmla="*/ 3999214 h 4456611"/>
              <a:gd name="connsiteX226" fmla="*/ 7130478 w 11675306"/>
              <a:gd name="connsiteY226" fmla="*/ 3999009 h 4456611"/>
              <a:gd name="connsiteX227" fmla="*/ 7095762 w 11675306"/>
              <a:gd name="connsiteY227" fmla="*/ 3974870 h 4456611"/>
              <a:gd name="connsiteX228" fmla="*/ 7077890 w 11675306"/>
              <a:gd name="connsiteY228" fmla="*/ 3992208 h 4456611"/>
              <a:gd name="connsiteX229" fmla="*/ 6912834 w 11675306"/>
              <a:gd name="connsiteY229" fmla="*/ 4054044 h 4456611"/>
              <a:gd name="connsiteX230" fmla="*/ 6771299 w 11675306"/>
              <a:gd name="connsiteY230" fmla="*/ 4110408 h 4456611"/>
              <a:gd name="connsiteX231" fmla="*/ 6677832 w 11675306"/>
              <a:gd name="connsiteY231" fmla="*/ 4097010 h 4456611"/>
              <a:gd name="connsiteX232" fmla="*/ 6632535 w 11675306"/>
              <a:gd name="connsiteY232" fmla="*/ 4007969 h 4456611"/>
              <a:gd name="connsiteX233" fmla="*/ 6607064 w 11675306"/>
              <a:gd name="connsiteY233" fmla="*/ 4125191 h 4456611"/>
              <a:gd name="connsiteX234" fmla="*/ 6594637 w 11675306"/>
              <a:gd name="connsiteY234" fmla="*/ 4166158 h 4456611"/>
              <a:gd name="connsiteX235" fmla="*/ 6482065 w 11675306"/>
              <a:gd name="connsiteY235" fmla="*/ 4240678 h 4456611"/>
              <a:gd name="connsiteX236" fmla="*/ 6410373 w 11675306"/>
              <a:gd name="connsiteY236" fmla="*/ 4321794 h 4456611"/>
              <a:gd name="connsiteX237" fmla="*/ 6383052 w 11675306"/>
              <a:gd name="connsiteY237" fmla="*/ 4209532 h 4456611"/>
              <a:gd name="connsiteX238" fmla="*/ 6385208 w 11675306"/>
              <a:gd name="connsiteY238" fmla="*/ 4086018 h 4456611"/>
              <a:gd name="connsiteX239" fmla="*/ 6322556 w 11675306"/>
              <a:gd name="connsiteY239" fmla="*/ 4320261 h 4456611"/>
              <a:gd name="connsiteX240" fmla="*/ 6143527 w 11675306"/>
              <a:gd name="connsiteY240" fmla="*/ 3840581 h 4456611"/>
              <a:gd name="connsiteX241" fmla="*/ 6129559 w 11675306"/>
              <a:gd name="connsiteY241" fmla="*/ 3969772 h 4456611"/>
              <a:gd name="connsiteX242" fmla="*/ 6083646 w 11675306"/>
              <a:gd name="connsiteY242" fmla="*/ 3916019 h 4456611"/>
              <a:gd name="connsiteX243" fmla="*/ 5944578 w 11675306"/>
              <a:gd name="connsiteY243" fmla="*/ 4166578 h 4456611"/>
              <a:gd name="connsiteX244" fmla="*/ 5940777 w 11675306"/>
              <a:gd name="connsiteY244" fmla="*/ 4048844 h 4456611"/>
              <a:gd name="connsiteX245" fmla="*/ 5859225 w 11675306"/>
              <a:gd name="connsiteY245" fmla="*/ 4023887 h 4456611"/>
              <a:gd name="connsiteX246" fmla="*/ 5802116 w 11675306"/>
              <a:gd name="connsiteY246" fmla="*/ 3940522 h 4456611"/>
              <a:gd name="connsiteX247" fmla="*/ 5747475 w 11675306"/>
              <a:gd name="connsiteY247" fmla="*/ 4051354 h 4456611"/>
              <a:gd name="connsiteX248" fmla="*/ 5728679 w 11675306"/>
              <a:gd name="connsiteY248" fmla="*/ 4121625 h 4456611"/>
              <a:gd name="connsiteX249" fmla="*/ 5676605 w 11675306"/>
              <a:gd name="connsiteY249" fmla="*/ 4085416 h 4456611"/>
              <a:gd name="connsiteX250" fmla="*/ 5592794 w 11675306"/>
              <a:gd name="connsiteY250" fmla="*/ 4189855 h 4456611"/>
              <a:gd name="connsiteX251" fmla="*/ 5527984 w 11675306"/>
              <a:gd name="connsiteY251" fmla="*/ 4212258 h 4456611"/>
              <a:gd name="connsiteX252" fmla="*/ 5462454 w 11675306"/>
              <a:gd name="connsiteY252" fmla="*/ 4275831 h 4456611"/>
              <a:gd name="connsiteX253" fmla="*/ 5477964 w 11675306"/>
              <a:gd name="connsiteY253" fmla="*/ 4393770 h 4456611"/>
              <a:gd name="connsiteX254" fmla="*/ 5459580 w 11675306"/>
              <a:gd name="connsiteY254" fmla="*/ 4440515 h 4456611"/>
              <a:gd name="connsiteX255" fmla="*/ 5399903 w 11675306"/>
              <a:gd name="connsiteY255" fmla="*/ 4168838 h 4456611"/>
              <a:gd name="connsiteX256" fmla="*/ 5337764 w 11675306"/>
              <a:gd name="connsiteY256" fmla="*/ 4373672 h 4456611"/>
              <a:gd name="connsiteX257" fmla="*/ 5327800 w 11675306"/>
              <a:gd name="connsiteY257" fmla="*/ 4273480 h 4456611"/>
              <a:gd name="connsiteX258" fmla="*/ 5264427 w 11675306"/>
              <a:gd name="connsiteY258" fmla="*/ 4213540 h 4456611"/>
              <a:gd name="connsiteX259" fmla="*/ 5206293 w 11675306"/>
              <a:gd name="connsiteY259" fmla="*/ 4188992 h 4456611"/>
              <a:gd name="connsiteX260" fmla="*/ 5142713 w 11675306"/>
              <a:gd name="connsiteY260" fmla="*/ 4140815 h 4456611"/>
              <a:gd name="connsiteX261" fmla="*/ 5141585 w 11675306"/>
              <a:gd name="connsiteY261" fmla="*/ 4205513 h 4456611"/>
              <a:gd name="connsiteX262" fmla="*/ 5052330 w 11675306"/>
              <a:gd name="connsiteY262" fmla="*/ 4286323 h 4456611"/>
              <a:gd name="connsiteX263" fmla="*/ 5049247 w 11675306"/>
              <a:gd name="connsiteY263" fmla="*/ 4127416 h 4456611"/>
              <a:gd name="connsiteX264" fmla="*/ 5020796 w 11675306"/>
              <a:gd name="connsiteY264" fmla="*/ 4079853 h 4456611"/>
              <a:gd name="connsiteX265" fmla="*/ 4991215 w 11675306"/>
              <a:gd name="connsiteY265" fmla="*/ 4096987 h 4456611"/>
              <a:gd name="connsiteX266" fmla="*/ 4897131 w 11675306"/>
              <a:gd name="connsiteY266" fmla="*/ 4118877 h 4456611"/>
              <a:gd name="connsiteX267" fmla="*/ 4837970 w 11675306"/>
              <a:gd name="connsiteY267" fmla="*/ 4153146 h 4456611"/>
              <a:gd name="connsiteX268" fmla="*/ 4838073 w 11675306"/>
              <a:gd name="connsiteY268" fmla="*/ 4147264 h 4456611"/>
              <a:gd name="connsiteX269" fmla="*/ 4786717 w 11675306"/>
              <a:gd name="connsiteY269" fmla="*/ 4069883 h 4456611"/>
              <a:gd name="connsiteX270" fmla="*/ 4738546 w 11675306"/>
              <a:gd name="connsiteY270" fmla="*/ 4145527 h 4456611"/>
              <a:gd name="connsiteX271" fmla="*/ 4712972 w 11675306"/>
              <a:gd name="connsiteY271" fmla="*/ 4268632 h 4456611"/>
              <a:gd name="connsiteX272" fmla="*/ 4688938 w 11675306"/>
              <a:gd name="connsiteY272" fmla="*/ 4303513 h 4456611"/>
              <a:gd name="connsiteX273" fmla="*/ 4677948 w 11675306"/>
              <a:gd name="connsiteY273" fmla="*/ 4262137 h 4456611"/>
              <a:gd name="connsiteX274" fmla="*/ 4667265 w 11675306"/>
              <a:gd name="connsiteY274" fmla="*/ 4203117 h 4456611"/>
              <a:gd name="connsiteX275" fmla="*/ 4648880 w 11675306"/>
              <a:gd name="connsiteY275" fmla="*/ 4249863 h 4456611"/>
              <a:gd name="connsiteX276" fmla="*/ 4523369 w 11675306"/>
              <a:gd name="connsiteY276" fmla="*/ 4394757 h 4456611"/>
              <a:gd name="connsiteX277" fmla="*/ 4493788 w 11675306"/>
              <a:gd name="connsiteY277" fmla="*/ 4411892 h 4456611"/>
              <a:gd name="connsiteX278" fmla="*/ 4482079 w 11675306"/>
              <a:gd name="connsiteY278" fmla="*/ 4411686 h 4456611"/>
              <a:gd name="connsiteX279" fmla="*/ 4479098 w 11675306"/>
              <a:gd name="connsiteY279" fmla="*/ 4246899 h 4456611"/>
              <a:gd name="connsiteX280" fmla="*/ 4491321 w 11675306"/>
              <a:gd name="connsiteY280" fmla="*/ 4217696 h 4456611"/>
              <a:gd name="connsiteX281" fmla="*/ 4515355 w 11675306"/>
              <a:gd name="connsiteY281" fmla="*/ 4182815 h 4456611"/>
              <a:gd name="connsiteX282" fmla="*/ 4481051 w 11675306"/>
              <a:gd name="connsiteY282" fmla="*/ 4135149 h 4456611"/>
              <a:gd name="connsiteX283" fmla="*/ 4433700 w 11675306"/>
              <a:gd name="connsiteY283" fmla="*/ 4163739 h 4456611"/>
              <a:gd name="connsiteX284" fmla="*/ 4366733 w 11675306"/>
              <a:gd name="connsiteY284" fmla="*/ 4309656 h 4456611"/>
              <a:gd name="connsiteX285" fmla="*/ 4357797 w 11675306"/>
              <a:gd name="connsiteY285" fmla="*/ 4150648 h 4456611"/>
              <a:gd name="connsiteX286" fmla="*/ 4341055 w 11675306"/>
              <a:gd name="connsiteY286" fmla="*/ 4103288 h 4456611"/>
              <a:gd name="connsiteX287" fmla="*/ 4293602 w 11675306"/>
              <a:gd name="connsiteY287" fmla="*/ 4137760 h 4456611"/>
              <a:gd name="connsiteX288" fmla="*/ 4279531 w 11675306"/>
              <a:gd name="connsiteY288" fmla="*/ 4272833 h 4456611"/>
              <a:gd name="connsiteX289" fmla="*/ 4282819 w 11675306"/>
              <a:gd name="connsiteY289" fmla="*/ 4419976 h 4456611"/>
              <a:gd name="connsiteX290" fmla="*/ 4227355 w 11675306"/>
              <a:gd name="connsiteY290" fmla="*/ 4242505 h 4456611"/>
              <a:gd name="connsiteX291" fmla="*/ 4074932 w 11675306"/>
              <a:gd name="connsiteY291" fmla="*/ 4251611 h 4456611"/>
              <a:gd name="connsiteX292" fmla="*/ 4034258 w 11675306"/>
              <a:gd name="connsiteY292" fmla="*/ 4233252 h 4456611"/>
              <a:gd name="connsiteX293" fmla="*/ 3974481 w 11675306"/>
              <a:gd name="connsiteY293" fmla="*/ 4302809 h 4456611"/>
              <a:gd name="connsiteX294" fmla="*/ 3972838 w 11675306"/>
              <a:gd name="connsiteY294" fmla="*/ 4396915 h 4456611"/>
              <a:gd name="connsiteX295" fmla="*/ 3933602 w 11675306"/>
              <a:gd name="connsiteY295" fmla="*/ 4296212 h 4456611"/>
              <a:gd name="connsiteX296" fmla="*/ 3867765 w 11675306"/>
              <a:gd name="connsiteY296" fmla="*/ 4377430 h 4456611"/>
              <a:gd name="connsiteX297" fmla="*/ 3832227 w 11675306"/>
              <a:gd name="connsiteY297" fmla="*/ 4400344 h 4456611"/>
              <a:gd name="connsiteX298" fmla="*/ 3815280 w 11675306"/>
              <a:gd name="connsiteY298" fmla="*/ 4364747 h 4456611"/>
              <a:gd name="connsiteX299" fmla="*/ 3782308 w 11675306"/>
              <a:gd name="connsiteY299" fmla="*/ 4240621 h 4456611"/>
              <a:gd name="connsiteX300" fmla="*/ 3717292 w 11675306"/>
              <a:gd name="connsiteY300" fmla="*/ 4274786 h 4456611"/>
              <a:gd name="connsiteX301" fmla="*/ 3724995 w 11675306"/>
              <a:gd name="connsiteY301" fmla="*/ 4169019 h 4456611"/>
              <a:gd name="connsiteX302" fmla="*/ 3582844 w 11675306"/>
              <a:gd name="connsiteY302" fmla="*/ 4260673 h 4456611"/>
              <a:gd name="connsiteX303" fmla="*/ 3524298 w 11675306"/>
              <a:gd name="connsiteY303" fmla="*/ 4259651 h 4456611"/>
              <a:gd name="connsiteX304" fmla="*/ 3507864 w 11675306"/>
              <a:gd name="connsiteY304" fmla="*/ 4194646 h 4456611"/>
              <a:gd name="connsiteX305" fmla="*/ 3474688 w 11675306"/>
              <a:gd name="connsiteY305" fmla="*/ 4082283 h 4456611"/>
              <a:gd name="connsiteX306" fmla="*/ 3473250 w 11675306"/>
              <a:gd name="connsiteY306" fmla="*/ 4164625 h 4456611"/>
              <a:gd name="connsiteX307" fmla="*/ 3444183 w 11675306"/>
              <a:gd name="connsiteY307" fmla="*/ 4152351 h 4456611"/>
              <a:gd name="connsiteX308" fmla="*/ 3397141 w 11675306"/>
              <a:gd name="connsiteY308" fmla="*/ 4163297 h 4456611"/>
              <a:gd name="connsiteX309" fmla="*/ 3289809 w 11675306"/>
              <a:gd name="connsiteY309" fmla="*/ 4273207 h 4456611"/>
              <a:gd name="connsiteX310" fmla="*/ 3241741 w 11675306"/>
              <a:gd name="connsiteY310" fmla="*/ 4342969 h 4456611"/>
              <a:gd name="connsiteX311" fmla="*/ 3175801 w 11675306"/>
              <a:gd name="connsiteY311" fmla="*/ 4430069 h 4456611"/>
              <a:gd name="connsiteX312" fmla="*/ 3110991 w 11675306"/>
              <a:gd name="connsiteY312" fmla="*/ 4452472 h 4456611"/>
              <a:gd name="connsiteX313" fmla="*/ 3029336 w 11675306"/>
              <a:gd name="connsiteY313" fmla="*/ 4433397 h 4456611"/>
              <a:gd name="connsiteX314" fmla="*/ 2902281 w 11675306"/>
              <a:gd name="connsiteY314" fmla="*/ 4331161 h 4456611"/>
              <a:gd name="connsiteX315" fmla="*/ 2856369 w 11675306"/>
              <a:gd name="connsiteY315" fmla="*/ 4277408 h 4456611"/>
              <a:gd name="connsiteX316" fmla="*/ 2751706 w 11675306"/>
              <a:gd name="connsiteY316" fmla="*/ 4234398 h 4456611"/>
              <a:gd name="connsiteX317" fmla="*/ 2740099 w 11675306"/>
              <a:gd name="connsiteY317" fmla="*/ 4228312 h 4456611"/>
              <a:gd name="connsiteX318" fmla="*/ 2547414 w 11675306"/>
              <a:gd name="connsiteY318" fmla="*/ 4195532 h 4456611"/>
              <a:gd name="connsiteX319" fmla="*/ 2453330 w 11675306"/>
              <a:gd name="connsiteY319" fmla="*/ 4217423 h 4456611"/>
              <a:gd name="connsiteX320" fmla="*/ 2352469 w 11675306"/>
              <a:gd name="connsiteY320" fmla="*/ 4292146 h 4456611"/>
              <a:gd name="connsiteX321" fmla="*/ 2223567 w 11675306"/>
              <a:gd name="connsiteY321" fmla="*/ 4295780 h 4456611"/>
              <a:gd name="connsiteX322" fmla="*/ 2179194 w 11675306"/>
              <a:gd name="connsiteY322" fmla="*/ 4153804 h 4456611"/>
              <a:gd name="connsiteX323" fmla="*/ 2173751 w 11675306"/>
              <a:gd name="connsiteY323" fmla="*/ 4130176 h 4456611"/>
              <a:gd name="connsiteX324" fmla="*/ 2145812 w 11675306"/>
              <a:gd name="connsiteY324" fmla="*/ 4053203 h 4456611"/>
              <a:gd name="connsiteX325" fmla="*/ 2046388 w 11675306"/>
              <a:gd name="connsiteY325" fmla="*/ 4045585 h 4456611"/>
              <a:gd name="connsiteX326" fmla="*/ 1997909 w 11675306"/>
              <a:gd name="connsiteY326" fmla="*/ 4138873 h 4456611"/>
              <a:gd name="connsiteX327" fmla="*/ 1965352 w 11675306"/>
              <a:gd name="connsiteY327" fmla="*/ 4326573 h 4456611"/>
              <a:gd name="connsiteX328" fmla="*/ 1874143 w 11675306"/>
              <a:gd name="connsiteY328" fmla="*/ 4183780 h 4456611"/>
              <a:gd name="connsiteX329" fmla="*/ 1767324 w 11675306"/>
              <a:gd name="connsiteY329" fmla="*/ 4264283 h 4456611"/>
              <a:gd name="connsiteX330" fmla="*/ 1769377 w 11675306"/>
              <a:gd name="connsiteY330" fmla="*/ 4146651 h 4456611"/>
              <a:gd name="connsiteX331" fmla="*/ 1814671 w 11675306"/>
              <a:gd name="connsiteY331" fmla="*/ 3900339 h 4456611"/>
              <a:gd name="connsiteX332" fmla="*/ 1656086 w 11675306"/>
              <a:gd name="connsiteY332" fmla="*/ 3926987 h 4456611"/>
              <a:gd name="connsiteX333" fmla="*/ 1603703 w 11675306"/>
              <a:gd name="connsiteY333" fmla="*/ 3908422 h 4456611"/>
              <a:gd name="connsiteX334" fmla="*/ 1585318 w 11675306"/>
              <a:gd name="connsiteY334" fmla="*/ 3955168 h 4456611"/>
              <a:gd name="connsiteX335" fmla="*/ 1570324 w 11675306"/>
              <a:gd name="connsiteY335" fmla="*/ 4143176 h 4456611"/>
              <a:gd name="connsiteX336" fmla="*/ 1554814 w 11675306"/>
              <a:gd name="connsiteY336" fmla="*/ 4025238 h 4456611"/>
              <a:gd name="connsiteX337" fmla="*/ 1400337 w 11675306"/>
              <a:gd name="connsiteY337" fmla="*/ 4151976 h 4456611"/>
              <a:gd name="connsiteX338" fmla="*/ 1382774 w 11675306"/>
              <a:gd name="connsiteY338" fmla="*/ 4151669 h 4456611"/>
              <a:gd name="connsiteX339" fmla="*/ 1319195 w 11675306"/>
              <a:gd name="connsiteY339" fmla="*/ 4103492 h 4456611"/>
              <a:gd name="connsiteX340" fmla="*/ 1201592 w 11675306"/>
              <a:gd name="connsiteY340" fmla="*/ 4130856 h 4456611"/>
              <a:gd name="connsiteX341" fmla="*/ 1165540 w 11675306"/>
              <a:gd name="connsiteY341" fmla="*/ 4183178 h 4456611"/>
              <a:gd name="connsiteX342" fmla="*/ 1147566 w 11675306"/>
              <a:gd name="connsiteY342" fmla="*/ 4206397 h 4456611"/>
              <a:gd name="connsiteX343" fmla="*/ 1104839 w 11675306"/>
              <a:gd name="connsiteY343" fmla="*/ 4305669 h 4456611"/>
              <a:gd name="connsiteX344" fmla="*/ 1068272 w 11675306"/>
              <a:gd name="connsiteY344" fmla="*/ 4052045 h 4456611"/>
              <a:gd name="connsiteX345" fmla="*/ 1039820 w 11675306"/>
              <a:gd name="connsiteY345" fmla="*/ 4004481 h 4456611"/>
              <a:gd name="connsiteX346" fmla="*/ 1021743 w 11675306"/>
              <a:gd name="connsiteY346" fmla="*/ 4033583 h 4456611"/>
              <a:gd name="connsiteX347" fmla="*/ 991341 w 11675306"/>
              <a:gd name="connsiteY347" fmla="*/ 4097770 h 4456611"/>
              <a:gd name="connsiteX348" fmla="*/ 972648 w 11675306"/>
              <a:gd name="connsiteY348" fmla="*/ 4162160 h 4456611"/>
              <a:gd name="connsiteX349" fmla="*/ 961863 w 11675306"/>
              <a:gd name="connsiteY349" fmla="*/ 4109022 h 4456611"/>
              <a:gd name="connsiteX350" fmla="*/ 852372 w 11675306"/>
              <a:gd name="connsiteY350" fmla="*/ 4007093 h 4456611"/>
              <a:gd name="connsiteX351" fmla="*/ 719669 w 11675306"/>
              <a:gd name="connsiteY351" fmla="*/ 3892992 h 4456611"/>
              <a:gd name="connsiteX352" fmla="*/ 753051 w 11675306"/>
              <a:gd name="connsiteY352" fmla="*/ 3993592 h 4456611"/>
              <a:gd name="connsiteX353" fmla="*/ 775134 w 11675306"/>
              <a:gd name="connsiteY353" fmla="*/ 4070462 h 4456611"/>
              <a:gd name="connsiteX354" fmla="*/ 729120 w 11675306"/>
              <a:gd name="connsiteY354" fmla="*/ 4022592 h 4456611"/>
              <a:gd name="connsiteX355" fmla="*/ 723368 w 11675306"/>
              <a:gd name="connsiteY355" fmla="*/ 4016608 h 4456611"/>
              <a:gd name="connsiteX356" fmla="*/ 723265 w 11675306"/>
              <a:gd name="connsiteY356" fmla="*/ 4022490 h 4456611"/>
              <a:gd name="connsiteX357" fmla="*/ 729120 w 11675306"/>
              <a:gd name="connsiteY357" fmla="*/ 4022592 h 4456611"/>
              <a:gd name="connsiteX358" fmla="*/ 721417 w 11675306"/>
              <a:gd name="connsiteY358" fmla="*/ 4128359 h 4456611"/>
              <a:gd name="connsiteX359" fmla="*/ 348063 w 11675306"/>
              <a:gd name="connsiteY359" fmla="*/ 4045357 h 4456611"/>
              <a:gd name="connsiteX360" fmla="*/ 337791 w 11675306"/>
              <a:gd name="connsiteY360" fmla="*/ 3962810 h 4456611"/>
              <a:gd name="connsiteX361" fmla="*/ 307800 w 11675306"/>
              <a:gd name="connsiteY361" fmla="*/ 4003471 h 4456611"/>
              <a:gd name="connsiteX362" fmla="*/ 302868 w 11675306"/>
              <a:gd name="connsiteY362" fmla="*/ 3950434 h 4456611"/>
              <a:gd name="connsiteX363" fmla="*/ 284894 w 11675306"/>
              <a:gd name="connsiteY363" fmla="*/ 3973654 h 4456611"/>
              <a:gd name="connsiteX364" fmla="*/ 202828 w 11675306"/>
              <a:gd name="connsiteY364" fmla="*/ 3978104 h 4456611"/>
              <a:gd name="connsiteX365" fmla="*/ 163078 w 11675306"/>
              <a:gd name="connsiteY365" fmla="*/ 3906811 h 4456611"/>
              <a:gd name="connsiteX366" fmla="*/ 105252 w 11675306"/>
              <a:gd name="connsiteY366" fmla="*/ 3864617 h 4456611"/>
              <a:gd name="connsiteX367" fmla="*/ 87997 w 11675306"/>
              <a:gd name="connsiteY367" fmla="*/ 3846665 h 4456611"/>
              <a:gd name="connsiteX368" fmla="*/ 21948 w 11675306"/>
              <a:gd name="connsiteY368" fmla="*/ 3268939 h 4456611"/>
              <a:gd name="connsiteX369" fmla="*/ 16710 w 11675306"/>
              <a:gd name="connsiteY369" fmla="*/ 3233547 h 4456611"/>
              <a:gd name="connsiteX370" fmla="*/ 41566 w 11675306"/>
              <a:gd name="connsiteY370" fmla="*/ 3151614 h 4456611"/>
              <a:gd name="connsiteX371" fmla="*/ 77924 w 11675306"/>
              <a:gd name="connsiteY371" fmla="*/ 3081648 h 4456611"/>
              <a:gd name="connsiteX372" fmla="*/ 67479 w 11675306"/>
              <a:gd name="connsiteY372" fmla="*/ 3046684 h 4456611"/>
              <a:gd name="connsiteX373" fmla="*/ 57585 w 11675306"/>
              <a:gd name="connsiteY373" fmla="*/ 3042993 h 4456611"/>
              <a:gd name="connsiteX374" fmla="*/ 15474 w 11675306"/>
              <a:gd name="connsiteY374" fmla="*/ 2979011 h 4456611"/>
              <a:gd name="connsiteX375" fmla="*/ 31908 w 11675306"/>
              <a:gd name="connsiteY375" fmla="*/ 2914006 h 4456611"/>
              <a:gd name="connsiteX376" fmla="*/ 28597 w 11675306"/>
              <a:gd name="connsiteY376" fmla="*/ 2808163 h 4456611"/>
              <a:gd name="connsiteX377" fmla="*/ 28697 w 11675306"/>
              <a:gd name="connsiteY377" fmla="*/ 2806232 h 4456611"/>
              <a:gd name="connsiteX378" fmla="*/ 28595 w 11675306"/>
              <a:gd name="connsiteY378" fmla="*/ 2804267 h 4456611"/>
              <a:gd name="connsiteX379" fmla="*/ 31907 w 11675306"/>
              <a:gd name="connsiteY379" fmla="*/ 2698423 h 4456611"/>
              <a:gd name="connsiteX380" fmla="*/ 15473 w 11675306"/>
              <a:gd name="connsiteY380" fmla="*/ 2633418 h 4456611"/>
              <a:gd name="connsiteX381" fmla="*/ 57584 w 11675306"/>
              <a:gd name="connsiteY381" fmla="*/ 2569437 h 4456611"/>
              <a:gd name="connsiteX382" fmla="*/ 67482 w 11675306"/>
              <a:gd name="connsiteY382" fmla="*/ 2565744 h 4456611"/>
              <a:gd name="connsiteX383" fmla="*/ 77926 w 11675306"/>
              <a:gd name="connsiteY383" fmla="*/ 2530782 h 4456611"/>
              <a:gd name="connsiteX384" fmla="*/ 41567 w 11675306"/>
              <a:gd name="connsiteY384" fmla="*/ 2460816 h 4456611"/>
              <a:gd name="connsiteX385" fmla="*/ 16712 w 11675306"/>
              <a:gd name="connsiteY385" fmla="*/ 2378882 h 4456611"/>
              <a:gd name="connsiteX386" fmla="*/ 21951 w 11675306"/>
              <a:gd name="connsiteY386" fmla="*/ 2343490 h 4456611"/>
              <a:gd name="connsiteX387" fmla="*/ 87998 w 11675306"/>
              <a:gd name="connsiteY387" fmla="*/ 1765764 h 4456611"/>
              <a:gd name="connsiteX388" fmla="*/ 105253 w 11675306"/>
              <a:gd name="connsiteY388" fmla="*/ 1747812 h 4456611"/>
              <a:gd name="connsiteX389" fmla="*/ 130148 w 11675306"/>
              <a:gd name="connsiteY389" fmla="*/ 1753354 h 4456611"/>
              <a:gd name="connsiteX390" fmla="*/ 138502 w 11675306"/>
              <a:gd name="connsiteY390" fmla="*/ 1747121 h 4456611"/>
              <a:gd name="connsiteX391" fmla="*/ 130148 w 11675306"/>
              <a:gd name="connsiteY391" fmla="*/ 1740888 h 4456611"/>
              <a:gd name="connsiteX392" fmla="*/ 105253 w 11675306"/>
              <a:gd name="connsiteY392" fmla="*/ 1746429 h 4456611"/>
              <a:gd name="connsiteX393" fmla="*/ 87998 w 11675306"/>
              <a:gd name="connsiteY393" fmla="*/ 1728477 h 4456611"/>
              <a:gd name="connsiteX394" fmla="*/ 21951 w 11675306"/>
              <a:gd name="connsiteY394" fmla="*/ 1150752 h 4456611"/>
              <a:gd name="connsiteX395" fmla="*/ 16712 w 11675306"/>
              <a:gd name="connsiteY395" fmla="*/ 1115360 h 4456611"/>
              <a:gd name="connsiteX396" fmla="*/ 41567 w 11675306"/>
              <a:gd name="connsiteY396" fmla="*/ 1033426 h 4456611"/>
              <a:gd name="connsiteX397" fmla="*/ 77927 w 11675306"/>
              <a:gd name="connsiteY397" fmla="*/ 963459 h 4456611"/>
              <a:gd name="connsiteX398" fmla="*/ 34067 w 11675306"/>
              <a:gd name="connsiteY398" fmla="*/ 792076 h 4456611"/>
              <a:gd name="connsiteX399" fmla="*/ 31909 w 11675306"/>
              <a:gd name="connsiteY399" fmla="*/ 580235 h 4456611"/>
              <a:gd name="connsiteX400" fmla="*/ 15474 w 11675306"/>
              <a:gd name="connsiteY400" fmla="*/ 515231 h 4456611"/>
              <a:gd name="connsiteX401" fmla="*/ 57585 w 11675306"/>
              <a:gd name="connsiteY401" fmla="*/ 451248 h 4456611"/>
              <a:gd name="connsiteX402" fmla="*/ 135337 w 11675306"/>
              <a:gd name="connsiteY402" fmla="*/ 358471 h 4456611"/>
              <a:gd name="connsiteX403" fmla="*/ 238152 w 11675306"/>
              <a:gd name="connsiteY403" fmla="*/ 507351 h 4456611"/>
              <a:gd name="connsiteX404" fmla="*/ 288992 w 11675306"/>
              <a:gd name="connsiteY404" fmla="*/ 278786 h 4456611"/>
              <a:gd name="connsiteX405" fmla="*/ 731883 w 11675306"/>
              <a:gd name="connsiteY405" fmla="*/ 404184 h 4456611"/>
              <a:gd name="connsiteX406" fmla="*/ 1041557 w 11675306"/>
              <a:gd name="connsiteY406" fmla="*/ 444890 h 4456611"/>
              <a:gd name="connsiteX407" fmla="*/ 1054293 w 11675306"/>
              <a:gd name="connsiteY407" fmla="*/ 386278 h 4456611"/>
              <a:gd name="connsiteX408" fmla="*/ 1090344 w 11675306"/>
              <a:gd name="connsiteY408" fmla="*/ 333957 h 4456611"/>
              <a:gd name="connsiteX409" fmla="*/ 1109652 w 11675306"/>
              <a:gd name="connsiteY409" fmla="*/ 234276 h 4456611"/>
              <a:gd name="connsiteX410" fmla="*/ 1154641 w 11675306"/>
              <a:gd name="connsiteY410" fmla="*/ 340963 h 4456611"/>
              <a:gd name="connsiteX411" fmla="*/ 1193671 w 11675306"/>
              <a:gd name="connsiteY411" fmla="*/ 453429 h 4456611"/>
              <a:gd name="connsiteX412" fmla="*/ 1196136 w 11675306"/>
              <a:gd name="connsiteY412" fmla="*/ 312271 h 4456611"/>
              <a:gd name="connsiteX413" fmla="*/ 1243793 w 11675306"/>
              <a:gd name="connsiteY413" fmla="*/ 266035 h 4456611"/>
              <a:gd name="connsiteX414" fmla="*/ 1377627 w 11675306"/>
              <a:gd name="connsiteY414" fmla="*/ 315438 h 4456611"/>
              <a:gd name="connsiteX415" fmla="*/ 1553365 w 11675306"/>
              <a:gd name="connsiteY415" fmla="*/ 312622 h 4456611"/>
              <a:gd name="connsiteX416" fmla="*/ 1700035 w 11675306"/>
              <a:gd name="connsiteY416" fmla="*/ 297532 h 4456611"/>
              <a:gd name="connsiteX417" fmla="*/ 1808499 w 11675306"/>
              <a:gd name="connsiteY417" fmla="*/ 458277 h 4456611"/>
              <a:gd name="connsiteX418" fmla="*/ 1822676 w 11675306"/>
              <a:gd name="connsiteY418" fmla="*/ 652677 h 4456611"/>
              <a:gd name="connsiteX419" fmla="*/ 1859445 w 11675306"/>
              <a:gd name="connsiteY419" fmla="*/ 559184 h 4456611"/>
              <a:gd name="connsiteX420" fmla="*/ 1925488 w 11675306"/>
              <a:gd name="connsiteY420" fmla="*/ 466203 h 4456611"/>
              <a:gd name="connsiteX421" fmla="*/ 1978692 w 11675306"/>
              <a:gd name="connsiteY421" fmla="*/ 437714 h 4456611"/>
              <a:gd name="connsiteX422" fmla="*/ 2032409 w 11675306"/>
              <a:gd name="connsiteY422" fmla="*/ 379818 h 4456611"/>
              <a:gd name="connsiteX423" fmla="*/ 2312092 w 11675306"/>
              <a:gd name="connsiteY423" fmla="*/ 461184 h 4456611"/>
              <a:gd name="connsiteX424" fmla="*/ 2363137 w 11675306"/>
              <a:gd name="connsiteY424" fmla="*/ 220855 h 4456611"/>
              <a:gd name="connsiteX425" fmla="*/ 2478277 w 11675306"/>
              <a:gd name="connsiteY425" fmla="*/ 334650 h 4456611"/>
              <a:gd name="connsiteX426" fmla="*/ 2506934 w 11675306"/>
              <a:gd name="connsiteY426" fmla="*/ 370451 h 4456611"/>
              <a:gd name="connsiteX427" fmla="*/ 2542472 w 11675306"/>
              <a:gd name="connsiteY427" fmla="*/ 347537 h 4456611"/>
              <a:gd name="connsiteX428" fmla="*/ 2560856 w 11675306"/>
              <a:gd name="connsiteY428" fmla="*/ 300791 h 4456611"/>
              <a:gd name="connsiteX429" fmla="*/ 2566712 w 11675306"/>
              <a:gd name="connsiteY429" fmla="*/ 300893 h 4456611"/>
              <a:gd name="connsiteX430" fmla="*/ 2572566 w 11675306"/>
              <a:gd name="connsiteY430" fmla="*/ 300996 h 4456611"/>
              <a:gd name="connsiteX431" fmla="*/ 2588486 w 11675306"/>
              <a:gd name="connsiteY431" fmla="*/ 395408 h 4456611"/>
              <a:gd name="connsiteX432" fmla="*/ 2624743 w 11675306"/>
              <a:gd name="connsiteY432" fmla="*/ 331323 h 4456611"/>
              <a:gd name="connsiteX433" fmla="*/ 2648161 w 11675306"/>
              <a:gd name="connsiteY433" fmla="*/ 331732 h 4456611"/>
              <a:gd name="connsiteX434" fmla="*/ 2652784 w 11675306"/>
              <a:gd name="connsiteY434" fmla="*/ 402413 h 4456611"/>
              <a:gd name="connsiteX435" fmla="*/ 2699004 w 11675306"/>
              <a:gd name="connsiteY435" fmla="*/ 438520 h 4456611"/>
              <a:gd name="connsiteX436" fmla="*/ 2717286 w 11675306"/>
              <a:gd name="connsiteY436" fmla="*/ 397656 h 4456611"/>
              <a:gd name="connsiteX437" fmla="*/ 2712561 w 11675306"/>
              <a:gd name="connsiteY437" fmla="*/ 332856 h 4456611"/>
              <a:gd name="connsiteX438" fmla="*/ 2795756 w 11675306"/>
              <a:gd name="connsiteY438" fmla="*/ 263707 h 4456611"/>
              <a:gd name="connsiteX439" fmla="*/ 3162846 w 11675306"/>
              <a:gd name="connsiteY439" fmla="*/ 370133 h 4456611"/>
              <a:gd name="connsiteX440" fmla="*/ 3221288 w 11675306"/>
              <a:gd name="connsiteY440" fmla="*/ 377036 h 4456611"/>
              <a:gd name="connsiteX441" fmla="*/ 3284765 w 11675306"/>
              <a:gd name="connsiteY441" fmla="*/ 431095 h 4456611"/>
              <a:gd name="connsiteX442" fmla="*/ 3365702 w 11675306"/>
              <a:gd name="connsiteY442" fmla="*/ 491342 h 4456611"/>
              <a:gd name="connsiteX443" fmla="*/ 3359023 w 11675306"/>
              <a:gd name="connsiteY443" fmla="*/ 202938 h 4456611"/>
              <a:gd name="connsiteX444" fmla="*/ 3420651 w 11675306"/>
              <a:gd name="connsiteY444" fmla="*/ 362866 h 4456611"/>
              <a:gd name="connsiteX445" fmla="*/ 3479299 w 11675306"/>
              <a:gd name="connsiteY445" fmla="*/ 358006 h 4456611"/>
              <a:gd name="connsiteX446" fmla="*/ 3515863 w 11675306"/>
              <a:gd name="connsiteY446" fmla="*/ 276277 h 4456611"/>
              <a:gd name="connsiteX447" fmla="*/ 3663253 w 11675306"/>
              <a:gd name="connsiteY447" fmla="*/ 220016 h 4456611"/>
              <a:gd name="connsiteX448" fmla="*/ 3712964 w 11675306"/>
              <a:gd name="connsiteY448" fmla="*/ 56148 h 4456611"/>
              <a:gd name="connsiteX449" fmla="*/ 3823276 w 11675306"/>
              <a:gd name="connsiteY449" fmla="*/ 111024 h 4456611"/>
              <a:gd name="connsiteX450" fmla="*/ 3786096 w 11675306"/>
              <a:gd name="connsiteY450" fmla="*/ 228043 h 4456611"/>
              <a:gd name="connsiteX451" fmla="*/ 3937183 w 11675306"/>
              <a:gd name="connsiteY451" fmla="*/ 295398 h 4456611"/>
              <a:gd name="connsiteX452" fmla="*/ 3975083 w 11675306"/>
              <a:gd name="connsiteY452" fmla="*/ 137207 h 4456611"/>
              <a:gd name="connsiteX453" fmla="*/ 3998397 w 11675306"/>
              <a:gd name="connsiteY453" fmla="*/ 143498 h 4456611"/>
              <a:gd name="connsiteX454" fmla="*/ 3989874 w 11675306"/>
              <a:gd name="connsiteY454" fmla="*/ 296318 h 4456611"/>
              <a:gd name="connsiteX455" fmla="*/ 4052528 w 11675306"/>
              <a:gd name="connsiteY455" fmla="*/ 397429 h 4456611"/>
              <a:gd name="connsiteX456" fmla="*/ 4065674 w 11675306"/>
              <a:gd name="connsiteY456" fmla="*/ 315291 h 4456611"/>
              <a:gd name="connsiteX457" fmla="*/ 4310333 w 11675306"/>
              <a:gd name="connsiteY457" fmla="*/ 390163 h 4456611"/>
              <a:gd name="connsiteX458" fmla="*/ 4417254 w 11675306"/>
              <a:gd name="connsiteY458" fmla="*/ 303777 h 4456611"/>
              <a:gd name="connsiteX459" fmla="*/ 4516166 w 11675306"/>
              <a:gd name="connsiteY459" fmla="*/ 340804 h 4456611"/>
              <a:gd name="connsiteX460" fmla="*/ 4531778 w 11675306"/>
              <a:gd name="connsiteY460" fmla="*/ 452862 h 4456611"/>
              <a:gd name="connsiteX461" fmla="*/ 4568035 w 11675306"/>
              <a:gd name="connsiteY461" fmla="*/ 388777 h 4456611"/>
              <a:gd name="connsiteX462" fmla="*/ 4566700 w 11675306"/>
              <a:gd name="connsiteY462" fmla="*/ 465238 h 4456611"/>
              <a:gd name="connsiteX463" fmla="*/ 4655956 w 11675306"/>
              <a:gd name="connsiteY463" fmla="*/ 384429 h 4456611"/>
              <a:gd name="connsiteX464" fmla="*/ 4726106 w 11675306"/>
              <a:gd name="connsiteY464" fmla="*/ 391536 h 4456611"/>
              <a:gd name="connsiteX465" fmla="*/ 4819779 w 11675306"/>
              <a:gd name="connsiteY465" fmla="*/ 393171 h 4456611"/>
              <a:gd name="connsiteX466" fmla="*/ 4891060 w 11675306"/>
              <a:gd name="connsiteY466" fmla="*/ 335581 h 4456611"/>
              <a:gd name="connsiteX467" fmla="*/ 5008049 w 11675306"/>
              <a:gd name="connsiteY467" fmla="*/ 343507 h 4456611"/>
              <a:gd name="connsiteX468" fmla="*/ 5065463 w 11675306"/>
              <a:gd name="connsiteY468" fmla="*/ 409226 h 4456611"/>
              <a:gd name="connsiteX469" fmla="*/ 5078097 w 11675306"/>
              <a:gd name="connsiteY469" fmla="*/ 356497 h 4456611"/>
              <a:gd name="connsiteX470" fmla="*/ 5144139 w 11675306"/>
              <a:gd name="connsiteY470" fmla="*/ 263515 h 4456611"/>
              <a:gd name="connsiteX471" fmla="*/ 5185840 w 11675306"/>
              <a:gd name="connsiteY471" fmla="*/ 223059 h 4456611"/>
              <a:gd name="connsiteX472" fmla="*/ 5275916 w 11675306"/>
              <a:gd name="connsiteY472" fmla="*/ 95196 h 4456611"/>
              <a:gd name="connsiteX473" fmla="*/ 5308990 w 11675306"/>
              <a:gd name="connsiteY473" fmla="*/ 213442 h 4456611"/>
              <a:gd name="connsiteX474" fmla="*/ 5312586 w 11675306"/>
              <a:gd name="connsiteY474" fmla="*/ 342939 h 4456611"/>
              <a:gd name="connsiteX475" fmla="*/ 5351615 w 11675306"/>
              <a:gd name="connsiteY475" fmla="*/ 120051 h 4456611"/>
              <a:gd name="connsiteX476" fmla="*/ 5386125 w 11675306"/>
              <a:gd name="connsiteY476" fmla="*/ 155954 h 4456611"/>
              <a:gd name="connsiteX477" fmla="*/ 5452069 w 11675306"/>
              <a:gd name="connsiteY477" fmla="*/ 404208 h 4456611"/>
              <a:gd name="connsiteX478" fmla="*/ 5457614 w 11675306"/>
              <a:gd name="connsiteY478" fmla="*/ 421955 h 4456611"/>
              <a:gd name="connsiteX479" fmla="*/ 5548310 w 11675306"/>
              <a:gd name="connsiteY479" fmla="*/ 594156 h 4456611"/>
              <a:gd name="connsiteX480" fmla="*/ 5556115 w 11675306"/>
              <a:gd name="connsiteY480" fmla="*/ 482508 h 4456611"/>
              <a:gd name="connsiteX481" fmla="*/ 5607779 w 11675306"/>
              <a:gd name="connsiteY481" fmla="*/ 542244 h 4456611"/>
              <a:gd name="connsiteX482" fmla="*/ 5747258 w 11675306"/>
              <a:gd name="connsiteY482" fmla="*/ 268159 h 4456611"/>
              <a:gd name="connsiteX483" fmla="*/ 5744897 w 11675306"/>
              <a:gd name="connsiteY483" fmla="*/ 403436 h 4456611"/>
              <a:gd name="connsiteX484" fmla="*/ 5832510 w 11675306"/>
              <a:gd name="connsiteY484" fmla="*/ 416732 h 4456611"/>
              <a:gd name="connsiteX485" fmla="*/ 5854901 w 11675306"/>
              <a:gd name="connsiteY485" fmla="*/ 475957 h 4456611"/>
              <a:gd name="connsiteX486" fmla="*/ 5889413 w 11675306"/>
              <a:gd name="connsiteY486" fmla="*/ 511860 h 4456611"/>
              <a:gd name="connsiteX487" fmla="*/ 5925258 w 11675306"/>
              <a:gd name="connsiteY487" fmla="*/ 471301 h 4456611"/>
              <a:gd name="connsiteX488" fmla="*/ 5944875 w 11675306"/>
              <a:gd name="connsiteY488" fmla="*/ 353976 h 4456611"/>
              <a:gd name="connsiteX489" fmla="*/ 5992225 w 11675306"/>
              <a:gd name="connsiteY489" fmla="*/ 325386 h 4456611"/>
              <a:gd name="connsiteX490" fmla="*/ 6051180 w 11675306"/>
              <a:gd name="connsiteY490" fmla="*/ 302881 h 4456611"/>
              <a:gd name="connsiteX491" fmla="*/ 6105001 w 11675306"/>
              <a:gd name="connsiteY491" fmla="*/ 239103 h 4456611"/>
              <a:gd name="connsiteX492" fmla="*/ 6152145 w 11675306"/>
              <a:gd name="connsiteY492" fmla="*/ 222275 h 4456611"/>
              <a:gd name="connsiteX493" fmla="*/ 6223528 w 11675306"/>
              <a:gd name="connsiteY493" fmla="*/ 158804 h 4456611"/>
              <a:gd name="connsiteX494" fmla="*/ 6207813 w 11675306"/>
              <a:gd name="connsiteY494" fmla="*/ 52629 h 4456611"/>
              <a:gd name="connsiteX495" fmla="*/ 6226300 w 11675306"/>
              <a:gd name="connsiteY495" fmla="*/ 0 h 445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Lst>
            <a:rect l="l" t="t" r="r" b="b"/>
            <a:pathLst>
              <a:path w="11675306" h="4456611">
                <a:moveTo>
                  <a:pt x="10618976" y="4156366"/>
                </a:moveTo>
                <a:lnTo>
                  <a:pt x="10623885" y="4160004"/>
                </a:lnTo>
                <a:cubicBezTo>
                  <a:pt x="10623885" y="4160004"/>
                  <a:pt x="10623885" y="4160004"/>
                  <a:pt x="10618030" y="4159903"/>
                </a:cubicBezTo>
                <a:close/>
                <a:moveTo>
                  <a:pt x="6143530" y="1722392"/>
                </a:moveTo>
                <a:lnTo>
                  <a:pt x="6138631" y="1747121"/>
                </a:lnTo>
                <a:lnTo>
                  <a:pt x="6143530" y="1771849"/>
                </a:lnTo>
                <a:lnTo>
                  <a:pt x="6156158" y="1747121"/>
                </a:lnTo>
                <a:close/>
                <a:moveTo>
                  <a:pt x="9857349" y="1710126"/>
                </a:moveTo>
                <a:lnTo>
                  <a:pt x="9834377" y="1732855"/>
                </a:lnTo>
                <a:lnTo>
                  <a:pt x="9829704" y="1747120"/>
                </a:lnTo>
                <a:lnTo>
                  <a:pt x="9834377" y="1761387"/>
                </a:lnTo>
                <a:lnTo>
                  <a:pt x="9857350" y="1784115"/>
                </a:lnTo>
                <a:lnTo>
                  <a:pt x="9859798" y="1747121"/>
                </a:lnTo>
                <a:close/>
                <a:moveTo>
                  <a:pt x="6226300" y="0"/>
                </a:moveTo>
                <a:cubicBezTo>
                  <a:pt x="6231333" y="47155"/>
                  <a:pt x="6236469" y="88429"/>
                  <a:pt x="6241605" y="129702"/>
                </a:cubicBezTo>
                <a:cubicBezTo>
                  <a:pt x="6246639" y="176857"/>
                  <a:pt x="6251671" y="224012"/>
                  <a:pt x="6286183" y="259915"/>
                </a:cubicBezTo>
                <a:cubicBezTo>
                  <a:pt x="6328191" y="201814"/>
                  <a:pt x="6306108" y="124945"/>
                  <a:pt x="6353971" y="66947"/>
                </a:cubicBezTo>
                <a:cubicBezTo>
                  <a:pt x="6364961" y="108322"/>
                  <a:pt x="6376054" y="143816"/>
                  <a:pt x="6363626" y="184783"/>
                </a:cubicBezTo>
                <a:cubicBezTo>
                  <a:pt x="6351097" y="231632"/>
                  <a:pt x="6415496" y="232756"/>
                  <a:pt x="6438708" y="244928"/>
                </a:cubicBezTo>
                <a:cubicBezTo>
                  <a:pt x="6537620" y="281955"/>
                  <a:pt x="6549432" y="276278"/>
                  <a:pt x="6633551" y="154194"/>
                </a:cubicBezTo>
                <a:cubicBezTo>
                  <a:pt x="6655839" y="219300"/>
                  <a:pt x="6672582" y="266660"/>
                  <a:pt x="6624719" y="324659"/>
                </a:cubicBezTo>
                <a:cubicBezTo>
                  <a:pt x="6600787" y="353658"/>
                  <a:pt x="6582505" y="394523"/>
                  <a:pt x="6616913" y="436307"/>
                </a:cubicBezTo>
                <a:cubicBezTo>
                  <a:pt x="6640742" y="413189"/>
                  <a:pt x="6629444" y="389459"/>
                  <a:pt x="6629957" y="360051"/>
                </a:cubicBezTo>
                <a:cubicBezTo>
                  <a:pt x="6653170" y="372223"/>
                  <a:pt x="6687784" y="402243"/>
                  <a:pt x="6694665" y="343530"/>
                </a:cubicBezTo>
                <a:cubicBezTo>
                  <a:pt x="6695589" y="290596"/>
                  <a:pt x="6731025" y="273564"/>
                  <a:pt x="6783715" y="274483"/>
                </a:cubicBezTo>
                <a:cubicBezTo>
                  <a:pt x="6801074" y="286553"/>
                  <a:pt x="6777245" y="309671"/>
                  <a:pt x="6800354" y="327725"/>
                </a:cubicBezTo>
                <a:cubicBezTo>
                  <a:pt x="6812474" y="304403"/>
                  <a:pt x="6830346" y="287064"/>
                  <a:pt x="6842465" y="263742"/>
                </a:cubicBezTo>
                <a:cubicBezTo>
                  <a:pt x="6848218" y="269726"/>
                  <a:pt x="6854072" y="269827"/>
                  <a:pt x="6854072" y="269827"/>
                </a:cubicBezTo>
                <a:cubicBezTo>
                  <a:pt x="6865165" y="305321"/>
                  <a:pt x="6858284" y="364036"/>
                  <a:pt x="6899265" y="364752"/>
                </a:cubicBezTo>
                <a:cubicBezTo>
                  <a:pt x="6951957" y="365671"/>
                  <a:pt x="6941274" y="306651"/>
                  <a:pt x="6947744" y="271463"/>
                </a:cubicBezTo>
                <a:cubicBezTo>
                  <a:pt x="6966232" y="218835"/>
                  <a:pt x="6967258" y="160019"/>
                  <a:pt x="6991601" y="107493"/>
                </a:cubicBezTo>
                <a:cubicBezTo>
                  <a:pt x="7043880" y="131939"/>
                  <a:pt x="6978454" y="189631"/>
                  <a:pt x="7024879" y="213975"/>
                </a:cubicBezTo>
                <a:cubicBezTo>
                  <a:pt x="7036589" y="214179"/>
                  <a:pt x="7036794" y="202416"/>
                  <a:pt x="7036897" y="196535"/>
                </a:cubicBezTo>
                <a:cubicBezTo>
                  <a:pt x="7038437" y="108310"/>
                  <a:pt x="7068838" y="44124"/>
                  <a:pt x="7168571" y="34098"/>
                </a:cubicBezTo>
                <a:cubicBezTo>
                  <a:pt x="7180280" y="34303"/>
                  <a:pt x="7192194" y="22744"/>
                  <a:pt x="7204006" y="17066"/>
                </a:cubicBezTo>
                <a:cubicBezTo>
                  <a:pt x="7203904" y="22948"/>
                  <a:pt x="7203904" y="22948"/>
                  <a:pt x="7209759" y="23050"/>
                </a:cubicBezTo>
                <a:cubicBezTo>
                  <a:pt x="7173707" y="75371"/>
                  <a:pt x="7178637" y="128408"/>
                  <a:pt x="7206987" y="181853"/>
                </a:cubicBezTo>
                <a:cubicBezTo>
                  <a:pt x="7218387" y="199703"/>
                  <a:pt x="7223933" y="217449"/>
                  <a:pt x="7194661" y="216939"/>
                </a:cubicBezTo>
                <a:cubicBezTo>
                  <a:pt x="7177097" y="216632"/>
                  <a:pt x="7165286" y="222310"/>
                  <a:pt x="7170730" y="245938"/>
                </a:cubicBezTo>
                <a:cubicBezTo>
                  <a:pt x="7176276" y="263685"/>
                  <a:pt x="7187780" y="275653"/>
                  <a:pt x="7205240" y="281841"/>
                </a:cubicBezTo>
                <a:cubicBezTo>
                  <a:pt x="7222702" y="288029"/>
                  <a:pt x="7234617" y="276470"/>
                  <a:pt x="7246530" y="264911"/>
                </a:cubicBezTo>
                <a:cubicBezTo>
                  <a:pt x="7282376" y="224353"/>
                  <a:pt x="7300966" y="165844"/>
                  <a:pt x="7336914" y="119404"/>
                </a:cubicBezTo>
                <a:cubicBezTo>
                  <a:pt x="7336298" y="154694"/>
                  <a:pt x="7335682" y="189983"/>
                  <a:pt x="7335066" y="225273"/>
                </a:cubicBezTo>
                <a:cubicBezTo>
                  <a:pt x="7334450" y="260563"/>
                  <a:pt x="7327980" y="295750"/>
                  <a:pt x="7350783" y="331449"/>
                </a:cubicBezTo>
                <a:cubicBezTo>
                  <a:pt x="7469413" y="245268"/>
                  <a:pt x="7377897" y="120120"/>
                  <a:pt x="7409120" y="8880"/>
                </a:cubicBezTo>
                <a:cubicBezTo>
                  <a:pt x="7443118" y="74191"/>
                  <a:pt x="7442091" y="133007"/>
                  <a:pt x="7458629" y="192130"/>
                </a:cubicBezTo>
                <a:cubicBezTo>
                  <a:pt x="7470645" y="174689"/>
                  <a:pt x="7482559" y="163130"/>
                  <a:pt x="7494474" y="151571"/>
                </a:cubicBezTo>
                <a:cubicBezTo>
                  <a:pt x="7518611" y="110809"/>
                  <a:pt x="7547780" y="117201"/>
                  <a:pt x="7576540" y="147121"/>
                </a:cubicBezTo>
                <a:cubicBezTo>
                  <a:pt x="7599547" y="171056"/>
                  <a:pt x="7628101" y="212738"/>
                  <a:pt x="7657681" y="195604"/>
                </a:cubicBezTo>
                <a:cubicBezTo>
                  <a:pt x="7687262" y="178470"/>
                  <a:pt x="7746219" y="155965"/>
                  <a:pt x="7706469" y="84671"/>
                </a:cubicBezTo>
                <a:cubicBezTo>
                  <a:pt x="7746424" y="144202"/>
                  <a:pt x="7770149" y="126966"/>
                  <a:pt x="7794287" y="86203"/>
                </a:cubicBezTo>
                <a:cubicBezTo>
                  <a:pt x="7800346" y="74542"/>
                  <a:pt x="7812364" y="57103"/>
                  <a:pt x="7824278" y="45544"/>
                </a:cubicBezTo>
                <a:cubicBezTo>
                  <a:pt x="7848107" y="22426"/>
                  <a:pt x="7871730" y="11072"/>
                  <a:pt x="7876661" y="64108"/>
                </a:cubicBezTo>
                <a:cubicBezTo>
                  <a:pt x="7881797" y="105382"/>
                  <a:pt x="7898642" y="146859"/>
                  <a:pt x="7909631" y="188235"/>
                </a:cubicBezTo>
                <a:cubicBezTo>
                  <a:pt x="7944862" y="182966"/>
                  <a:pt x="7939726" y="141693"/>
                  <a:pt x="7975058" y="130543"/>
                </a:cubicBezTo>
                <a:cubicBezTo>
                  <a:pt x="7967972" y="201020"/>
                  <a:pt x="7960885" y="271497"/>
                  <a:pt x="7953902" y="336093"/>
                </a:cubicBezTo>
                <a:cubicBezTo>
                  <a:pt x="7983893" y="295433"/>
                  <a:pt x="8019635" y="260756"/>
                  <a:pt x="8078386" y="250015"/>
                </a:cubicBezTo>
                <a:cubicBezTo>
                  <a:pt x="8090199" y="244337"/>
                  <a:pt x="8108069" y="226999"/>
                  <a:pt x="8096669" y="209149"/>
                </a:cubicBezTo>
                <a:cubicBezTo>
                  <a:pt x="8079927" y="161790"/>
                  <a:pt x="8120703" y="174269"/>
                  <a:pt x="8138472" y="162812"/>
                </a:cubicBezTo>
                <a:cubicBezTo>
                  <a:pt x="8150489" y="145372"/>
                  <a:pt x="8167642" y="169205"/>
                  <a:pt x="8173290" y="181071"/>
                </a:cubicBezTo>
                <a:cubicBezTo>
                  <a:pt x="8207802" y="216973"/>
                  <a:pt x="8177811" y="257633"/>
                  <a:pt x="8171341" y="292820"/>
                </a:cubicBezTo>
                <a:cubicBezTo>
                  <a:pt x="8153982" y="280751"/>
                  <a:pt x="8136726" y="262800"/>
                  <a:pt x="8124299" y="303767"/>
                </a:cubicBezTo>
                <a:cubicBezTo>
                  <a:pt x="8105502" y="374040"/>
                  <a:pt x="8169902" y="375164"/>
                  <a:pt x="8210166" y="417050"/>
                </a:cubicBezTo>
                <a:cubicBezTo>
                  <a:pt x="8211192" y="358234"/>
                  <a:pt x="8211911" y="317063"/>
                  <a:pt x="8218690" y="264230"/>
                </a:cubicBezTo>
                <a:cubicBezTo>
                  <a:pt x="8253509" y="282488"/>
                  <a:pt x="8294080" y="306731"/>
                  <a:pt x="8324276" y="254307"/>
                </a:cubicBezTo>
                <a:cubicBezTo>
                  <a:pt x="8324276" y="254307"/>
                  <a:pt x="8371421" y="237479"/>
                  <a:pt x="8394838" y="237888"/>
                </a:cubicBezTo>
                <a:cubicBezTo>
                  <a:pt x="8441881" y="226942"/>
                  <a:pt x="8454000" y="203620"/>
                  <a:pt x="8448864" y="162347"/>
                </a:cubicBezTo>
                <a:cubicBezTo>
                  <a:pt x="8443729" y="121073"/>
                  <a:pt x="8456054" y="85988"/>
                  <a:pt x="8508745" y="86908"/>
                </a:cubicBezTo>
                <a:cubicBezTo>
                  <a:pt x="8520453" y="87112"/>
                  <a:pt x="8538120" y="81537"/>
                  <a:pt x="8549932" y="75860"/>
                </a:cubicBezTo>
                <a:cubicBezTo>
                  <a:pt x="8638263" y="47985"/>
                  <a:pt x="8673080" y="66242"/>
                  <a:pt x="8694960" y="154876"/>
                </a:cubicBezTo>
                <a:cubicBezTo>
                  <a:pt x="8700301" y="184386"/>
                  <a:pt x="8700094" y="196149"/>
                  <a:pt x="8729780" y="173133"/>
                </a:cubicBezTo>
                <a:cubicBezTo>
                  <a:pt x="8735634" y="173235"/>
                  <a:pt x="8753093" y="179424"/>
                  <a:pt x="8764803" y="179629"/>
                </a:cubicBezTo>
                <a:cubicBezTo>
                  <a:pt x="8811433" y="192209"/>
                  <a:pt x="8891959" y="275982"/>
                  <a:pt x="8897097" y="317256"/>
                </a:cubicBezTo>
                <a:cubicBezTo>
                  <a:pt x="8920411" y="323546"/>
                  <a:pt x="8932634" y="294342"/>
                  <a:pt x="8956154" y="288870"/>
                </a:cubicBezTo>
                <a:cubicBezTo>
                  <a:pt x="8967454" y="312601"/>
                  <a:pt x="8972896" y="336229"/>
                  <a:pt x="8990152" y="354181"/>
                </a:cubicBezTo>
                <a:cubicBezTo>
                  <a:pt x="9001554" y="372030"/>
                  <a:pt x="9012955" y="389879"/>
                  <a:pt x="9036476" y="384406"/>
                </a:cubicBezTo>
                <a:cubicBezTo>
                  <a:pt x="9060099" y="373052"/>
                  <a:pt x="9048904" y="343440"/>
                  <a:pt x="9043357" y="325692"/>
                </a:cubicBezTo>
                <a:cubicBezTo>
                  <a:pt x="9037708" y="313827"/>
                  <a:pt x="9031956" y="307842"/>
                  <a:pt x="9026307" y="295977"/>
                </a:cubicBezTo>
                <a:cubicBezTo>
                  <a:pt x="9079099" y="291016"/>
                  <a:pt x="9072527" y="332084"/>
                  <a:pt x="9083723" y="361697"/>
                </a:cubicBezTo>
                <a:cubicBezTo>
                  <a:pt x="9114123" y="297510"/>
                  <a:pt x="9184172" y="310499"/>
                  <a:pt x="9219197" y="316995"/>
                </a:cubicBezTo>
                <a:cubicBezTo>
                  <a:pt x="9277641" y="323899"/>
                  <a:pt x="9307528" y="289119"/>
                  <a:pt x="9337314" y="260223"/>
                </a:cubicBezTo>
                <a:cubicBezTo>
                  <a:pt x="9396887" y="202428"/>
                  <a:pt x="9408595" y="202633"/>
                  <a:pt x="9466115" y="262471"/>
                </a:cubicBezTo>
                <a:cubicBezTo>
                  <a:pt x="9477617" y="274438"/>
                  <a:pt x="9483266" y="286304"/>
                  <a:pt x="9500832" y="286610"/>
                </a:cubicBezTo>
                <a:cubicBezTo>
                  <a:pt x="9518395" y="286917"/>
                  <a:pt x="9524145" y="292900"/>
                  <a:pt x="9517882" y="316324"/>
                </a:cubicBezTo>
                <a:cubicBezTo>
                  <a:pt x="9499393" y="368953"/>
                  <a:pt x="9505146" y="374937"/>
                  <a:pt x="9521681" y="434060"/>
                </a:cubicBezTo>
                <a:cubicBezTo>
                  <a:pt x="9598304" y="405980"/>
                  <a:pt x="9627270" y="424136"/>
                  <a:pt x="9631788" y="500698"/>
                </a:cubicBezTo>
                <a:cubicBezTo>
                  <a:pt x="9631686" y="506580"/>
                  <a:pt x="9625730" y="512360"/>
                  <a:pt x="9631584" y="512462"/>
                </a:cubicBezTo>
                <a:cubicBezTo>
                  <a:pt x="9637335" y="518446"/>
                  <a:pt x="9637439" y="512564"/>
                  <a:pt x="9637542" y="506683"/>
                </a:cubicBezTo>
                <a:cubicBezTo>
                  <a:pt x="9678934" y="483872"/>
                  <a:pt x="9697112" y="448889"/>
                  <a:pt x="9697935" y="401836"/>
                </a:cubicBezTo>
                <a:cubicBezTo>
                  <a:pt x="9693004" y="348799"/>
                  <a:pt x="9647297" y="283283"/>
                  <a:pt x="9729875" y="249424"/>
                </a:cubicBezTo>
                <a:cubicBezTo>
                  <a:pt x="9746617" y="296784"/>
                  <a:pt x="9804548" y="333096"/>
                  <a:pt x="9814818" y="415643"/>
                </a:cubicBezTo>
                <a:cubicBezTo>
                  <a:pt x="9833717" y="339488"/>
                  <a:pt x="9897707" y="364139"/>
                  <a:pt x="9927595" y="329360"/>
                </a:cubicBezTo>
                <a:cubicBezTo>
                  <a:pt x="9933656" y="317699"/>
                  <a:pt x="9956663" y="341634"/>
                  <a:pt x="9956456" y="353397"/>
                </a:cubicBezTo>
                <a:cubicBezTo>
                  <a:pt x="9950294" y="370940"/>
                  <a:pt x="9984909" y="400961"/>
                  <a:pt x="9943620" y="417891"/>
                </a:cubicBezTo>
                <a:cubicBezTo>
                  <a:pt x="9896475" y="434718"/>
                  <a:pt x="9866380" y="481260"/>
                  <a:pt x="9865456" y="534195"/>
                </a:cubicBezTo>
                <a:cubicBezTo>
                  <a:pt x="9865148" y="551839"/>
                  <a:pt x="9847072" y="580941"/>
                  <a:pt x="9876241" y="587333"/>
                </a:cubicBezTo>
                <a:cubicBezTo>
                  <a:pt x="9899557" y="593624"/>
                  <a:pt x="9917531" y="570404"/>
                  <a:pt x="9923797" y="546980"/>
                </a:cubicBezTo>
                <a:cubicBezTo>
                  <a:pt x="9942284" y="494352"/>
                  <a:pt x="9977206" y="506728"/>
                  <a:pt x="10012025" y="524986"/>
                </a:cubicBezTo>
                <a:cubicBezTo>
                  <a:pt x="10017778" y="530970"/>
                  <a:pt x="10023425" y="542835"/>
                  <a:pt x="10029179" y="548819"/>
                </a:cubicBezTo>
                <a:cubicBezTo>
                  <a:pt x="10034828" y="560685"/>
                  <a:pt x="10046229" y="578533"/>
                  <a:pt x="10075500" y="579044"/>
                </a:cubicBezTo>
                <a:cubicBezTo>
                  <a:pt x="10058758" y="531685"/>
                  <a:pt x="10100356" y="497110"/>
                  <a:pt x="10106930" y="456042"/>
                </a:cubicBezTo>
                <a:cubicBezTo>
                  <a:pt x="10119151" y="426838"/>
                  <a:pt x="10124083" y="479875"/>
                  <a:pt x="10141955" y="462536"/>
                </a:cubicBezTo>
                <a:cubicBezTo>
                  <a:pt x="10165679" y="445301"/>
                  <a:pt x="10183553" y="427962"/>
                  <a:pt x="10212928" y="422592"/>
                </a:cubicBezTo>
                <a:cubicBezTo>
                  <a:pt x="10218782" y="422694"/>
                  <a:pt x="10224637" y="422796"/>
                  <a:pt x="10224740" y="416914"/>
                </a:cubicBezTo>
                <a:cubicBezTo>
                  <a:pt x="10225356" y="381624"/>
                  <a:pt x="10254935" y="364490"/>
                  <a:pt x="10278662" y="347255"/>
                </a:cubicBezTo>
                <a:cubicBezTo>
                  <a:pt x="10296430" y="335798"/>
                  <a:pt x="10313995" y="336104"/>
                  <a:pt x="10319642" y="347970"/>
                </a:cubicBezTo>
                <a:cubicBezTo>
                  <a:pt x="10347580" y="424942"/>
                  <a:pt x="10366070" y="372314"/>
                  <a:pt x="10389999" y="343315"/>
                </a:cubicBezTo>
                <a:cubicBezTo>
                  <a:pt x="10395957" y="337535"/>
                  <a:pt x="10401915" y="331755"/>
                  <a:pt x="10407873" y="325976"/>
                </a:cubicBezTo>
                <a:cubicBezTo>
                  <a:pt x="10442690" y="344234"/>
                  <a:pt x="10400887" y="390572"/>
                  <a:pt x="10435912" y="397067"/>
                </a:cubicBezTo>
                <a:cubicBezTo>
                  <a:pt x="10465082" y="403460"/>
                  <a:pt x="10500311" y="398191"/>
                  <a:pt x="10529688" y="392820"/>
                </a:cubicBezTo>
                <a:cubicBezTo>
                  <a:pt x="10553310" y="381466"/>
                  <a:pt x="10559371" y="369804"/>
                  <a:pt x="10542115" y="351853"/>
                </a:cubicBezTo>
                <a:cubicBezTo>
                  <a:pt x="10530612" y="339886"/>
                  <a:pt x="10513254" y="327816"/>
                  <a:pt x="10548688" y="310784"/>
                </a:cubicBezTo>
                <a:cubicBezTo>
                  <a:pt x="10572312" y="299429"/>
                  <a:pt x="10596140" y="276311"/>
                  <a:pt x="10630856" y="300451"/>
                </a:cubicBezTo>
                <a:cubicBezTo>
                  <a:pt x="10653967" y="318505"/>
                  <a:pt x="10630344" y="329860"/>
                  <a:pt x="10624182" y="347403"/>
                </a:cubicBezTo>
                <a:cubicBezTo>
                  <a:pt x="10599838" y="399928"/>
                  <a:pt x="10622435" y="447390"/>
                  <a:pt x="10638972" y="506512"/>
                </a:cubicBezTo>
                <a:cubicBezTo>
                  <a:pt x="10669271" y="448207"/>
                  <a:pt x="10686529" y="466159"/>
                  <a:pt x="10691560" y="513314"/>
                </a:cubicBezTo>
                <a:cubicBezTo>
                  <a:pt x="10733466" y="461095"/>
                  <a:pt x="10664341" y="395171"/>
                  <a:pt x="10711998" y="348936"/>
                </a:cubicBezTo>
                <a:cubicBezTo>
                  <a:pt x="10755962" y="514438"/>
                  <a:pt x="10819437" y="568496"/>
                  <a:pt x="10936631" y="564659"/>
                </a:cubicBezTo>
                <a:cubicBezTo>
                  <a:pt x="10901914" y="540519"/>
                  <a:pt x="10919989" y="511417"/>
                  <a:pt x="10920504" y="482010"/>
                </a:cubicBezTo>
                <a:cubicBezTo>
                  <a:pt x="10949673" y="488402"/>
                  <a:pt x="10943202" y="523589"/>
                  <a:pt x="10966416" y="535761"/>
                </a:cubicBezTo>
                <a:cubicBezTo>
                  <a:pt x="10978434" y="518322"/>
                  <a:pt x="10967134" y="494590"/>
                  <a:pt x="10973296" y="477048"/>
                </a:cubicBezTo>
                <a:cubicBezTo>
                  <a:pt x="10973400" y="471166"/>
                  <a:pt x="10973604" y="459403"/>
                  <a:pt x="10973708" y="453521"/>
                </a:cubicBezTo>
                <a:cubicBezTo>
                  <a:pt x="10968571" y="412248"/>
                  <a:pt x="11020236" y="471984"/>
                  <a:pt x="11015099" y="430710"/>
                </a:cubicBezTo>
                <a:cubicBezTo>
                  <a:pt x="11009657" y="407081"/>
                  <a:pt x="10998256" y="389233"/>
                  <a:pt x="10998665" y="365705"/>
                </a:cubicBezTo>
                <a:cubicBezTo>
                  <a:pt x="10998973" y="348061"/>
                  <a:pt x="11016435" y="354249"/>
                  <a:pt x="11028041" y="360335"/>
                </a:cubicBezTo>
                <a:cubicBezTo>
                  <a:pt x="11045399" y="372405"/>
                  <a:pt x="11044989" y="395931"/>
                  <a:pt x="11044681" y="413576"/>
                </a:cubicBezTo>
                <a:cubicBezTo>
                  <a:pt x="11026091" y="472086"/>
                  <a:pt x="11066765" y="490446"/>
                  <a:pt x="11101378" y="520467"/>
                </a:cubicBezTo>
                <a:cubicBezTo>
                  <a:pt x="11164853" y="574525"/>
                  <a:pt x="11222681" y="616719"/>
                  <a:pt x="11304643" y="618150"/>
                </a:cubicBezTo>
                <a:cubicBezTo>
                  <a:pt x="11322206" y="618456"/>
                  <a:pt x="11363908" y="578000"/>
                  <a:pt x="11351068" y="642494"/>
                </a:cubicBezTo>
                <a:cubicBezTo>
                  <a:pt x="11374488" y="642902"/>
                  <a:pt x="11397393" y="672719"/>
                  <a:pt x="11415571" y="637736"/>
                </a:cubicBezTo>
                <a:cubicBezTo>
                  <a:pt x="11439812" y="591092"/>
                  <a:pt x="11468878" y="603366"/>
                  <a:pt x="11491681" y="639064"/>
                </a:cubicBezTo>
                <a:cubicBezTo>
                  <a:pt x="11508732" y="668779"/>
                  <a:pt x="11519824" y="704273"/>
                  <a:pt x="11542729" y="734090"/>
                </a:cubicBezTo>
                <a:cubicBezTo>
                  <a:pt x="11554027" y="757820"/>
                  <a:pt x="11547351" y="804772"/>
                  <a:pt x="11594700" y="776181"/>
                </a:cubicBezTo>
                <a:cubicBezTo>
                  <a:pt x="11606512" y="770503"/>
                  <a:pt x="11606204" y="788148"/>
                  <a:pt x="11606102" y="794030"/>
                </a:cubicBezTo>
                <a:cubicBezTo>
                  <a:pt x="11608877" y="970581"/>
                  <a:pt x="11652633" y="1147847"/>
                  <a:pt x="11661262" y="1324499"/>
                </a:cubicBezTo>
                <a:cubicBezTo>
                  <a:pt x="11660646" y="1359789"/>
                  <a:pt x="11624801" y="1400347"/>
                  <a:pt x="11670918" y="1442336"/>
                </a:cubicBezTo>
                <a:cubicBezTo>
                  <a:pt x="11682523" y="1448422"/>
                  <a:pt x="11669994" y="1495270"/>
                  <a:pt x="11646473" y="1500743"/>
                </a:cubicBezTo>
                <a:lnTo>
                  <a:pt x="11637954" y="1505250"/>
                </a:lnTo>
                <a:lnTo>
                  <a:pt x="11637952" y="1505325"/>
                </a:lnTo>
                <a:cubicBezTo>
                  <a:pt x="11650944" y="1578641"/>
                  <a:pt x="11647811" y="1650767"/>
                  <a:pt x="11639542" y="1722248"/>
                </a:cubicBezTo>
                <a:lnTo>
                  <a:pt x="11636130" y="1747121"/>
                </a:lnTo>
                <a:lnTo>
                  <a:pt x="11639542" y="1771994"/>
                </a:lnTo>
                <a:cubicBezTo>
                  <a:pt x="11647811" y="1843474"/>
                  <a:pt x="11650943" y="1915601"/>
                  <a:pt x="11637952" y="1988917"/>
                </a:cubicBezTo>
                <a:lnTo>
                  <a:pt x="11637953" y="1988993"/>
                </a:lnTo>
                <a:lnTo>
                  <a:pt x="11646473" y="1993499"/>
                </a:lnTo>
                <a:cubicBezTo>
                  <a:pt x="11669993" y="1998971"/>
                  <a:pt x="11682523" y="2045820"/>
                  <a:pt x="11670917" y="2051906"/>
                </a:cubicBezTo>
                <a:cubicBezTo>
                  <a:pt x="11624801" y="2093895"/>
                  <a:pt x="11660645" y="2134453"/>
                  <a:pt x="11661261" y="2169743"/>
                </a:cubicBezTo>
                <a:cubicBezTo>
                  <a:pt x="11652632" y="2346395"/>
                  <a:pt x="11608877" y="2523661"/>
                  <a:pt x="11606102" y="2700212"/>
                </a:cubicBezTo>
                <a:cubicBezTo>
                  <a:pt x="11606204" y="2706093"/>
                  <a:pt x="11606513" y="2723738"/>
                  <a:pt x="11594701" y="2718061"/>
                </a:cubicBezTo>
                <a:cubicBezTo>
                  <a:pt x="11547352" y="2689470"/>
                  <a:pt x="11554026" y="2736421"/>
                  <a:pt x="11542728" y="2760152"/>
                </a:cubicBezTo>
                <a:lnTo>
                  <a:pt x="11515875" y="2806217"/>
                </a:lnTo>
                <a:lnTo>
                  <a:pt x="11542727" y="2852278"/>
                </a:lnTo>
                <a:cubicBezTo>
                  <a:pt x="11554025" y="2876009"/>
                  <a:pt x="11547350" y="2922960"/>
                  <a:pt x="11594699" y="2894369"/>
                </a:cubicBezTo>
                <a:cubicBezTo>
                  <a:pt x="11606511" y="2888692"/>
                  <a:pt x="11606203" y="2906336"/>
                  <a:pt x="11606100" y="2912218"/>
                </a:cubicBezTo>
                <a:cubicBezTo>
                  <a:pt x="11608874" y="3088769"/>
                  <a:pt x="11652630" y="3266034"/>
                  <a:pt x="11661260" y="3442687"/>
                </a:cubicBezTo>
                <a:cubicBezTo>
                  <a:pt x="11660644" y="3477976"/>
                  <a:pt x="11624798" y="3518535"/>
                  <a:pt x="11670915" y="3560523"/>
                </a:cubicBezTo>
                <a:cubicBezTo>
                  <a:pt x="11682522" y="3566610"/>
                  <a:pt x="11669991" y="3613458"/>
                  <a:pt x="11646470" y="3618931"/>
                </a:cubicBezTo>
                <a:cubicBezTo>
                  <a:pt x="11599532" y="3623995"/>
                  <a:pt x="11604976" y="3647624"/>
                  <a:pt x="11610317" y="3677133"/>
                </a:cubicBezTo>
                <a:cubicBezTo>
                  <a:pt x="11625416" y="3818599"/>
                  <a:pt x="11663934" y="3960473"/>
                  <a:pt x="11637949" y="4107105"/>
                </a:cubicBezTo>
                <a:cubicBezTo>
                  <a:pt x="11637744" y="4118867"/>
                  <a:pt x="11637641" y="4124749"/>
                  <a:pt x="11643291" y="4136615"/>
                </a:cubicBezTo>
                <a:cubicBezTo>
                  <a:pt x="11665991" y="4178194"/>
                  <a:pt x="11659828" y="4195737"/>
                  <a:pt x="11612889" y="4200802"/>
                </a:cubicBezTo>
                <a:cubicBezTo>
                  <a:pt x="11566052" y="4199984"/>
                  <a:pt x="11542224" y="4223102"/>
                  <a:pt x="11541300" y="4276036"/>
                </a:cubicBezTo>
                <a:cubicBezTo>
                  <a:pt x="11495285" y="4228166"/>
                  <a:pt x="11478645" y="4174925"/>
                  <a:pt x="11438485" y="4127156"/>
                </a:cubicBezTo>
                <a:cubicBezTo>
                  <a:pt x="11413836" y="4197328"/>
                  <a:pt x="11441671" y="4280181"/>
                  <a:pt x="11382099" y="4337975"/>
                </a:cubicBezTo>
                <a:cubicBezTo>
                  <a:pt x="11353134" y="4319819"/>
                  <a:pt x="11353852" y="4278648"/>
                  <a:pt x="11330845" y="4254712"/>
                </a:cubicBezTo>
                <a:cubicBezTo>
                  <a:pt x="11250319" y="4170940"/>
                  <a:pt x="11151203" y="4145676"/>
                  <a:pt x="11039762" y="4155498"/>
                </a:cubicBezTo>
                <a:cubicBezTo>
                  <a:pt x="10975259" y="4160255"/>
                  <a:pt x="10910654" y="4170894"/>
                  <a:pt x="10846254" y="4169770"/>
                </a:cubicBezTo>
                <a:cubicBezTo>
                  <a:pt x="10764291" y="4168339"/>
                  <a:pt x="10694344" y="4149467"/>
                  <a:pt x="10642783" y="4083851"/>
                </a:cubicBezTo>
                <a:cubicBezTo>
                  <a:pt x="10630869" y="4095409"/>
                  <a:pt x="10629173" y="4108618"/>
                  <a:pt x="10628211" y="4121838"/>
                </a:cubicBezTo>
                <a:lnTo>
                  <a:pt x="10618976" y="4156366"/>
                </a:lnTo>
                <a:lnTo>
                  <a:pt x="10610425" y="4150025"/>
                </a:lnTo>
                <a:cubicBezTo>
                  <a:pt x="10600318" y="4147091"/>
                  <a:pt x="10598952" y="4162512"/>
                  <a:pt x="10594407" y="4171258"/>
                </a:cubicBezTo>
                <a:cubicBezTo>
                  <a:pt x="10587834" y="4212326"/>
                  <a:pt x="10575406" y="4253293"/>
                  <a:pt x="10562773" y="4306023"/>
                </a:cubicBezTo>
                <a:cubicBezTo>
                  <a:pt x="10540792" y="4223272"/>
                  <a:pt x="10524460" y="4152386"/>
                  <a:pt x="10502479" y="4069635"/>
                </a:cubicBezTo>
                <a:cubicBezTo>
                  <a:pt x="10478241" y="4116279"/>
                  <a:pt x="10477522" y="4157450"/>
                  <a:pt x="10488615" y="4192945"/>
                </a:cubicBezTo>
                <a:cubicBezTo>
                  <a:pt x="10493545" y="4245981"/>
                  <a:pt x="10469921" y="4257335"/>
                  <a:pt x="10429145" y="4244857"/>
                </a:cubicBezTo>
                <a:cubicBezTo>
                  <a:pt x="10382412" y="4238158"/>
                  <a:pt x="10347798" y="4208136"/>
                  <a:pt x="10307125" y="4189777"/>
                </a:cubicBezTo>
                <a:cubicBezTo>
                  <a:pt x="10254947" y="4159448"/>
                  <a:pt x="10208521" y="4135104"/>
                  <a:pt x="10137651" y="4169168"/>
                </a:cubicBezTo>
                <a:cubicBezTo>
                  <a:pt x="10108070" y="4186302"/>
                  <a:pt x="10114849" y="4133469"/>
                  <a:pt x="10097799" y="4103755"/>
                </a:cubicBezTo>
                <a:cubicBezTo>
                  <a:pt x="10067807" y="4144415"/>
                  <a:pt x="10009262" y="4143393"/>
                  <a:pt x="9990980" y="4184258"/>
                </a:cubicBezTo>
                <a:cubicBezTo>
                  <a:pt x="9910762" y="4082840"/>
                  <a:pt x="9824689" y="3981319"/>
                  <a:pt x="9862588" y="3823130"/>
                </a:cubicBezTo>
                <a:cubicBezTo>
                  <a:pt x="9809282" y="3857499"/>
                  <a:pt x="9826024" y="3904859"/>
                  <a:pt x="9825305" y="3946030"/>
                </a:cubicBezTo>
                <a:cubicBezTo>
                  <a:pt x="9830441" y="3987304"/>
                  <a:pt x="9829927" y="4016711"/>
                  <a:pt x="9777443" y="4004028"/>
                </a:cubicBezTo>
                <a:cubicBezTo>
                  <a:pt x="9759879" y="4003722"/>
                  <a:pt x="9742007" y="4021060"/>
                  <a:pt x="9724444" y="4020754"/>
                </a:cubicBezTo>
                <a:cubicBezTo>
                  <a:pt x="9683462" y="4020038"/>
                  <a:pt x="9711092" y="4114655"/>
                  <a:pt x="9635701" y="4072156"/>
                </a:cubicBezTo>
                <a:cubicBezTo>
                  <a:pt x="9600883" y="4053897"/>
                  <a:pt x="9547884" y="4070622"/>
                  <a:pt x="9501048" y="4069804"/>
                </a:cubicBezTo>
                <a:cubicBezTo>
                  <a:pt x="9448357" y="4068886"/>
                  <a:pt x="9407683" y="4050525"/>
                  <a:pt x="9379129" y="4008842"/>
                </a:cubicBezTo>
                <a:cubicBezTo>
                  <a:pt x="9367523" y="4002757"/>
                  <a:pt x="9356019" y="3990789"/>
                  <a:pt x="9349857" y="4008331"/>
                </a:cubicBezTo>
                <a:cubicBezTo>
                  <a:pt x="9343387" y="4043520"/>
                  <a:pt x="9284738" y="4048379"/>
                  <a:pt x="9295626" y="4095636"/>
                </a:cubicBezTo>
                <a:cubicBezTo>
                  <a:pt x="9306616" y="4137011"/>
                  <a:pt x="9311752" y="4178285"/>
                  <a:pt x="9322742" y="4219660"/>
                </a:cubicBezTo>
                <a:cubicBezTo>
                  <a:pt x="9252488" y="4218435"/>
                  <a:pt x="9199798" y="4217514"/>
                  <a:pt x="9213046" y="4129495"/>
                </a:cubicBezTo>
                <a:cubicBezTo>
                  <a:pt x="9213457" y="4105969"/>
                  <a:pt x="9196202" y="4088017"/>
                  <a:pt x="9184800" y="4070168"/>
                </a:cubicBezTo>
                <a:cubicBezTo>
                  <a:pt x="9149263" y="4093081"/>
                  <a:pt x="9136938" y="4128167"/>
                  <a:pt x="9118861" y="4157269"/>
                </a:cubicBezTo>
                <a:cubicBezTo>
                  <a:pt x="9113725" y="4115995"/>
                  <a:pt x="9120401" y="4069044"/>
                  <a:pt x="9085889" y="4033141"/>
                </a:cubicBezTo>
                <a:cubicBezTo>
                  <a:pt x="9073359" y="4079990"/>
                  <a:pt x="9072640" y="4121160"/>
                  <a:pt x="9042546" y="4167702"/>
                </a:cubicBezTo>
                <a:cubicBezTo>
                  <a:pt x="9026112" y="4102699"/>
                  <a:pt x="9074386" y="4021174"/>
                  <a:pt x="8969107" y="4013452"/>
                </a:cubicBezTo>
                <a:cubicBezTo>
                  <a:pt x="8968389" y="4054624"/>
                  <a:pt x="8967567" y="4101677"/>
                  <a:pt x="8978558" y="4143052"/>
                </a:cubicBezTo>
                <a:cubicBezTo>
                  <a:pt x="8989239" y="4202073"/>
                  <a:pt x="8965719" y="4207546"/>
                  <a:pt x="8919190" y="4189084"/>
                </a:cubicBezTo>
                <a:cubicBezTo>
                  <a:pt x="8802614" y="4157631"/>
                  <a:pt x="8686242" y="4114416"/>
                  <a:pt x="8569767" y="4077082"/>
                </a:cubicBezTo>
                <a:cubicBezTo>
                  <a:pt x="8505676" y="4058314"/>
                  <a:pt x="8505676" y="4058314"/>
                  <a:pt x="8475274" y="4122501"/>
                </a:cubicBezTo>
                <a:cubicBezTo>
                  <a:pt x="8482257" y="4057905"/>
                  <a:pt x="8400499" y="4044711"/>
                  <a:pt x="8395774" y="3979911"/>
                </a:cubicBezTo>
                <a:cubicBezTo>
                  <a:pt x="8396185" y="3956385"/>
                  <a:pt x="8349452" y="3949686"/>
                  <a:pt x="8320282" y="3943293"/>
                </a:cubicBezTo>
                <a:cubicBezTo>
                  <a:pt x="8312373" y="4060824"/>
                  <a:pt x="8321927" y="4184541"/>
                  <a:pt x="8331275" y="4320023"/>
                </a:cubicBezTo>
                <a:cubicBezTo>
                  <a:pt x="8291421" y="4254610"/>
                  <a:pt x="8298303" y="4195896"/>
                  <a:pt x="8269852" y="4148332"/>
                </a:cubicBezTo>
                <a:cubicBezTo>
                  <a:pt x="8258348" y="4136364"/>
                  <a:pt x="8258656" y="4118720"/>
                  <a:pt x="8241195" y="4112531"/>
                </a:cubicBezTo>
                <a:cubicBezTo>
                  <a:pt x="8217778" y="4112123"/>
                  <a:pt x="8211512" y="4135547"/>
                  <a:pt x="8205452" y="4147208"/>
                </a:cubicBezTo>
                <a:cubicBezTo>
                  <a:pt x="8193333" y="4170530"/>
                  <a:pt x="8181213" y="4193852"/>
                  <a:pt x="8163239" y="4217072"/>
                </a:cubicBezTo>
                <a:cubicBezTo>
                  <a:pt x="8127085" y="4275275"/>
                  <a:pt x="8097812" y="4274764"/>
                  <a:pt x="8046045" y="4220910"/>
                </a:cubicBezTo>
                <a:cubicBezTo>
                  <a:pt x="8009687" y="4290876"/>
                  <a:pt x="7967575" y="4354858"/>
                  <a:pt x="7977847" y="4437405"/>
                </a:cubicBezTo>
                <a:cubicBezTo>
                  <a:pt x="7942720" y="4436793"/>
                  <a:pt x="7919508" y="4424620"/>
                  <a:pt x="7896397" y="4406567"/>
                </a:cubicBezTo>
                <a:cubicBezTo>
                  <a:pt x="7878937" y="4400378"/>
                  <a:pt x="7855826" y="4382325"/>
                  <a:pt x="7885715" y="4347546"/>
                </a:cubicBezTo>
                <a:cubicBezTo>
                  <a:pt x="7903689" y="4324326"/>
                  <a:pt x="7927928" y="4277682"/>
                  <a:pt x="7869897" y="4247252"/>
                </a:cubicBezTo>
                <a:cubicBezTo>
                  <a:pt x="7864042" y="4247150"/>
                  <a:pt x="7864350" y="4229505"/>
                  <a:pt x="7864555" y="4217742"/>
                </a:cubicBezTo>
                <a:cubicBezTo>
                  <a:pt x="7853667" y="4170485"/>
                  <a:pt x="7842575" y="4134991"/>
                  <a:pt x="7778277" y="4127985"/>
                </a:cubicBezTo>
                <a:cubicBezTo>
                  <a:pt x="7725586" y="4127065"/>
                  <a:pt x="7691280" y="4079399"/>
                  <a:pt x="7651223" y="4025750"/>
                </a:cubicBezTo>
                <a:cubicBezTo>
                  <a:pt x="7656051" y="4084667"/>
                  <a:pt x="7567925" y="4100779"/>
                  <a:pt x="7631195" y="4166602"/>
                </a:cubicBezTo>
                <a:cubicBezTo>
                  <a:pt x="7572651" y="4165580"/>
                  <a:pt x="7519651" y="4182304"/>
                  <a:pt x="7520986" y="4105843"/>
                </a:cubicBezTo>
                <a:cubicBezTo>
                  <a:pt x="7521293" y="4088199"/>
                  <a:pt x="7509585" y="4087994"/>
                  <a:pt x="7492021" y="4087688"/>
                </a:cubicBezTo>
                <a:cubicBezTo>
                  <a:pt x="7468603" y="4087279"/>
                  <a:pt x="7439126" y="4098531"/>
                  <a:pt x="7428032" y="4063037"/>
                </a:cubicBezTo>
                <a:cubicBezTo>
                  <a:pt x="7428032" y="4063037"/>
                  <a:pt x="7422280" y="4057054"/>
                  <a:pt x="7416323" y="4062833"/>
                </a:cubicBezTo>
                <a:cubicBezTo>
                  <a:pt x="7386640" y="4085848"/>
                  <a:pt x="7333949" y="4084929"/>
                  <a:pt x="7315462" y="4137557"/>
                </a:cubicBezTo>
                <a:cubicBezTo>
                  <a:pt x="7296973" y="4190184"/>
                  <a:pt x="7279307" y="4195759"/>
                  <a:pt x="7239147" y="4147992"/>
                </a:cubicBezTo>
                <a:cubicBezTo>
                  <a:pt x="7210389" y="4118072"/>
                  <a:pt x="7210389" y="4118072"/>
                  <a:pt x="7174542" y="4158631"/>
                </a:cubicBezTo>
                <a:cubicBezTo>
                  <a:pt x="7169612" y="4105594"/>
                  <a:pt x="7164784" y="4046675"/>
                  <a:pt x="7159955" y="3987757"/>
                </a:cubicBezTo>
                <a:cubicBezTo>
                  <a:pt x="7159955" y="3987757"/>
                  <a:pt x="7154101" y="3987655"/>
                  <a:pt x="7154101" y="3987655"/>
                </a:cubicBezTo>
                <a:cubicBezTo>
                  <a:pt x="7148144" y="3993434"/>
                  <a:pt x="7148144" y="3993434"/>
                  <a:pt x="7142188" y="3999214"/>
                </a:cubicBezTo>
                <a:cubicBezTo>
                  <a:pt x="7136333" y="3999112"/>
                  <a:pt x="7136333" y="3999112"/>
                  <a:pt x="7130478" y="3999009"/>
                </a:cubicBezTo>
                <a:cubicBezTo>
                  <a:pt x="7118975" y="3987042"/>
                  <a:pt x="7143213" y="3940398"/>
                  <a:pt x="7095762" y="3974870"/>
                </a:cubicBezTo>
                <a:cubicBezTo>
                  <a:pt x="7089805" y="3980649"/>
                  <a:pt x="7083847" y="3986429"/>
                  <a:pt x="7077890" y="3992208"/>
                </a:cubicBezTo>
                <a:cubicBezTo>
                  <a:pt x="7041531" y="4062175"/>
                  <a:pt x="6982780" y="4072915"/>
                  <a:pt x="6912834" y="4054044"/>
                </a:cubicBezTo>
                <a:cubicBezTo>
                  <a:pt x="6848845" y="4029394"/>
                  <a:pt x="6812691" y="4087597"/>
                  <a:pt x="6771299" y="4110408"/>
                </a:cubicBezTo>
                <a:cubicBezTo>
                  <a:pt x="6729906" y="4133219"/>
                  <a:pt x="6700531" y="4138590"/>
                  <a:pt x="6677832" y="4097010"/>
                </a:cubicBezTo>
                <a:cubicBezTo>
                  <a:pt x="6666636" y="4067398"/>
                  <a:pt x="6649483" y="4043565"/>
                  <a:pt x="6632535" y="4007969"/>
                </a:cubicBezTo>
                <a:cubicBezTo>
                  <a:pt x="6608398" y="4048730"/>
                  <a:pt x="6607680" y="4089902"/>
                  <a:pt x="6607064" y="4125191"/>
                </a:cubicBezTo>
                <a:cubicBezTo>
                  <a:pt x="6606756" y="4142836"/>
                  <a:pt x="6612096" y="4172346"/>
                  <a:pt x="6594637" y="4166158"/>
                </a:cubicBezTo>
                <a:cubicBezTo>
                  <a:pt x="6519041" y="4135422"/>
                  <a:pt x="6511954" y="4205899"/>
                  <a:pt x="6482065" y="4240678"/>
                </a:cubicBezTo>
                <a:cubicBezTo>
                  <a:pt x="6458134" y="4269677"/>
                  <a:pt x="6451150" y="4334273"/>
                  <a:pt x="6410373" y="4321794"/>
                </a:cubicBezTo>
                <a:cubicBezTo>
                  <a:pt x="6363743" y="4309213"/>
                  <a:pt x="6382333" y="4250704"/>
                  <a:pt x="6383052" y="4209532"/>
                </a:cubicBezTo>
                <a:cubicBezTo>
                  <a:pt x="6377916" y="4168259"/>
                  <a:pt x="6384387" y="4133072"/>
                  <a:pt x="6385208" y="4086018"/>
                </a:cubicBezTo>
                <a:cubicBezTo>
                  <a:pt x="6325328" y="4161457"/>
                  <a:pt x="6359018" y="4244413"/>
                  <a:pt x="6322556" y="4320261"/>
                </a:cubicBezTo>
                <a:cubicBezTo>
                  <a:pt x="6337448" y="4138135"/>
                  <a:pt x="6216761" y="4006594"/>
                  <a:pt x="6143527" y="3840581"/>
                </a:cubicBezTo>
                <a:cubicBezTo>
                  <a:pt x="6125039" y="3893208"/>
                  <a:pt x="6130278" y="3928600"/>
                  <a:pt x="6129559" y="3969772"/>
                </a:cubicBezTo>
                <a:cubicBezTo>
                  <a:pt x="6106347" y="3957600"/>
                  <a:pt x="6106860" y="3928192"/>
                  <a:pt x="6083646" y="3916019"/>
                </a:cubicBezTo>
                <a:cubicBezTo>
                  <a:pt x="6041227" y="3997647"/>
                  <a:pt x="6016167" y="4091344"/>
                  <a:pt x="5944578" y="4166578"/>
                </a:cubicBezTo>
                <a:cubicBezTo>
                  <a:pt x="5927734" y="4125100"/>
                  <a:pt x="5951768" y="4090219"/>
                  <a:pt x="5940777" y="4048844"/>
                </a:cubicBezTo>
                <a:cubicBezTo>
                  <a:pt x="5898872" y="4101063"/>
                  <a:pt x="5876069" y="4065364"/>
                  <a:pt x="5859225" y="4023887"/>
                </a:cubicBezTo>
                <a:cubicBezTo>
                  <a:pt x="5842175" y="3994173"/>
                  <a:pt x="5837346" y="3935253"/>
                  <a:pt x="5802116" y="3940522"/>
                </a:cubicBezTo>
                <a:cubicBezTo>
                  <a:pt x="5749323" y="3945484"/>
                  <a:pt x="5754151" y="4004403"/>
                  <a:pt x="5747475" y="4051354"/>
                </a:cubicBezTo>
                <a:cubicBezTo>
                  <a:pt x="5741210" y="4074777"/>
                  <a:pt x="5752508" y="4098509"/>
                  <a:pt x="5728679" y="4121625"/>
                </a:cubicBezTo>
                <a:cubicBezTo>
                  <a:pt x="5693039" y="4150421"/>
                  <a:pt x="5687800" y="4115029"/>
                  <a:pt x="5676605" y="4085416"/>
                </a:cubicBezTo>
                <a:cubicBezTo>
                  <a:pt x="5646613" y="4126077"/>
                  <a:pt x="5616827" y="4154973"/>
                  <a:pt x="5592794" y="4189855"/>
                </a:cubicBezTo>
                <a:cubicBezTo>
                  <a:pt x="5574820" y="4213075"/>
                  <a:pt x="5551196" y="4224429"/>
                  <a:pt x="5527984" y="4212258"/>
                </a:cubicBezTo>
                <a:cubicBezTo>
                  <a:pt x="5452388" y="4181521"/>
                  <a:pt x="5463071" y="4240541"/>
                  <a:pt x="5462454" y="4275831"/>
                </a:cubicBezTo>
                <a:cubicBezTo>
                  <a:pt x="5461736" y="4317002"/>
                  <a:pt x="5472828" y="4352496"/>
                  <a:pt x="5477964" y="4393770"/>
                </a:cubicBezTo>
                <a:cubicBezTo>
                  <a:pt x="5483510" y="4411517"/>
                  <a:pt x="5483306" y="4423280"/>
                  <a:pt x="5459580" y="4440515"/>
                </a:cubicBezTo>
                <a:cubicBezTo>
                  <a:pt x="5437701" y="4351883"/>
                  <a:pt x="5457011" y="4252202"/>
                  <a:pt x="5399903" y="4168838"/>
                </a:cubicBezTo>
                <a:cubicBezTo>
                  <a:pt x="5369500" y="4233025"/>
                  <a:pt x="5368166" y="4309485"/>
                  <a:pt x="5337764" y="4373672"/>
                </a:cubicBezTo>
                <a:cubicBezTo>
                  <a:pt x="5320815" y="4338076"/>
                  <a:pt x="5321330" y="4308668"/>
                  <a:pt x="5327800" y="4273480"/>
                </a:cubicBezTo>
                <a:cubicBezTo>
                  <a:pt x="5340330" y="4226632"/>
                  <a:pt x="5287742" y="4219831"/>
                  <a:pt x="5264427" y="4213540"/>
                </a:cubicBezTo>
                <a:cubicBezTo>
                  <a:pt x="5247068" y="4201470"/>
                  <a:pt x="5223651" y="4201061"/>
                  <a:pt x="5206293" y="4188992"/>
                </a:cubicBezTo>
                <a:cubicBezTo>
                  <a:pt x="5207010" y="4147821"/>
                  <a:pt x="5147952" y="4176207"/>
                  <a:pt x="5142713" y="4140815"/>
                </a:cubicBezTo>
                <a:cubicBezTo>
                  <a:pt x="5142406" y="4158460"/>
                  <a:pt x="5141995" y="4181986"/>
                  <a:pt x="5141585" y="4205513"/>
                </a:cubicBezTo>
                <a:cubicBezTo>
                  <a:pt x="5094850" y="4198813"/>
                  <a:pt x="5088175" y="4245764"/>
                  <a:pt x="5052330" y="4286323"/>
                </a:cubicBezTo>
                <a:cubicBezTo>
                  <a:pt x="5041647" y="4227302"/>
                  <a:pt x="5013195" y="4179738"/>
                  <a:pt x="5049247" y="4127416"/>
                </a:cubicBezTo>
                <a:cubicBezTo>
                  <a:pt x="5067325" y="4098316"/>
                  <a:pt x="5038256" y="4086040"/>
                  <a:pt x="5020796" y="4079853"/>
                </a:cubicBezTo>
                <a:cubicBezTo>
                  <a:pt x="4997685" y="4061799"/>
                  <a:pt x="4997274" y="4085326"/>
                  <a:pt x="4991215" y="4096987"/>
                </a:cubicBezTo>
                <a:cubicBezTo>
                  <a:pt x="4966872" y="4149512"/>
                  <a:pt x="4943454" y="4149103"/>
                  <a:pt x="4897131" y="4118877"/>
                </a:cubicBezTo>
                <a:cubicBezTo>
                  <a:pt x="4862414" y="4094738"/>
                  <a:pt x="4867346" y="4147775"/>
                  <a:pt x="4837970" y="4153146"/>
                </a:cubicBezTo>
                <a:cubicBezTo>
                  <a:pt x="4837970" y="4153146"/>
                  <a:pt x="4837970" y="4153146"/>
                  <a:pt x="4838073" y="4147264"/>
                </a:cubicBezTo>
                <a:cubicBezTo>
                  <a:pt x="4826877" y="4117652"/>
                  <a:pt x="4827802" y="4064717"/>
                  <a:pt x="4786717" y="4069883"/>
                </a:cubicBezTo>
                <a:cubicBezTo>
                  <a:pt x="4745736" y="4069169"/>
                  <a:pt x="4744914" y="4116221"/>
                  <a:pt x="4738546" y="4145527"/>
                </a:cubicBezTo>
                <a:cubicBezTo>
                  <a:pt x="4731972" y="4186596"/>
                  <a:pt x="4725400" y="4227665"/>
                  <a:pt x="4712972" y="4268632"/>
                </a:cubicBezTo>
                <a:cubicBezTo>
                  <a:pt x="4712664" y="4286277"/>
                  <a:pt x="4712253" y="4309803"/>
                  <a:pt x="4688938" y="4303513"/>
                </a:cubicBezTo>
                <a:cubicBezTo>
                  <a:pt x="4671374" y="4303206"/>
                  <a:pt x="4671785" y="4279680"/>
                  <a:pt x="4677948" y="4262137"/>
                </a:cubicBezTo>
                <a:cubicBezTo>
                  <a:pt x="4689964" y="4244697"/>
                  <a:pt x="4672606" y="4232627"/>
                  <a:pt x="4667265" y="4203117"/>
                </a:cubicBezTo>
                <a:cubicBezTo>
                  <a:pt x="4655145" y="4226439"/>
                  <a:pt x="4654940" y="4238202"/>
                  <a:pt x="4648880" y="4249863"/>
                </a:cubicBezTo>
                <a:cubicBezTo>
                  <a:pt x="4641691" y="4326222"/>
                  <a:pt x="4617143" y="4390510"/>
                  <a:pt x="4523369" y="4394757"/>
                </a:cubicBezTo>
                <a:cubicBezTo>
                  <a:pt x="4511659" y="4394553"/>
                  <a:pt x="4505599" y="4406214"/>
                  <a:pt x="4493788" y="4411892"/>
                </a:cubicBezTo>
                <a:cubicBezTo>
                  <a:pt x="4487933" y="4411789"/>
                  <a:pt x="4487933" y="4411789"/>
                  <a:pt x="4482079" y="4411686"/>
                </a:cubicBezTo>
                <a:cubicBezTo>
                  <a:pt x="4506523" y="4353279"/>
                  <a:pt x="4525012" y="4300652"/>
                  <a:pt x="4479098" y="4246899"/>
                </a:cubicBezTo>
                <a:cubicBezTo>
                  <a:pt x="4473450" y="4235034"/>
                  <a:pt x="4467903" y="4217287"/>
                  <a:pt x="4491321" y="4217696"/>
                </a:cubicBezTo>
                <a:cubicBezTo>
                  <a:pt x="4514739" y="4218105"/>
                  <a:pt x="4520800" y="4206444"/>
                  <a:pt x="4515355" y="4182815"/>
                </a:cubicBezTo>
                <a:cubicBezTo>
                  <a:pt x="4509911" y="4159187"/>
                  <a:pt x="4504365" y="4141439"/>
                  <a:pt x="4481051" y="4135149"/>
                </a:cubicBezTo>
                <a:cubicBezTo>
                  <a:pt x="4457734" y="4128858"/>
                  <a:pt x="4445717" y="4146298"/>
                  <a:pt x="4433700" y="4163739"/>
                </a:cubicBezTo>
                <a:cubicBezTo>
                  <a:pt x="4415315" y="4210486"/>
                  <a:pt x="4391075" y="4257130"/>
                  <a:pt x="4366733" y="4309656"/>
                </a:cubicBezTo>
                <a:cubicBezTo>
                  <a:pt x="4344342" y="4250431"/>
                  <a:pt x="4362727" y="4203685"/>
                  <a:pt x="4357797" y="4150648"/>
                </a:cubicBezTo>
                <a:cubicBezTo>
                  <a:pt x="4352250" y="4132901"/>
                  <a:pt x="4358514" y="4109476"/>
                  <a:pt x="4341055" y="4103288"/>
                </a:cubicBezTo>
                <a:cubicBezTo>
                  <a:pt x="4317738" y="4096998"/>
                  <a:pt x="4299764" y="4120218"/>
                  <a:pt x="4293602" y="4137760"/>
                </a:cubicBezTo>
                <a:cubicBezTo>
                  <a:pt x="4269466" y="4178523"/>
                  <a:pt x="4268644" y="4225576"/>
                  <a:pt x="4279531" y="4272833"/>
                </a:cubicBezTo>
                <a:cubicBezTo>
                  <a:pt x="4284565" y="4319988"/>
                  <a:pt x="4289598" y="4367143"/>
                  <a:pt x="4282819" y="4419976"/>
                </a:cubicBezTo>
                <a:cubicBezTo>
                  <a:pt x="4242762" y="4366326"/>
                  <a:pt x="4255601" y="4301832"/>
                  <a:pt x="4227355" y="4242505"/>
                </a:cubicBezTo>
                <a:cubicBezTo>
                  <a:pt x="4179081" y="4324030"/>
                  <a:pt x="4126801" y="4299584"/>
                  <a:pt x="4074932" y="4251611"/>
                </a:cubicBezTo>
                <a:cubicBezTo>
                  <a:pt x="4063428" y="4239644"/>
                  <a:pt x="4040420" y="4215708"/>
                  <a:pt x="4034258" y="4233252"/>
                </a:cubicBezTo>
                <a:cubicBezTo>
                  <a:pt x="4022035" y="4262455"/>
                  <a:pt x="3963593" y="4255552"/>
                  <a:pt x="3974481" y="4302809"/>
                </a:cubicBezTo>
                <a:cubicBezTo>
                  <a:pt x="3979822" y="4332319"/>
                  <a:pt x="3973455" y="4361625"/>
                  <a:pt x="3972838" y="4396915"/>
                </a:cubicBezTo>
                <a:cubicBezTo>
                  <a:pt x="3943976" y="4372877"/>
                  <a:pt x="3956506" y="4326029"/>
                  <a:pt x="3933602" y="4296212"/>
                </a:cubicBezTo>
                <a:cubicBezTo>
                  <a:pt x="3898167" y="4313244"/>
                  <a:pt x="3897345" y="4360297"/>
                  <a:pt x="3867765" y="4377430"/>
                </a:cubicBezTo>
                <a:cubicBezTo>
                  <a:pt x="3855850" y="4388990"/>
                  <a:pt x="3849688" y="4406532"/>
                  <a:pt x="3832227" y="4400344"/>
                </a:cubicBezTo>
                <a:cubicBezTo>
                  <a:pt x="3808809" y="4399934"/>
                  <a:pt x="3820929" y="4376612"/>
                  <a:pt x="3815280" y="4364747"/>
                </a:cubicBezTo>
                <a:cubicBezTo>
                  <a:pt x="3804289" y="4323372"/>
                  <a:pt x="3793299" y="4281996"/>
                  <a:pt x="3782308" y="4240621"/>
                </a:cubicBezTo>
                <a:cubicBezTo>
                  <a:pt x="3752933" y="4245991"/>
                  <a:pt x="3752214" y="4287162"/>
                  <a:pt x="3717292" y="4274786"/>
                </a:cubicBezTo>
                <a:cubicBezTo>
                  <a:pt x="3723660" y="4245480"/>
                  <a:pt x="3730131" y="4210292"/>
                  <a:pt x="3724995" y="4169019"/>
                </a:cubicBezTo>
                <a:cubicBezTo>
                  <a:pt x="3683192" y="4215357"/>
                  <a:pt x="3641594" y="4249931"/>
                  <a:pt x="3582844" y="4260673"/>
                </a:cubicBezTo>
                <a:cubicBezTo>
                  <a:pt x="3565178" y="4266247"/>
                  <a:pt x="3541554" y="4277602"/>
                  <a:pt x="3524298" y="4259651"/>
                </a:cubicBezTo>
                <a:cubicBezTo>
                  <a:pt x="3501188" y="4241597"/>
                  <a:pt x="3501496" y="4223952"/>
                  <a:pt x="3507864" y="4194646"/>
                </a:cubicBezTo>
                <a:cubicBezTo>
                  <a:pt x="3514335" y="4159458"/>
                  <a:pt x="3538573" y="4112814"/>
                  <a:pt x="3474688" y="4082283"/>
                </a:cubicBezTo>
                <a:cubicBezTo>
                  <a:pt x="3474174" y="4111690"/>
                  <a:pt x="3473661" y="4141098"/>
                  <a:pt x="3473250" y="4164625"/>
                </a:cubicBezTo>
                <a:cubicBezTo>
                  <a:pt x="3455584" y="4170200"/>
                  <a:pt x="3449934" y="4158334"/>
                  <a:pt x="3444183" y="4152351"/>
                </a:cubicBezTo>
                <a:cubicBezTo>
                  <a:pt x="3421175" y="4128415"/>
                  <a:pt x="3397859" y="4122125"/>
                  <a:pt x="3397141" y="4163297"/>
                </a:cubicBezTo>
                <a:cubicBezTo>
                  <a:pt x="3395910" y="4233876"/>
                  <a:pt x="3336953" y="4256380"/>
                  <a:pt x="3289809" y="4273207"/>
                </a:cubicBezTo>
                <a:cubicBezTo>
                  <a:pt x="3248520" y="4290137"/>
                  <a:pt x="3242357" y="4307679"/>
                  <a:pt x="3241741" y="4342969"/>
                </a:cubicBezTo>
                <a:cubicBezTo>
                  <a:pt x="3252527" y="4396108"/>
                  <a:pt x="3234449" y="4425210"/>
                  <a:pt x="3175801" y="4430069"/>
                </a:cubicBezTo>
                <a:cubicBezTo>
                  <a:pt x="3152384" y="4429661"/>
                  <a:pt x="3134512" y="4446998"/>
                  <a:pt x="3110991" y="4452472"/>
                </a:cubicBezTo>
                <a:cubicBezTo>
                  <a:pt x="3081615" y="4457842"/>
                  <a:pt x="3040531" y="4463009"/>
                  <a:pt x="3029336" y="4433397"/>
                </a:cubicBezTo>
                <a:cubicBezTo>
                  <a:pt x="3012902" y="4368392"/>
                  <a:pt x="2960518" y="4349827"/>
                  <a:pt x="2902281" y="4331161"/>
                </a:cubicBezTo>
                <a:cubicBezTo>
                  <a:pt x="2879069" y="4318989"/>
                  <a:pt x="2861607" y="4312800"/>
                  <a:pt x="2856369" y="4277408"/>
                </a:cubicBezTo>
                <a:cubicBezTo>
                  <a:pt x="2846200" y="4188980"/>
                  <a:pt x="2828739" y="4182792"/>
                  <a:pt x="2751706" y="4234398"/>
                </a:cubicBezTo>
                <a:cubicBezTo>
                  <a:pt x="2745852" y="4234296"/>
                  <a:pt x="2739997" y="4234194"/>
                  <a:pt x="2740099" y="4228312"/>
                </a:cubicBezTo>
                <a:cubicBezTo>
                  <a:pt x="2665531" y="4138760"/>
                  <a:pt x="2647967" y="4138453"/>
                  <a:pt x="2547414" y="4195532"/>
                </a:cubicBezTo>
                <a:cubicBezTo>
                  <a:pt x="2517832" y="4212665"/>
                  <a:pt x="2494004" y="4235783"/>
                  <a:pt x="2453330" y="4217423"/>
                </a:cubicBezTo>
                <a:cubicBezTo>
                  <a:pt x="2424263" y="4205149"/>
                  <a:pt x="2376605" y="4251384"/>
                  <a:pt x="2352469" y="4292146"/>
                </a:cubicBezTo>
                <a:cubicBezTo>
                  <a:pt x="2298546" y="4361806"/>
                  <a:pt x="2287145" y="4343957"/>
                  <a:pt x="2223567" y="4295780"/>
                </a:cubicBezTo>
                <a:cubicBezTo>
                  <a:pt x="2165843" y="4247705"/>
                  <a:pt x="2190083" y="4201061"/>
                  <a:pt x="2179194" y="4153804"/>
                </a:cubicBezTo>
                <a:cubicBezTo>
                  <a:pt x="2179298" y="4147922"/>
                  <a:pt x="2179502" y="4136159"/>
                  <a:pt x="2173751" y="4130176"/>
                </a:cubicBezTo>
                <a:cubicBezTo>
                  <a:pt x="2162555" y="4100563"/>
                  <a:pt x="2163684" y="4035866"/>
                  <a:pt x="2145812" y="4053203"/>
                </a:cubicBezTo>
                <a:cubicBezTo>
                  <a:pt x="2098463" y="4081794"/>
                  <a:pt x="2082439" y="3993263"/>
                  <a:pt x="2046388" y="4045585"/>
                </a:cubicBezTo>
                <a:cubicBezTo>
                  <a:pt x="2022457" y="4074584"/>
                  <a:pt x="1998525" y="4103583"/>
                  <a:pt x="1997909" y="4138873"/>
                </a:cubicBezTo>
                <a:cubicBezTo>
                  <a:pt x="1990926" y="4203468"/>
                  <a:pt x="2042385" y="4274967"/>
                  <a:pt x="1965352" y="4326573"/>
                </a:cubicBezTo>
                <a:cubicBezTo>
                  <a:pt x="1954567" y="4273434"/>
                  <a:pt x="1902492" y="4237225"/>
                  <a:pt x="1874143" y="4183780"/>
                </a:cubicBezTo>
                <a:cubicBezTo>
                  <a:pt x="1855656" y="4236407"/>
                  <a:pt x="1768761" y="4181940"/>
                  <a:pt x="1767324" y="4264283"/>
                </a:cubicBezTo>
                <a:cubicBezTo>
                  <a:pt x="1733019" y="4216617"/>
                  <a:pt x="1715865" y="4192784"/>
                  <a:pt x="1769377" y="4146651"/>
                </a:cubicBezTo>
                <a:cubicBezTo>
                  <a:pt x="1840658" y="4089061"/>
                  <a:pt x="1859967" y="3989380"/>
                  <a:pt x="1814671" y="3900339"/>
                </a:cubicBezTo>
                <a:cubicBezTo>
                  <a:pt x="1777902" y="3993830"/>
                  <a:pt x="1730860" y="4004777"/>
                  <a:pt x="1656086" y="3926987"/>
                </a:cubicBezTo>
                <a:cubicBezTo>
                  <a:pt x="1638830" y="3909036"/>
                  <a:pt x="1627326" y="3897068"/>
                  <a:pt x="1603703" y="3908422"/>
                </a:cubicBezTo>
                <a:cubicBezTo>
                  <a:pt x="1580079" y="3919777"/>
                  <a:pt x="1573917" y="3937320"/>
                  <a:pt x="1585318" y="3955168"/>
                </a:cubicBezTo>
                <a:cubicBezTo>
                  <a:pt x="1642734" y="4020888"/>
                  <a:pt x="1594871" y="4078887"/>
                  <a:pt x="1570324" y="4143176"/>
                </a:cubicBezTo>
                <a:cubicBezTo>
                  <a:pt x="1565084" y="4107784"/>
                  <a:pt x="1559846" y="4072393"/>
                  <a:pt x="1554814" y="4025238"/>
                </a:cubicBezTo>
                <a:cubicBezTo>
                  <a:pt x="1512702" y="4089219"/>
                  <a:pt x="1407834" y="4057973"/>
                  <a:pt x="1400337" y="4151976"/>
                </a:cubicBezTo>
                <a:cubicBezTo>
                  <a:pt x="1394482" y="4151874"/>
                  <a:pt x="1388628" y="4151772"/>
                  <a:pt x="1382774" y="4151669"/>
                </a:cubicBezTo>
                <a:cubicBezTo>
                  <a:pt x="1383594" y="4104617"/>
                  <a:pt x="1360279" y="4098326"/>
                  <a:pt x="1319195" y="4103492"/>
                </a:cubicBezTo>
                <a:cubicBezTo>
                  <a:pt x="1278110" y="4108658"/>
                  <a:pt x="1242675" y="4125690"/>
                  <a:pt x="1201592" y="4130856"/>
                </a:cubicBezTo>
                <a:cubicBezTo>
                  <a:pt x="1189882" y="4130652"/>
                  <a:pt x="1119833" y="4117662"/>
                  <a:pt x="1165540" y="4183178"/>
                </a:cubicBezTo>
                <a:cubicBezTo>
                  <a:pt x="1171292" y="4189161"/>
                  <a:pt x="1159378" y="4200720"/>
                  <a:pt x="1147566" y="4206397"/>
                </a:cubicBezTo>
                <a:cubicBezTo>
                  <a:pt x="1112130" y="4223429"/>
                  <a:pt x="1082550" y="4240563"/>
                  <a:pt x="1104839" y="4305669"/>
                </a:cubicBezTo>
                <a:cubicBezTo>
                  <a:pt x="1041979" y="4216322"/>
                  <a:pt x="1096210" y="4129017"/>
                  <a:pt x="1068272" y="4052045"/>
                </a:cubicBezTo>
                <a:cubicBezTo>
                  <a:pt x="1062726" y="4034298"/>
                  <a:pt x="1057281" y="4010669"/>
                  <a:pt x="1039820" y="4004481"/>
                </a:cubicBezTo>
                <a:cubicBezTo>
                  <a:pt x="1016607" y="3992309"/>
                  <a:pt x="1027803" y="4021922"/>
                  <a:pt x="1021743" y="4033583"/>
                </a:cubicBezTo>
                <a:cubicBezTo>
                  <a:pt x="991854" y="4068361"/>
                  <a:pt x="991958" y="4062480"/>
                  <a:pt x="991341" y="4097770"/>
                </a:cubicBezTo>
                <a:cubicBezTo>
                  <a:pt x="990931" y="4121296"/>
                  <a:pt x="1002332" y="4139145"/>
                  <a:pt x="972648" y="4162160"/>
                </a:cubicBezTo>
                <a:cubicBezTo>
                  <a:pt x="972956" y="4144516"/>
                  <a:pt x="967410" y="4126769"/>
                  <a:pt x="961863" y="4109022"/>
                </a:cubicBezTo>
                <a:cubicBezTo>
                  <a:pt x="957138" y="4044222"/>
                  <a:pt x="916875" y="4002335"/>
                  <a:pt x="852372" y="4007093"/>
                </a:cubicBezTo>
                <a:cubicBezTo>
                  <a:pt x="776264" y="4005764"/>
                  <a:pt x="729941" y="3975538"/>
                  <a:pt x="719669" y="3892992"/>
                </a:cubicBezTo>
                <a:cubicBezTo>
                  <a:pt x="712993" y="3939942"/>
                  <a:pt x="700669" y="3975027"/>
                  <a:pt x="753051" y="3993592"/>
                </a:cubicBezTo>
                <a:cubicBezTo>
                  <a:pt x="799682" y="4006173"/>
                  <a:pt x="781502" y="4041156"/>
                  <a:pt x="775134" y="4070462"/>
                </a:cubicBezTo>
                <a:cubicBezTo>
                  <a:pt x="745965" y="4064069"/>
                  <a:pt x="758393" y="4023103"/>
                  <a:pt x="729120" y="4022592"/>
                </a:cubicBezTo>
                <a:cubicBezTo>
                  <a:pt x="729120" y="4022592"/>
                  <a:pt x="723368" y="4016608"/>
                  <a:pt x="723368" y="4016608"/>
                </a:cubicBezTo>
                <a:cubicBezTo>
                  <a:pt x="723368" y="4016608"/>
                  <a:pt x="717513" y="4016505"/>
                  <a:pt x="723265" y="4022490"/>
                </a:cubicBezTo>
                <a:cubicBezTo>
                  <a:pt x="723162" y="4028371"/>
                  <a:pt x="723162" y="4028371"/>
                  <a:pt x="729120" y="4022592"/>
                </a:cubicBezTo>
                <a:cubicBezTo>
                  <a:pt x="710940" y="4057575"/>
                  <a:pt x="739596" y="4093376"/>
                  <a:pt x="721417" y="4128359"/>
                </a:cubicBezTo>
                <a:cubicBezTo>
                  <a:pt x="599190" y="4085041"/>
                  <a:pt x="508701" y="3901076"/>
                  <a:pt x="348063" y="4045357"/>
                </a:cubicBezTo>
                <a:cubicBezTo>
                  <a:pt x="331012" y="4015643"/>
                  <a:pt x="349089" y="3986541"/>
                  <a:pt x="337791" y="3962810"/>
                </a:cubicBezTo>
                <a:cubicBezTo>
                  <a:pt x="320226" y="3962504"/>
                  <a:pt x="319816" y="3986030"/>
                  <a:pt x="307800" y="4003471"/>
                </a:cubicBezTo>
                <a:cubicBezTo>
                  <a:pt x="290543" y="3985519"/>
                  <a:pt x="320125" y="3968386"/>
                  <a:pt x="302868" y="3950434"/>
                </a:cubicBezTo>
                <a:cubicBezTo>
                  <a:pt x="285202" y="3956008"/>
                  <a:pt x="290851" y="3967875"/>
                  <a:pt x="284894" y="3973654"/>
                </a:cubicBezTo>
                <a:cubicBezTo>
                  <a:pt x="254698" y="4026078"/>
                  <a:pt x="237032" y="4031652"/>
                  <a:pt x="202828" y="3978104"/>
                </a:cubicBezTo>
                <a:cubicBezTo>
                  <a:pt x="185675" y="3954271"/>
                  <a:pt x="174377" y="3930540"/>
                  <a:pt x="163078" y="3906811"/>
                </a:cubicBezTo>
                <a:cubicBezTo>
                  <a:pt x="151677" y="3888961"/>
                  <a:pt x="146644" y="3841806"/>
                  <a:pt x="105252" y="3864617"/>
                </a:cubicBezTo>
                <a:cubicBezTo>
                  <a:pt x="81731" y="3870090"/>
                  <a:pt x="87894" y="3852547"/>
                  <a:pt x="87997" y="3846665"/>
                </a:cubicBezTo>
                <a:cubicBezTo>
                  <a:pt x="79675" y="3652368"/>
                  <a:pt x="12706" y="3462931"/>
                  <a:pt x="21948" y="3268939"/>
                </a:cubicBezTo>
                <a:cubicBezTo>
                  <a:pt x="22154" y="3257176"/>
                  <a:pt x="28214" y="3245515"/>
                  <a:pt x="16710" y="3233547"/>
                </a:cubicBezTo>
                <a:cubicBezTo>
                  <a:pt x="-17699" y="3191763"/>
                  <a:pt x="6233" y="3162764"/>
                  <a:pt x="41566" y="3151614"/>
                </a:cubicBezTo>
                <a:cubicBezTo>
                  <a:pt x="88607" y="3140668"/>
                  <a:pt x="83164" y="3117040"/>
                  <a:pt x="77924" y="3081648"/>
                </a:cubicBezTo>
                <a:lnTo>
                  <a:pt x="67479" y="3046684"/>
                </a:lnTo>
                <a:lnTo>
                  <a:pt x="57585" y="3042993"/>
                </a:lnTo>
                <a:cubicBezTo>
                  <a:pt x="22253" y="3031844"/>
                  <a:pt x="-1884" y="2991081"/>
                  <a:pt x="15474" y="2979011"/>
                </a:cubicBezTo>
                <a:cubicBezTo>
                  <a:pt x="44336" y="2954973"/>
                  <a:pt x="32217" y="2931651"/>
                  <a:pt x="31908" y="2914006"/>
                </a:cubicBezTo>
                <a:cubicBezTo>
                  <a:pt x="25438" y="2878819"/>
                  <a:pt x="26286" y="2843504"/>
                  <a:pt x="28597" y="2808163"/>
                </a:cubicBezTo>
                <a:lnTo>
                  <a:pt x="28697" y="2806232"/>
                </a:lnTo>
                <a:lnTo>
                  <a:pt x="28595" y="2804267"/>
                </a:lnTo>
                <a:cubicBezTo>
                  <a:pt x="26284" y="2768926"/>
                  <a:pt x="25437" y="2733611"/>
                  <a:pt x="31907" y="2698423"/>
                </a:cubicBezTo>
                <a:cubicBezTo>
                  <a:pt x="32215" y="2680778"/>
                  <a:pt x="44335" y="2657456"/>
                  <a:pt x="15473" y="2633418"/>
                </a:cubicBezTo>
                <a:cubicBezTo>
                  <a:pt x="-1885" y="2621349"/>
                  <a:pt x="22251" y="2580587"/>
                  <a:pt x="57584" y="2569437"/>
                </a:cubicBezTo>
                <a:lnTo>
                  <a:pt x="67482" y="2565744"/>
                </a:lnTo>
                <a:lnTo>
                  <a:pt x="77926" y="2530782"/>
                </a:lnTo>
                <a:cubicBezTo>
                  <a:pt x="83165" y="2495391"/>
                  <a:pt x="88609" y="2471762"/>
                  <a:pt x="41567" y="2460816"/>
                </a:cubicBezTo>
                <a:cubicBezTo>
                  <a:pt x="6235" y="2449666"/>
                  <a:pt x="-17696" y="2420667"/>
                  <a:pt x="16712" y="2378882"/>
                </a:cubicBezTo>
                <a:cubicBezTo>
                  <a:pt x="28216" y="2366915"/>
                  <a:pt x="22155" y="2355254"/>
                  <a:pt x="21951" y="2343490"/>
                </a:cubicBezTo>
                <a:cubicBezTo>
                  <a:pt x="12708" y="2149500"/>
                  <a:pt x="79677" y="1960061"/>
                  <a:pt x="87998" y="1765764"/>
                </a:cubicBezTo>
                <a:cubicBezTo>
                  <a:pt x="87895" y="1759882"/>
                  <a:pt x="81733" y="1742340"/>
                  <a:pt x="105253" y="1747812"/>
                </a:cubicBezTo>
                <a:cubicBezTo>
                  <a:pt x="115601" y="1753516"/>
                  <a:pt x="123677" y="1754845"/>
                  <a:pt x="130148" y="1753354"/>
                </a:cubicBezTo>
                <a:lnTo>
                  <a:pt x="138502" y="1747121"/>
                </a:lnTo>
                <a:lnTo>
                  <a:pt x="130148" y="1740888"/>
                </a:lnTo>
                <a:cubicBezTo>
                  <a:pt x="123678" y="1739396"/>
                  <a:pt x="115602" y="1740726"/>
                  <a:pt x="105253" y="1746429"/>
                </a:cubicBezTo>
                <a:cubicBezTo>
                  <a:pt x="81733" y="1751902"/>
                  <a:pt x="87895" y="1734359"/>
                  <a:pt x="87998" y="1728477"/>
                </a:cubicBezTo>
                <a:cubicBezTo>
                  <a:pt x="79677" y="1534179"/>
                  <a:pt x="12708" y="1344742"/>
                  <a:pt x="21951" y="1150752"/>
                </a:cubicBezTo>
                <a:cubicBezTo>
                  <a:pt x="22156" y="1138987"/>
                  <a:pt x="28216" y="1127327"/>
                  <a:pt x="16712" y="1115360"/>
                </a:cubicBezTo>
                <a:cubicBezTo>
                  <a:pt x="-17696" y="1073575"/>
                  <a:pt x="6235" y="1044575"/>
                  <a:pt x="41567" y="1033426"/>
                </a:cubicBezTo>
                <a:cubicBezTo>
                  <a:pt x="88609" y="1022479"/>
                  <a:pt x="83165" y="998851"/>
                  <a:pt x="77927" y="963459"/>
                </a:cubicBezTo>
                <a:cubicBezTo>
                  <a:pt x="61389" y="904336"/>
                  <a:pt x="38999" y="845112"/>
                  <a:pt x="34067" y="792076"/>
                </a:cubicBezTo>
                <a:cubicBezTo>
                  <a:pt x="35299" y="721496"/>
                  <a:pt x="18968" y="650609"/>
                  <a:pt x="31909" y="580235"/>
                </a:cubicBezTo>
                <a:cubicBezTo>
                  <a:pt x="32217" y="562590"/>
                  <a:pt x="44337" y="539268"/>
                  <a:pt x="15474" y="515231"/>
                </a:cubicBezTo>
                <a:cubicBezTo>
                  <a:pt x="-1884" y="503161"/>
                  <a:pt x="22253" y="462398"/>
                  <a:pt x="57585" y="451248"/>
                </a:cubicBezTo>
                <a:cubicBezTo>
                  <a:pt x="122396" y="428846"/>
                  <a:pt x="122396" y="428846"/>
                  <a:pt x="135337" y="358471"/>
                </a:cubicBezTo>
                <a:cubicBezTo>
                  <a:pt x="169642" y="406137"/>
                  <a:pt x="203949" y="453803"/>
                  <a:pt x="238152" y="507351"/>
                </a:cubicBezTo>
                <a:cubicBezTo>
                  <a:pt x="257153" y="425315"/>
                  <a:pt x="229318" y="342462"/>
                  <a:pt x="288992" y="278786"/>
                </a:cubicBezTo>
                <a:cubicBezTo>
                  <a:pt x="391293" y="457073"/>
                  <a:pt x="555528" y="442290"/>
                  <a:pt x="731883" y="404184"/>
                </a:cubicBezTo>
                <a:cubicBezTo>
                  <a:pt x="878862" y="371449"/>
                  <a:pt x="925493" y="384030"/>
                  <a:pt x="1041557" y="444890"/>
                </a:cubicBezTo>
                <a:cubicBezTo>
                  <a:pt x="1059428" y="427552"/>
                  <a:pt x="1042584" y="386074"/>
                  <a:pt x="1054293" y="386278"/>
                </a:cubicBezTo>
                <a:cubicBezTo>
                  <a:pt x="1083771" y="375026"/>
                  <a:pt x="1084079" y="357382"/>
                  <a:pt x="1090344" y="333957"/>
                </a:cubicBezTo>
                <a:cubicBezTo>
                  <a:pt x="1096711" y="304651"/>
                  <a:pt x="1103079" y="275346"/>
                  <a:pt x="1109652" y="234276"/>
                </a:cubicBezTo>
                <a:cubicBezTo>
                  <a:pt x="1138309" y="270077"/>
                  <a:pt x="1137590" y="311249"/>
                  <a:pt x="1154641" y="340963"/>
                </a:cubicBezTo>
                <a:cubicBezTo>
                  <a:pt x="1165836" y="370575"/>
                  <a:pt x="1159263" y="411644"/>
                  <a:pt x="1193671" y="453429"/>
                </a:cubicBezTo>
                <a:cubicBezTo>
                  <a:pt x="1194698" y="394613"/>
                  <a:pt x="1201272" y="353543"/>
                  <a:pt x="1196136" y="312271"/>
                </a:cubicBezTo>
                <a:cubicBezTo>
                  <a:pt x="1191000" y="270996"/>
                  <a:pt x="1208768" y="259540"/>
                  <a:pt x="1243793" y="266035"/>
                </a:cubicBezTo>
                <a:cubicBezTo>
                  <a:pt x="1296484" y="266955"/>
                  <a:pt x="1336953" y="297078"/>
                  <a:pt x="1377627" y="315438"/>
                </a:cubicBezTo>
                <a:cubicBezTo>
                  <a:pt x="1441512" y="345970"/>
                  <a:pt x="1499647" y="370518"/>
                  <a:pt x="1553365" y="312622"/>
                </a:cubicBezTo>
                <a:cubicBezTo>
                  <a:pt x="1581200" y="395475"/>
                  <a:pt x="1616430" y="390207"/>
                  <a:pt x="1700035" y="297532"/>
                </a:cubicBezTo>
                <a:cubicBezTo>
                  <a:pt x="1716470" y="362536"/>
                  <a:pt x="1780253" y="398950"/>
                  <a:pt x="1808499" y="458277"/>
                </a:cubicBezTo>
                <a:cubicBezTo>
                  <a:pt x="1836746" y="517604"/>
                  <a:pt x="1818053" y="581995"/>
                  <a:pt x="1822676" y="652677"/>
                </a:cubicBezTo>
                <a:cubicBezTo>
                  <a:pt x="1875674" y="635951"/>
                  <a:pt x="1858932" y="588592"/>
                  <a:pt x="1859445" y="559184"/>
                </a:cubicBezTo>
                <a:cubicBezTo>
                  <a:pt x="1860369" y="506249"/>
                  <a:pt x="1849482" y="458992"/>
                  <a:pt x="1925488" y="466203"/>
                </a:cubicBezTo>
                <a:cubicBezTo>
                  <a:pt x="1948803" y="472493"/>
                  <a:pt x="1960923" y="449171"/>
                  <a:pt x="1978692" y="437714"/>
                </a:cubicBezTo>
                <a:cubicBezTo>
                  <a:pt x="2002316" y="426359"/>
                  <a:pt x="1985778" y="367237"/>
                  <a:pt x="2032409" y="379818"/>
                </a:cubicBezTo>
                <a:cubicBezTo>
                  <a:pt x="2125671" y="404979"/>
                  <a:pt x="2255805" y="330767"/>
                  <a:pt x="2312092" y="461184"/>
                </a:cubicBezTo>
                <a:cubicBezTo>
                  <a:pt x="2436063" y="404514"/>
                  <a:pt x="2367452" y="309182"/>
                  <a:pt x="2363137" y="220855"/>
                </a:cubicBezTo>
                <a:cubicBezTo>
                  <a:pt x="2427230" y="239625"/>
                  <a:pt x="2491526" y="246630"/>
                  <a:pt x="2478277" y="334650"/>
                </a:cubicBezTo>
                <a:cubicBezTo>
                  <a:pt x="2472218" y="346311"/>
                  <a:pt x="2483516" y="370042"/>
                  <a:pt x="2506934" y="370451"/>
                </a:cubicBezTo>
                <a:cubicBezTo>
                  <a:pt x="2524498" y="370757"/>
                  <a:pt x="2536412" y="359198"/>
                  <a:pt x="2542472" y="347537"/>
                </a:cubicBezTo>
                <a:cubicBezTo>
                  <a:pt x="2548634" y="329994"/>
                  <a:pt x="2554694" y="318333"/>
                  <a:pt x="2560856" y="300791"/>
                </a:cubicBezTo>
                <a:cubicBezTo>
                  <a:pt x="2566712" y="300893"/>
                  <a:pt x="2566712" y="300893"/>
                  <a:pt x="2566712" y="300893"/>
                </a:cubicBezTo>
                <a:cubicBezTo>
                  <a:pt x="2572566" y="300996"/>
                  <a:pt x="2572566" y="300996"/>
                  <a:pt x="2572566" y="300996"/>
                </a:cubicBezTo>
                <a:cubicBezTo>
                  <a:pt x="2572052" y="330403"/>
                  <a:pt x="2565581" y="365591"/>
                  <a:pt x="2588486" y="395408"/>
                </a:cubicBezTo>
                <a:cubicBezTo>
                  <a:pt x="2617964" y="384156"/>
                  <a:pt x="2612726" y="348764"/>
                  <a:pt x="2624743" y="331323"/>
                </a:cubicBezTo>
                <a:cubicBezTo>
                  <a:pt x="2630597" y="331425"/>
                  <a:pt x="2642307" y="331630"/>
                  <a:pt x="2648161" y="331732"/>
                </a:cubicBezTo>
                <a:cubicBezTo>
                  <a:pt x="2647750" y="355258"/>
                  <a:pt x="2653194" y="378887"/>
                  <a:pt x="2652784" y="402413"/>
                </a:cubicBezTo>
                <a:cubicBezTo>
                  <a:pt x="2652168" y="437703"/>
                  <a:pt x="2675585" y="438111"/>
                  <a:pt x="2699004" y="438520"/>
                </a:cubicBezTo>
                <a:cubicBezTo>
                  <a:pt x="2728276" y="439031"/>
                  <a:pt x="2716978" y="415300"/>
                  <a:pt x="2717286" y="397656"/>
                </a:cubicBezTo>
                <a:cubicBezTo>
                  <a:pt x="2717594" y="380011"/>
                  <a:pt x="2718004" y="356484"/>
                  <a:pt x="2712561" y="332856"/>
                </a:cubicBezTo>
                <a:cubicBezTo>
                  <a:pt x="2702392" y="244428"/>
                  <a:pt x="2702392" y="244428"/>
                  <a:pt x="2795756" y="263707"/>
                </a:cubicBezTo>
                <a:cubicBezTo>
                  <a:pt x="2918291" y="289380"/>
                  <a:pt x="3034355" y="350240"/>
                  <a:pt x="3162846" y="370133"/>
                </a:cubicBezTo>
                <a:cubicBezTo>
                  <a:pt x="3180307" y="376321"/>
                  <a:pt x="3203622" y="382611"/>
                  <a:pt x="3221288" y="377036"/>
                </a:cubicBezTo>
                <a:cubicBezTo>
                  <a:pt x="3262270" y="377751"/>
                  <a:pt x="3279731" y="383940"/>
                  <a:pt x="3284765" y="431095"/>
                </a:cubicBezTo>
                <a:cubicBezTo>
                  <a:pt x="3283943" y="478148"/>
                  <a:pt x="3324720" y="490627"/>
                  <a:pt x="3365702" y="491342"/>
                </a:cubicBezTo>
                <a:cubicBezTo>
                  <a:pt x="3373198" y="397338"/>
                  <a:pt x="3351423" y="302824"/>
                  <a:pt x="3359023" y="202938"/>
                </a:cubicBezTo>
                <a:cubicBezTo>
                  <a:pt x="3387371" y="256384"/>
                  <a:pt x="3392302" y="309420"/>
                  <a:pt x="3420651" y="362866"/>
                </a:cubicBezTo>
                <a:cubicBezTo>
                  <a:pt x="3443350" y="404446"/>
                  <a:pt x="3461017" y="398871"/>
                  <a:pt x="3479299" y="358006"/>
                </a:cubicBezTo>
                <a:cubicBezTo>
                  <a:pt x="3491419" y="334684"/>
                  <a:pt x="3509495" y="305583"/>
                  <a:pt x="3515863" y="276277"/>
                </a:cubicBezTo>
                <a:cubicBezTo>
                  <a:pt x="3547291" y="153274"/>
                  <a:pt x="3559103" y="147597"/>
                  <a:pt x="3663253" y="220016"/>
                </a:cubicBezTo>
                <a:cubicBezTo>
                  <a:pt x="3699304" y="167694"/>
                  <a:pt x="3705261" y="161915"/>
                  <a:pt x="3712964" y="56148"/>
                </a:cubicBezTo>
                <a:cubicBezTo>
                  <a:pt x="3759799" y="56965"/>
                  <a:pt x="3782397" y="104427"/>
                  <a:pt x="3823276" y="111024"/>
                </a:cubicBezTo>
                <a:cubicBezTo>
                  <a:pt x="3793387" y="145802"/>
                  <a:pt x="3769250" y="186565"/>
                  <a:pt x="3786096" y="228043"/>
                </a:cubicBezTo>
                <a:cubicBezTo>
                  <a:pt x="3820298" y="281591"/>
                  <a:pt x="3872476" y="311919"/>
                  <a:pt x="3937183" y="295398"/>
                </a:cubicBezTo>
                <a:cubicBezTo>
                  <a:pt x="3914792" y="236173"/>
                  <a:pt x="3974159" y="190142"/>
                  <a:pt x="3975083" y="137207"/>
                </a:cubicBezTo>
                <a:cubicBezTo>
                  <a:pt x="3975391" y="119563"/>
                  <a:pt x="3998706" y="125852"/>
                  <a:pt x="3998397" y="143498"/>
                </a:cubicBezTo>
                <a:cubicBezTo>
                  <a:pt x="4003328" y="196534"/>
                  <a:pt x="4014217" y="243791"/>
                  <a:pt x="3989874" y="296318"/>
                </a:cubicBezTo>
                <a:cubicBezTo>
                  <a:pt x="3977549" y="331403"/>
                  <a:pt x="4011547" y="396714"/>
                  <a:pt x="4052528" y="397429"/>
                </a:cubicBezTo>
                <a:cubicBezTo>
                  <a:pt x="4117134" y="386790"/>
                  <a:pt x="4065059" y="350581"/>
                  <a:pt x="4065674" y="315291"/>
                </a:cubicBezTo>
                <a:cubicBezTo>
                  <a:pt x="4153493" y="316824"/>
                  <a:pt x="4234841" y="353544"/>
                  <a:pt x="4310333" y="390163"/>
                </a:cubicBezTo>
                <a:cubicBezTo>
                  <a:pt x="4328718" y="343416"/>
                  <a:pt x="4358812" y="296874"/>
                  <a:pt x="4417254" y="303777"/>
                </a:cubicBezTo>
                <a:cubicBezTo>
                  <a:pt x="4446528" y="304288"/>
                  <a:pt x="4474979" y="351852"/>
                  <a:pt x="4516166" y="340804"/>
                </a:cubicBezTo>
                <a:cubicBezTo>
                  <a:pt x="4521404" y="376196"/>
                  <a:pt x="4526642" y="411588"/>
                  <a:pt x="4531778" y="452862"/>
                </a:cubicBezTo>
                <a:cubicBezTo>
                  <a:pt x="4561255" y="441610"/>
                  <a:pt x="4550061" y="411996"/>
                  <a:pt x="4568035" y="388777"/>
                </a:cubicBezTo>
                <a:cubicBezTo>
                  <a:pt x="4567521" y="418185"/>
                  <a:pt x="4567111" y="441712"/>
                  <a:pt x="4566700" y="465238"/>
                </a:cubicBezTo>
                <a:cubicBezTo>
                  <a:pt x="4596486" y="436340"/>
                  <a:pt x="4626273" y="407444"/>
                  <a:pt x="4655956" y="384429"/>
                </a:cubicBezTo>
                <a:cubicBezTo>
                  <a:pt x="4679681" y="367192"/>
                  <a:pt x="4703304" y="355837"/>
                  <a:pt x="4726106" y="391536"/>
                </a:cubicBezTo>
                <a:cubicBezTo>
                  <a:pt x="4754763" y="427336"/>
                  <a:pt x="4790096" y="416186"/>
                  <a:pt x="4819779" y="393171"/>
                </a:cubicBezTo>
                <a:cubicBezTo>
                  <a:pt x="4843506" y="375936"/>
                  <a:pt x="4867231" y="358699"/>
                  <a:pt x="4891060" y="335581"/>
                </a:cubicBezTo>
                <a:cubicBezTo>
                  <a:pt x="4956385" y="283771"/>
                  <a:pt x="4956385" y="283771"/>
                  <a:pt x="5008049" y="343507"/>
                </a:cubicBezTo>
                <a:cubicBezTo>
                  <a:pt x="5025201" y="367340"/>
                  <a:pt x="5036397" y="396952"/>
                  <a:pt x="5065463" y="409226"/>
                </a:cubicBezTo>
                <a:cubicBezTo>
                  <a:pt x="5083233" y="397769"/>
                  <a:pt x="5071935" y="374039"/>
                  <a:pt x="5078097" y="356497"/>
                </a:cubicBezTo>
                <a:cubicBezTo>
                  <a:pt x="5084670" y="315427"/>
                  <a:pt x="5068134" y="256304"/>
                  <a:pt x="5144139" y="263515"/>
                </a:cubicBezTo>
                <a:cubicBezTo>
                  <a:pt x="5155849" y="263719"/>
                  <a:pt x="5173823" y="240500"/>
                  <a:pt x="5185840" y="223059"/>
                </a:cubicBezTo>
                <a:cubicBezTo>
                  <a:pt x="5215831" y="182398"/>
                  <a:pt x="5245823" y="141738"/>
                  <a:pt x="5275916" y="95196"/>
                </a:cubicBezTo>
                <a:cubicBezTo>
                  <a:pt x="5310428" y="131099"/>
                  <a:pt x="5309709" y="172270"/>
                  <a:pt x="5308990" y="213442"/>
                </a:cubicBezTo>
                <a:cubicBezTo>
                  <a:pt x="5308169" y="260494"/>
                  <a:pt x="5307450" y="301666"/>
                  <a:pt x="5312586" y="342939"/>
                </a:cubicBezTo>
                <a:cubicBezTo>
                  <a:pt x="5360655" y="273177"/>
                  <a:pt x="5332818" y="190324"/>
                  <a:pt x="5351615" y="120051"/>
                </a:cubicBezTo>
                <a:cubicBezTo>
                  <a:pt x="5375033" y="120460"/>
                  <a:pt x="5392288" y="138411"/>
                  <a:pt x="5386125" y="155954"/>
                </a:cubicBezTo>
                <a:cubicBezTo>
                  <a:pt x="5372774" y="249855"/>
                  <a:pt x="5388901" y="332504"/>
                  <a:pt x="5452069" y="404208"/>
                </a:cubicBezTo>
                <a:cubicBezTo>
                  <a:pt x="5457820" y="410192"/>
                  <a:pt x="5457718" y="416073"/>
                  <a:pt x="5457614" y="421955"/>
                </a:cubicBezTo>
                <a:cubicBezTo>
                  <a:pt x="5456382" y="492534"/>
                  <a:pt x="5508355" y="534625"/>
                  <a:pt x="5548310" y="594156"/>
                </a:cubicBezTo>
                <a:cubicBezTo>
                  <a:pt x="5560737" y="553190"/>
                  <a:pt x="5555500" y="517798"/>
                  <a:pt x="5556115" y="482508"/>
                </a:cubicBezTo>
                <a:cubicBezTo>
                  <a:pt x="5585182" y="494782"/>
                  <a:pt x="5584669" y="524190"/>
                  <a:pt x="5607779" y="542244"/>
                </a:cubicBezTo>
                <a:cubicBezTo>
                  <a:pt x="5638797" y="442767"/>
                  <a:pt x="5681319" y="355259"/>
                  <a:pt x="5747258" y="268159"/>
                </a:cubicBezTo>
                <a:cubicBezTo>
                  <a:pt x="5746437" y="315212"/>
                  <a:pt x="5745718" y="356383"/>
                  <a:pt x="5744897" y="403436"/>
                </a:cubicBezTo>
                <a:cubicBezTo>
                  <a:pt x="5792862" y="339556"/>
                  <a:pt x="5809708" y="381034"/>
                  <a:pt x="5832510" y="416732"/>
                </a:cubicBezTo>
                <a:cubicBezTo>
                  <a:pt x="5843910" y="434581"/>
                  <a:pt x="5843501" y="458107"/>
                  <a:pt x="5854901" y="475957"/>
                </a:cubicBezTo>
                <a:cubicBezTo>
                  <a:pt x="5860551" y="487822"/>
                  <a:pt x="5865994" y="511451"/>
                  <a:pt x="5889413" y="511860"/>
                </a:cubicBezTo>
                <a:cubicBezTo>
                  <a:pt x="5907079" y="506284"/>
                  <a:pt x="5919096" y="488844"/>
                  <a:pt x="5925258" y="471301"/>
                </a:cubicBezTo>
                <a:cubicBezTo>
                  <a:pt x="5937583" y="436216"/>
                  <a:pt x="5950011" y="395249"/>
                  <a:pt x="5944875" y="353976"/>
                </a:cubicBezTo>
                <a:cubicBezTo>
                  <a:pt x="5945491" y="318686"/>
                  <a:pt x="5980721" y="313418"/>
                  <a:pt x="5992225" y="325386"/>
                </a:cubicBezTo>
                <a:cubicBezTo>
                  <a:pt x="6032282" y="379035"/>
                  <a:pt x="6045017" y="320423"/>
                  <a:pt x="6051180" y="302881"/>
                </a:cubicBezTo>
                <a:cubicBezTo>
                  <a:pt x="6063300" y="279558"/>
                  <a:pt x="6081274" y="256338"/>
                  <a:pt x="6105001" y="239103"/>
                </a:cubicBezTo>
                <a:cubicBezTo>
                  <a:pt x="6116915" y="227544"/>
                  <a:pt x="6134581" y="221969"/>
                  <a:pt x="6152145" y="222275"/>
                </a:cubicBezTo>
                <a:cubicBezTo>
                  <a:pt x="6216338" y="235163"/>
                  <a:pt x="6228253" y="223603"/>
                  <a:pt x="6223528" y="158804"/>
                </a:cubicBezTo>
                <a:cubicBezTo>
                  <a:pt x="6218290" y="123412"/>
                  <a:pt x="6213051" y="88020"/>
                  <a:pt x="6207813" y="52629"/>
                </a:cubicBezTo>
                <a:cubicBezTo>
                  <a:pt x="6208121" y="34983"/>
                  <a:pt x="6196720" y="17135"/>
                  <a:pt x="6226300" y="0"/>
                </a:cubicBezTo>
                <a:close/>
              </a:path>
            </a:pathLst>
          </a:custGeom>
          <a:solidFill>
            <a:schemeClr val="bg1">
              <a:lumMod val="95000"/>
            </a:schemeClr>
          </a:solidFill>
        </p:spPr>
        <p:txBody>
          <a:bodyPr wrap="square" anchor="ctr">
            <a:noAutofit/>
          </a:bodyPr>
          <a:lstStyle>
            <a:lvl1pPr marL="0" indent="0" algn="ctr">
              <a:buNone/>
              <a:defRPr sz="900">
                <a:latin typeface="Arial" pitchFamily="34" charset="0"/>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Tree>
    <p:extLst>
      <p:ext uri="{BB962C8B-B14F-4D97-AF65-F5344CB8AC3E}">
        <p14:creationId xmlns:p14="http://schemas.microsoft.com/office/powerpoint/2010/main" val="21864822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캡션 있는 콘텐츠">
    <p:spTree>
      <p:nvGrpSpPr>
        <p:cNvPr id="1" name=""/>
        <p:cNvGrpSpPr/>
        <p:nvPr/>
      </p:nvGrpSpPr>
      <p:grpSpPr>
        <a:xfrm>
          <a:off x="0" y="0"/>
          <a:ext cx="0" cy="0"/>
          <a:chOff x="0" y="0"/>
          <a:chExt cx="0" cy="0"/>
        </a:xfrm>
      </p:grpSpPr>
      <p:sp>
        <p:nvSpPr>
          <p:cNvPr id="5" name="자유형: 도형 4">
            <a:extLst>
              <a:ext uri="{FF2B5EF4-FFF2-40B4-BE49-F238E27FC236}">
                <a16:creationId xmlns:a16="http://schemas.microsoft.com/office/drawing/2014/main" id="{9A663179-03F3-4CAD-BFA5-2FB426A8335F}"/>
              </a:ext>
            </a:extLst>
          </p:cNvPr>
          <p:cNvSpPr>
            <a:spLocks noGrp="1"/>
          </p:cNvSpPr>
          <p:nvPr>
            <p:ph type="pic" idx="16" hasCustomPrompt="1"/>
          </p:nvPr>
        </p:nvSpPr>
        <p:spPr>
          <a:xfrm>
            <a:off x="431192" y="155872"/>
            <a:ext cx="8426367" cy="4000100"/>
          </a:xfrm>
          <a:custGeom>
            <a:avLst/>
            <a:gdLst>
              <a:gd name="connsiteX0" fmla="*/ 8425507 w 11235156"/>
              <a:gd name="connsiteY0" fmla="*/ 142 h 5333466"/>
              <a:gd name="connsiteX1" fmla="*/ 8435746 w 11235156"/>
              <a:gd name="connsiteY1" fmla="*/ 4441 h 5333466"/>
              <a:gd name="connsiteX2" fmla="*/ 8568476 w 11235156"/>
              <a:gd name="connsiteY2" fmla="*/ 24314 h 5333466"/>
              <a:gd name="connsiteX3" fmla="*/ 8706011 w 11235156"/>
              <a:gd name="connsiteY3" fmla="*/ 14135 h 5333466"/>
              <a:gd name="connsiteX4" fmla="*/ 8940296 w 11235156"/>
              <a:gd name="connsiteY4" fmla="*/ 21827 h 5333466"/>
              <a:gd name="connsiteX5" fmla="*/ 9035969 w 11235156"/>
              <a:gd name="connsiteY5" fmla="*/ 48250 h 5333466"/>
              <a:gd name="connsiteX6" fmla="*/ 9059016 w 11235156"/>
              <a:gd name="connsiteY6" fmla="*/ 47592 h 5333466"/>
              <a:gd name="connsiteX7" fmla="*/ 9112902 w 11235156"/>
              <a:gd name="connsiteY7" fmla="*/ 41130 h 5333466"/>
              <a:gd name="connsiteX8" fmla="*/ 9192076 w 11235156"/>
              <a:gd name="connsiteY8" fmla="*/ 52688 h 5333466"/>
              <a:gd name="connsiteX9" fmla="*/ 9314443 w 11235156"/>
              <a:gd name="connsiteY9" fmla="*/ 73803 h 5333466"/>
              <a:gd name="connsiteX10" fmla="*/ 9386403 w 11235156"/>
              <a:gd name="connsiteY10" fmla="*/ 77806 h 5333466"/>
              <a:gd name="connsiteX11" fmla="*/ 9488456 w 11235156"/>
              <a:gd name="connsiteY11" fmla="*/ 69776 h 5333466"/>
              <a:gd name="connsiteX12" fmla="*/ 9545909 w 11235156"/>
              <a:gd name="connsiteY12" fmla="*/ 75519 h 5333466"/>
              <a:gd name="connsiteX13" fmla="*/ 9561661 w 11235156"/>
              <a:gd name="connsiteY13" fmla="*/ 84156 h 5333466"/>
              <a:gd name="connsiteX14" fmla="*/ 9563404 w 11235156"/>
              <a:gd name="connsiteY14" fmla="*/ 98685 h 5333466"/>
              <a:gd name="connsiteX15" fmla="*/ 9583550 w 11235156"/>
              <a:gd name="connsiteY15" fmla="*/ 108901 h 5333466"/>
              <a:gd name="connsiteX16" fmla="*/ 9644812 w 11235156"/>
              <a:gd name="connsiteY16" fmla="*/ 76289 h 5333466"/>
              <a:gd name="connsiteX17" fmla="*/ 9667859 w 11235156"/>
              <a:gd name="connsiteY17" fmla="*/ 75630 h 5333466"/>
              <a:gd name="connsiteX18" fmla="*/ 9668276 w 11235156"/>
              <a:gd name="connsiteY18" fmla="*/ 96634 h 5333466"/>
              <a:gd name="connsiteX19" fmla="*/ 9683947 w 11235156"/>
              <a:gd name="connsiteY19" fmla="*/ 122125 h 5333466"/>
              <a:gd name="connsiteX20" fmla="*/ 9703347 w 11235156"/>
              <a:gd name="connsiteY20" fmla="*/ 126114 h 5333466"/>
              <a:gd name="connsiteX21" fmla="*/ 9713878 w 11235156"/>
              <a:gd name="connsiteY21" fmla="*/ 143801 h 5333466"/>
              <a:gd name="connsiteX22" fmla="*/ 9713548 w 11235156"/>
              <a:gd name="connsiteY22" fmla="*/ 158577 h 5333466"/>
              <a:gd name="connsiteX23" fmla="*/ 9730377 w 11235156"/>
              <a:gd name="connsiteY23" fmla="*/ 158665 h 5333466"/>
              <a:gd name="connsiteX24" fmla="*/ 9782191 w 11235156"/>
              <a:gd name="connsiteY24" fmla="*/ 152451 h 5333466"/>
              <a:gd name="connsiteX25" fmla="*/ 9932323 w 11235156"/>
              <a:gd name="connsiteY25" fmla="*/ 107075 h 5333466"/>
              <a:gd name="connsiteX26" fmla="*/ 9953130 w 11235156"/>
              <a:gd name="connsiteY26" fmla="*/ 87735 h 5333466"/>
              <a:gd name="connsiteX27" fmla="*/ 9950397 w 11235156"/>
              <a:gd name="connsiteY27" fmla="*/ 117539 h 5333466"/>
              <a:gd name="connsiteX28" fmla="*/ 9977676 w 11235156"/>
              <a:gd name="connsiteY28" fmla="*/ 152165 h 5333466"/>
              <a:gd name="connsiteX29" fmla="*/ 10169433 w 11235156"/>
              <a:gd name="connsiteY29" fmla="*/ 173380 h 5333466"/>
              <a:gd name="connsiteX30" fmla="*/ 10239072 w 11235156"/>
              <a:gd name="connsiteY30" fmla="*/ 175554 h 5333466"/>
              <a:gd name="connsiteX31" fmla="*/ 10261459 w 11235156"/>
              <a:gd name="connsiteY31" fmla="*/ 204451 h 5333466"/>
              <a:gd name="connsiteX32" fmla="*/ 10299679 w 11235156"/>
              <a:gd name="connsiteY32" fmla="*/ 225132 h 5333466"/>
              <a:gd name="connsiteX33" fmla="*/ 10343452 w 11235156"/>
              <a:gd name="connsiteY33" fmla="*/ 221988 h 5333466"/>
              <a:gd name="connsiteX34" fmla="*/ 10370395 w 11235156"/>
              <a:gd name="connsiteY34" fmla="*/ 218757 h 5333466"/>
              <a:gd name="connsiteX35" fmla="*/ 10404882 w 11235156"/>
              <a:gd name="connsiteY35" fmla="*/ 208304 h 5333466"/>
              <a:gd name="connsiteX36" fmla="*/ 10432820 w 11235156"/>
              <a:gd name="connsiteY36" fmla="*/ 213375 h 5333466"/>
              <a:gd name="connsiteX37" fmla="*/ 10453465 w 11235156"/>
              <a:gd name="connsiteY37" fmla="*/ 227742 h 5333466"/>
              <a:gd name="connsiteX38" fmla="*/ 10485798 w 11235156"/>
              <a:gd name="connsiteY38" fmla="*/ 234392 h 5333466"/>
              <a:gd name="connsiteX39" fmla="*/ 10522438 w 11235156"/>
              <a:gd name="connsiteY39" fmla="*/ 206837 h 5333466"/>
              <a:gd name="connsiteX40" fmla="*/ 10525008 w 11235156"/>
              <a:gd name="connsiteY40" fmla="*/ 210740 h 5333466"/>
              <a:gd name="connsiteX41" fmla="*/ 10529657 w 11235156"/>
              <a:gd name="connsiteY41" fmla="*/ 267028 h 5333466"/>
              <a:gd name="connsiteX42" fmla="*/ 10537119 w 11235156"/>
              <a:gd name="connsiteY42" fmla="*/ 276660 h 5333466"/>
              <a:gd name="connsiteX43" fmla="*/ 10616791 w 11235156"/>
              <a:gd name="connsiteY43" fmla="*/ 292370 h 5333466"/>
              <a:gd name="connsiteX44" fmla="*/ 10651943 w 11235156"/>
              <a:gd name="connsiteY44" fmla="*/ 304998 h 5333466"/>
              <a:gd name="connsiteX45" fmla="*/ 10655677 w 11235156"/>
              <a:gd name="connsiteY45" fmla="*/ 336130 h 5333466"/>
              <a:gd name="connsiteX46" fmla="*/ 10604031 w 11235156"/>
              <a:gd name="connsiteY46" fmla="*/ 361274 h 5333466"/>
              <a:gd name="connsiteX47" fmla="*/ 10549230 w 11235156"/>
              <a:gd name="connsiteY47" fmla="*/ 342581 h 5333466"/>
              <a:gd name="connsiteX48" fmla="*/ 10498823 w 11235156"/>
              <a:gd name="connsiteY48" fmla="*/ 325468 h 5333466"/>
              <a:gd name="connsiteX49" fmla="*/ 10446263 w 11235156"/>
              <a:gd name="connsiteY49" fmla="*/ 325455 h 5333466"/>
              <a:gd name="connsiteX50" fmla="*/ 10395943 w 11235156"/>
              <a:gd name="connsiteY50" fmla="*/ 344122 h 5333466"/>
              <a:gd name="connsiteX51" fmla="*/ 10284436 w 11235156"/>
              <a:gd name="connsiteY51" fmla="*/ 325915 h 5333466"/>
              <a:gd name="connsiteX52" fmla="*/ 10196561 w 11235156"/>
              <a:gd name="connsiteY52" fmla="*/ 346981 h 5333466"/>
              <a:gd name="connsiteX53" fmla="*/ 10160830 w 11235156"/>
              <a:gd name="connsiteY53" fmla="*/ 347056 h 5333466"/>
              <a:gd name="connsiteX54" fmla="*/ 9949424 w 11235156"/>
              <a:gd name="connsiteY54" fmla="*/ 319776 h 5333466"/>
              <a:gd name="connsiteX55" fmla="*/ 9916014 w 11235156"/>
              <a:gd name="connsiteY55" fmla="*/ 321677 h 5333466"/>
              <a:gd name="connsiteX56" fmla="*/ 9892469 w 11235156"/>
              <a:gd name="connsiteY56" fmla="*/ 318184 h 5333466"/>
              <a:gd name="connsiteX57" fmla="*/ 9895457 w 11235156"/>
              <a:gd name="connsiteY57" fmla="*/ 343091 h 5333466"/>
              <a:gd name="connsiteX58" fmla="*/ 9885013 w 11235156"/>
              <a:gd name="connsiteY58" fmla="*/ 361187 h 5333466"/>
              <a:gd name="connsiteX59" fmla="*/ 9846960 w 11235156"/>
              <a:gd name="connsiteY59" fmla="*/ 359435 h 5333466"/>
              <a:gd name="connsiteX60" fmla="*/ 9766710 w 11235156"/>
              <a:gd name="connsiteY60" fmla="*/ 356427 h 5333466"/>
              <a:gd name="connsiteX61" fmla="*/ 9757424 w 11235156"/>
              <a:gd name="connsiteY61" fmla="*/ 349119 h 5333466"/>
              <a:gd name="connsiteX62" fmla="*/ 9717380 w 11235156"/>
              <a:gd name="connsiteY62" fmla="*/ 330763 h 5333466"/>
              <a:gd name="connsiteX63" fmla="*/ 9529438 w 11235156"/>
              <a:gd name="connsiteY63" fmla="*/ 323827 h 5333466"/>
              <a:gd name="connsiteX64" fmla="*/ 9512857 w 11235156"/>
              <a:gd name="connsiteY64" fmla="*/ 325816 h 5333466"/>
              <a:gd name="connsiteX65" fmla="*/ 9469415 w 11235156"/>
              <a:gd name="connsiteY65" fmla="*/ 314182 h 5333466"/>
              <a:gd name="connsiteX66" fmla="*/ 9427217 w 11235156"/>
              <a:gd name="connsiteY66" fmla="*/ 312927 h 5333466"/>
              <a:gd name="connsiteX67" fmla="*/ 9406909 w 11235156"/>
              <a:gd name="connsiteY67" fmla="*/ 336417 h 5333466"/>
              <a:gd name="connsiteX68" fmla="*/ 9372833 w 11235156"/>
              <a:gd name="connsiteY68" fmla="*/ 315239 h 5333466"/>
              <a:gd name="connsiteX69" fmla="*/ 9324915 w 11235156"/>
              <a:gd name="connsiteY69" fmla="*/ 318881 h 5333466"/>
              <a:gd name="connsiteX70" fmla="*/ 9260672 w 11235156"/>
              <a:gd name="connsiteY70" fmla="*/ 379222 h 5333466"/>
              <a:gd name="connsiteX71" fmla="*/ 9258848 w 11235156"/>
              <a:gd name="connsiteY71" fmla="*/ 381546 h 5333466"/>
              <a:gd name="connsiteX72" fmla="*/ 9226104 w 11235156"/>
              <a:gd name="connsiteY72" fmla="*/ 406526 h 5333466"/>
              <a:gd name="connsiteX73" fmla="*/ 8944979 w 11235156"/>
              <a:gd name="connsiteY73" fmla="*/ 393924 h 5333466"/>
              <a:gd name="connsiteX74" fmla="*/ 8766323 w 11235156"/>
              <a:gd name="connsiteY74" fmla="*/ 394297 h 5333466"/>
              <a:gd name="connsiteX75" fmla="*/ 8555415 w 11235156"/>
              <a:gd name="connsiteY75" fmla="*/ 371168 h 5333466"/>
              <a:gd name="connsiteX76" fmla="*/ 8401797 w 11235156"/>
              <a:gd name="connsiteY76" fmla="*/ 387487 h 5333466"/>
              <a:gd name="connsiteX77" fmla="*/ 8340946 w 11235156"/>
              <a:gd name="connsiteY77" fmla="*/ 388469 h 5333466"/>
              <a:gd name="connsiteX78" fmla="*/ 8209461 w 11235156"/>
              <a:gd name="connsiteY78" fmla="*/ 378973 h 5333466"/>
              <a:gd name="connsiteX79" fmla="*/ 8088257 w 11235156"/>
              <a:gd name="connsiteY79" fmla="*/ 385088 h 5333466"/>
              <a:gd name="connsiteX80" fmla="*/ 7903633 w 11235156"/>
              <a:gd name="connsiteY80" fmla="*/ 388283 h 5333466"/>
              <a:gd name="connsiteX81" fmla="*/ 7788647 w 11235156"/>
              <a:gd name="connsiteY81" fmla="*/ 393652 h 5333466"/>
              <a:gd name="connsiteX82" fmla="*/ 7539524 w 11235156"/>
              <a:gd name="connsiteY82" fmla="*/ 402476 h 5333466"/>
              <a:gd name="connsiteX83" fmla="*/ 7292144 w 11235156"/>
              <a:gd name="connsiteY83" fmla="*/ 425829 h 5333466"/>
              <a:gd name="connsiteX84" fmla="*/ 7123023 w 11235156"/>
              <a:gd name="connsiteY84" fmla="*/ 435586 h 5333466"/>
              <a:gd name="connsiteX85" fmla="*/ 6859809 w 11235156"/>
              <a:gd name="connsiteY85" fmla="*/ 467155 h 5333466"/>
              <a:gd name="connsiteX86" fmla="*/ 6726169 w 11235156"/>
              <a:gd name="connsiteY86" fmla="*/ 474761 h 5333466"/>
              <a:gd name="connsiteX87" fmla="*/ 6569652 w 11235156"/>
              <a:gd name="connsiteY87" fmla="*/ 501955 h 5333466"/>
              <a:gd name="connsiteX88" fmla="*/ 6472242 w 11235156"/>
              <a:gd name="connsiteY88" fmla="*/ 513638 h 5333466"/>
              <a:gd name="connsiteX89" fmla="*/ 6368116 w 11235156"/>
              <a:gd name="connsiteY89" fmla="*/ 521914 h 5333466"/>
              <a:gd name="connsiteX90" fmla="*/ 6241610 w 11235156"/>
              <a:gd name="connsiteY90" fmla="*/ 553931 h 5333466"/>
              <a:gd name="connsiteX91" fmla="*/ 6066688 w 11235156"/>
              <a:gd name="connsiteY91" fmla="*/ 585437 h 5333466"/>
              <a:gd name="connsiteX92" fmla="*/ 5832657 w 11235156"/>
              <a:gd name="connsiteY92" fmla="*/ 632454 h 5333466"/>
              <a:gd name="connsiteX93" fmla="*/ 5695041 w 11235156"/>
              <a:gd name="connsiteY93" fmla="*/ 659486 h 5333466"/>
              <a:gd name="connsiteX94" fmla="*/ 5479994 w 11235156"/>
              <a:gd name="connsiteY94" fmla="*/ 689488 h 5333466"/>
              <a:gd name="connsiteX95" fmla="*/ 5466979 w 11235156"/>
              <a:gd name="connsiteY95" fmla="*/ 703682 h 5333466"/>
              <a:gd name="connsiteX96" fmla="*/ 5490444 w 11235156"/>
              <a:gd name="connsiteY96" fmla="*/ 724028 h 5333466"/>
              <a:gd name="connsiteX97" fmla="*/ 5533718 w 11235156"/>
              <a:gd name="connsiteY97" fmla="*/ 716731 h 5333466"/>
              <a:gd name="connsiteX98" fmla="*/ 6465451 w 11235156"/>
              <a:gd name="connsiteY98" fmla="*/ 579719 h 5333466"/>
              <a:gd name="connsiteX99" fmla="*/ 7324731 w 11235156"/>
              <a:gd name="connsiteY99" fmla="*/ 487189 h 5333466"/>
              <a:gd name="connsiteX100" fmla="*/ 7878437 w 11235156"/>
              <a:gd name="connsiteY100" fmla="*/ 458677 h 5333466"/>
              <a:gd name="connsiteX101" fmla="*/ 8363420 w 11235156"/>
              <a:gd name="connsiteY101" fmla="*/ 453146 h 5333466"/>
              <a:gd name="connsiteX102" fmla="*/ 8960574 w 11235156"/>
              <a:gd name="connsiteY102" fmla="*/ 488902 h 5333466"/>
              <a:gd name="connsiteX103" fmla="*/ 9150589 w 11235156"/>
              <a:gd name="connsiteY103" fmla="*/ 495589 h 5333466"/>
              <a:gd name="connsiteX104" fmla="*/ 9351383 w 11235156"/>
              <a:gd name="connsiteY104" fmla="*/ 522036 h 5333466"/>
              <a:gd name="connsiteX105" fmla="*/ 9433457 w 11235156"/>
              <a:gd name="connsiteY105" fmla="*/ 522720 h 5333466"/>
              <a:gd name="connsiteX106" fmla="*/ 9491489 w 11235156"/>
              <a:gd name="connsiteY106" fmla="*/ 515760 h 5333466"/>
              <a:gd name="connsiteX107" fmla="*/ 9588070 w 11235156"/>
              <a:gd name="connsiteY107" fmla="*/ 514704 h 5333466"/>
              <a:gd name="connsiteX108" fmla="*/ 9659452 w 11235156"/>
              <a:gd name="connsiteY108" fmla="*/ 531408 h 5333466"/>
              <a:gd name="connsiteX109" fmla="*/ 9685069 w 11235156"/>
              <a:gd name="connsiteY109" fmla="*/ 534652 h 5333466"/>
              <a:gd name="connsiteX110" fmla="*/ 9732489 w 11235156"/>
              <a:gd name="connsiteY110" fmla="*/ 526859 h 5333466"/>
              <a:gd name="connsiteX111" fmla="*/ 9892909 w 11235156"/>
              <a:gd name="connsiteY111" fmla="*/ 549727 h 5333466"/>
              <a:gd name="connsiteX112" fmla="*/ 9942899 w 11235156"/>
              <a:gd name="connsiteY112" fmla="*/ 545838 h 5333466"/>
              <a:gd name="connsiteX113" fmla="*/ 10013534 w 11235156"/>
              <a:gd name="connsiteY113" fmla="*/ 556314 h 5333466"/>
              <a:gd name="connsiteX114" fmla="*/ 10047111 w 11235156"/>
              <a:gd name="connsiteY114" fmla="*/ 573341 h 5333466"/>
              <a:gd name="connsiteX115" fmla="*/ 10173126 w 11235156"/>
              <a:gd name="connsiteY115" fmla="*/ 589809 h 5333466"/>
              <a:gd name="connsiteX116" fmla="*/ 10282890 w 11235156"/>
              <a:gd name="connsiteY116" fmla="*/ 593488 h 5333466"/>
              <a:gd name="connsiteX117" fmla="*/ 10313399 w 11235156"/>
              <a:gd name="connsiteY117" fmla="*/ 602461 h 5333466"/>
              <a:gd name="connsiteX118" fmla="*/ 10351371 w 11235156"/>
              <a:gd name="connsiteY118" fmla="*/ 621066 h 5333466"/>
              <a:gd name="connsiteX119" fmla="*/ 10444224 w 11235156"/>
              <a:gd name="connsiteY119" fmla="*/ 641511 h 5333466"/>
              <a:gd name="connsiteX120" fmla="*/ 10580851 w 11235156"/>
              <a:gd name="connsiteY120" fmla="*/ 658812 h 5333466"/>
              <a:gd name="connsiteX121" fmla="*/ 10607961 w 11235156"/>
              <a:gd name="connsiteY121" fmla="*/ 674508 h 5333466"/>
              <a:gd name="connsiteX122" fmla="*/ 10612026 w 11235156"/>
              <a:gd name="connsiteY122" fmla="*/ 690865 h 5333466"/>
              <a:gd name="connsiteX123" fmla="*/ 10733321 w 11235156"/>
              <a:gd name="connsiteY123" fmla="*/ 773166 h 5333466"/>
              <a:gd name="connsiteX124" fmla="*/ 10741530 w 11235156"/>
              <a:gd name="connsiteY124" fmla="*/ 789025 h 5333466"/>
              <a:gd name="connsiteX125" fmla="*/ 10732661 w 11235156"/>
              <a:gd name="connsiteY125" fmla="*/ 802721 h 5333466"/>
              <a:gd name="connsiteX126" fmla="*/ 10727607 w 11235156"/>
              <a:gd name="connsiteY126" fmla="*/ 830697 h 5333466"/>
              <a:gd name="connsiteX127" fmla="*/ 10754799 w 11235156"/>
              <a:gd name="connsiteY127" fmla="*/ 829542 h 5333466"/>
              <a:gd name="connsiteX128" fmla="*/ 10814903 w 11235156"/>
              <a:gd name="connsiteY128" fmla="*/ 822333 h 5333466"/>
              <a:gd name="connsiteX129" fmla="*/ 10859504 w 11235156"/>
              <a:gd name="connsiteY129" fmla="*/ 808562 h 5333466"/>
              <a:gd name="connsiteX130" fmla="*/ 10872767 w 11235156"/>
              <a:gd name="connsiteY130" fmla="*/ 796445 h 5333466"/>
              <a:gd name="connsiteX131" fmla="*/ 10893492 w 11235156"/>
              <a:gd name="connsiteY131" fmla="*/ 793959 h 5333466"/>
              <a:gd name="connsiteX132" fmla="*/ 10895982 w 11235156"/>
              <a:gd name="connsiteY132" fmla="*/ 814714 h 5333466"/>
              <a:gd name="connsiteX133" fmla="*/ 10882139 w 11235156"/>
              <a:gd name="connsiteY133" fmla="*/ 839534 h 5333466"/>
              <a:gd name="connsiteX134" fmla="*/ 10877166 w 11235156"/>
              <a:gd name="connsiteY134" fmla="*/ 850658 h 5333466"/>
              <a:gd name="connsiteX135" fmla="*/ 10889851 w 11235156"/>
              <a:gd name="connsiteY135" fmla="*/ 851241 h 5333466"/>
              <a:gd name="connsiteX136" fmla="*/ 10903861 w 11235156"/>
              <a:gd name="connsiteY136" fmla="*/ 845350 h 5333466"/>
              <a:gd name="connsiteX137" fmla="*/ 10916296 w 11235156"/>
              <a:gd name="connsiteY137" fmla="*/ 843859 h 5333466"/>
              <a:gd name="connsiteX138" fmla="*/ 11000859 w 11235156"/>
              <a:gd name="connsiteY138" fmla="*/ 865298 h 5333466"/>
              <a:gd name="connsiteX139" fmla="*/ 11044383 w 11235156"/>
              <a:gd name="connsiteY139" fmla="*/ 860078 h 5333466"/>
              <a:gd name="connsiteX140" fmla="*/ 11070498 w 11235156"/>
              <a:gd name="connsiteY140" fmla="*/ 867473 h 5333466"/>
              <a:gd name="connsiteX141" fmla="*/ 11058480 w 11235156"/>
              <a:gd name="connsiteY141" fmla="*/ 889969 h 5333466"/>
              <a:gd name="connsiteX142" fmla="*/ 11047289 w 11235156"/>
              <a:gd name="connsiteY142" fmla="*/ 901838 h 5333466"/>
              <a:gd name="connsiteX143" fmla="*/ 11038918 w 11235156"/>
              <a:gd name="connsiteY143" fmla="*/ 919685 h 5333466"/>
              <a:gd name="connsiteX144" fmla="*/ 11060390 w 11235156"/>
              <a:gd name="connsiteY144" fmla="*/ 923426 h 5333466"/>
              <a:gd name="connsiteX145" fmla="*/ 11113697 w 11235156"/>
              <a:gd name="connsiteY145" fmla="*/ 929665 h 5333466"/>
              <a:gd name="connsiteX146" fmla="*/ 11190793 w 11235156"/>
              <a:gd name="connsiteY146" fmla="*/ 888837 h 5333466"/>
              <a:gd name="connsiteX147" fmla="*/ 11221215 w 11235156"/>
              <a:gd name="connsiteY147" fmla="*/ 862029 h 5333466"/>
              <a:gd name="connsiteX148" fmla="*/ 11235156 w 11235156"/>
              <a:gd name="connsiteY148" fmla="*/ 978261 h 5333466"/>
              <a:gd name="connsiteX149" fmla="*/ 11211946 w 11235156"/>
              <a:gd name="connsiteY149" fmla="*/ 1012626 h 5333466"/>
              <a:gd name="connsiteX150" fmla="*/ 11220155 w 11235156"/>
              <a:gd name="connsiteY150" fmla="*/ 1028484 h 5333466"/>
              <a:gd name="connsiteX151" fmla="*/ 11199679 w 11235156"/>
              <a:gd name="connsiteY151" fmla="*/ 1033045 h 5333466"/>
              <a:gd name="connsiteX152" fmla="*/ 11184673 w 11235156"/>
              <a:gd name="connsiteY152" fmla="*/ 1030635 h 5333466"/>
              <a:gd name="connsiteX153" fmla="*/ 11165441 w 11235156"/>
              <a:gd name="connsiteY153" fmla="*/ 1045573 h 5333466"/>
              <a:gd name="connsiteX154" fmla="*/ 11148531 w 11235156"/>
              <a:gd name="connsiteY154" fmla="*/ 1062340 h 5333466"/>
              <a:gd name="connsiteX155" fmla="*/ 11104012 w 11235156"/>
              <a:gd name="connsiteY155" fmla="*/ 1059257 h 5333466"/>
              <a:gd name="connsiteX156" fmla="*/ 11062312 w 11235156"/>
              <a:gd name="connsiteY156" fmla="*/ 1062152 h 5333466"/>
              <a:gd name="connsiteX157" fmla="*/ 11049216 w 11235156"/>
              <a:gd name="connsiteY157" fmla="*/ 1093200 h 5333466"/>
              <a:gd name="connsiteX158" fmla="*/ 11042420 w 11235156"/>
              <a:gd name="connsiteY158" fmla="*/ 1106647 h 5333466"/>
              <a:gd name="connsiteX159" fmla="*/ 10994166 w 11235156"/>
              <a:gd name="connsiteY159" fmla="*/ 1072431 h 5333466"/>
              <a:gd name="connsiteX160" fmla="*/ 10981065 w 11235156"/>
              <a:gd name="connsiteY160" fmla="*/ 1050843 h 5333466"/>
              <a:gd name="connsiteX161" fmla="*/ 10934723 w 11235156"/>
              <a:gd name="connsiteY161" fmla="*/ 1050085 h 5333466"/>
              <a:gd name="connsiteX162" fmla="*/ 10932071 w 11235156"/>
              <a:gd name="connsiteY162" fmla="*/ 1063035 h 5333466"/>
              <a:gd name="connsiteX163" fmla="*/ 10930166 w 11235156"/>
              <a:gd name="connsiteY163" fmla="*/ 1082213 h 5333466"/>
              <a:gd name="connsiteX164" fmla="*/ 10910437 w 11235156"/>
              <a:gd name="connsiteY164" fmla="*/ 1093000 h 5333466"/>
              <a:gd name="connsiteX165" fmla="*/ 10847594 w 11235156"/>
              <a:gd name="connsiteY165" fmla="*/ 1077378 h 5333466"/>
              <a:gd name="connsiteX166" fmla="*/ 10810619 w 11235156"/>
              <a:gd name="connsiteY166" fmla="*/ 1067075 h 5333466"/>
              <a:gd name="connsiteX167" fmla="*/ 10712381 w 11235156"/>
              <a:gd name="connsiteY167" fmla="*/ 1089384 h 5333466"/>
              <a:gd name="connsiteX168" fmla="*/ 10683863 w 11235156"/>
              <a:gd name="connsiteY168" fmla="*/ 1097015 h 5333466"/>
              <a:gd name="connsiteX169" fmla="*/ 10590511 w 11235156"/>
              <a:gd name="connsiteY169" fmla="*/ 1072419 h 5333466"/>
              <a:gd name="connsiteX170" fmla="*/ 10538449 w 11235156"/>
              <a:gd name="connsiteY170" fmla="*/ 1076558 h 5333466"/>
              <a:gd name="connsiteX171" fmla="*/ 10471965 w 11235156"/>
              <a:gd name="connsiteY171" fmla="*/ 1118218 h 5333466"/>
              <a:gd name="connsiteX172" fmla="*/ 10463339 w 11235156"/>
              <a:gd name="connsiteY172" fmla="*/ 1081355 h 5333466"/>
              <a:gd name="connsiteX173" fmla="*/ 10425367 w 11235156"/>
              <a:gd name="connsiteY173" fmla="*/ 1062750 h 5333466"/>
              <a:gd name="connsiteX174" fmla="*/ 10420064 w 11235156"/>
              <a:gd name="connsiteY174" fmla="*/ 1088651 h 5333466"/>
              <a:gd name="connsiteX175" fmla="*/ 10399009 w 11235156"/>
              <a:gd name="connsiteY175" fmla="*/ 1105915 h 5333466"/>
              <a:gd name="connsiteX176" fmla="*/ 10348521 w 11235156"/>
              <a:gd name="connsiteY176" fmla="*/ 1105653 h 5333466"/>
              <a:gd name="connsiteX177" fmla="*/ 10280955 w 11235156"/>
              <a:gd name="connsiteY177" fmla="*/ 1103230 h 5333466"/>
              <a:gd name="connsiteX178" fmla="*/ 10245970 w 11235156"/>
              <a:gd name="connsiteY178" fmla="*/ 1109531 h 5333466"/>
              <a:gd name="connsiteX179" fmla="*/ 10231381 w 11235156"/>
              <a:gd name="connsiteY179" fmla="*/ 1128124 h 5333466"/>
              <a:gd name="connsiteX180" fmla="*/ 10204606 w 11235156"/>
              <a:gd name="connsiteY180" fmla="*/ 1150284 h 5333466"/>
              <a:gd name="connsiteX181" fmla="*/ 10190758 w 11235156"/>
              <a:gd name="connsiteY181" fmla="*/ 1122469 h 5333466"/>
              <a:gd name="connsiteX182" fmla="*/ 10175255 w 11235156"/>
              <a:gd name="connsiteY182" fmla="*/ 1115907 h 5333466"/>
              <a:gd name="connsiteX183" fmla="*/ 10165888 w 11235156"/>
              <a:gd name="connsiteY183" fmla="*/ 1125452 h 5333466"/>
              <a:gd name="connsiteX184" fmla="*/ 10142678 w 11235156"/>
              <a:gd name="connsiteY184" fmla="*/ 1159817 h 5333466"/>
              <a:gd name="connsiteX185" fmla="*/ 10137375 w 11235156"/>
              <a:gd name="connsiteY185" fmla="*/ 1185718 h 5333466"/>
              <a:gd name="connsiteX186" fmla="*/ 10152879 w 11235156"/>
              <a:gd name="connsiteY186" fmla="*/ 1192280 h 5333466"/>
              <a:gd name="connsiteX187" fmla="*/ 10330128 w 11235156"/>
              <a:gd name="connsiteY187" fmla="*/ 1215236 h 5333466"/>
              <a:gd name="connsiteX188" fmla="*/ 10466424 w 11235156"/>
              <a:gd name="connsiteY188" fmla="*/ 1247313 h 5333466"/>
              <a:gd name="connsiteX189" fmla="*/ 10528774 w 11235156"/>
              <a:gd name="connsiteY189" fmla="*/ 1311419 h 5333466"/>
              <a:gd name="connsiteX190" fmla="*/ 10573624 w 11235156"/>
              <a:gd name="connsiteY190" fmla="*/ 1299724 h 5333466"/>
              <a:gd name="connsiteX191" fmla="*/ 10585150 w 11235156"/>
              <a:gd name="connsiteY191" fmla="*/ 1325712 h 5333466"/>
              <a:gd name="connsiteX192" fmla="*/ 10615329 w 11235156"/>
              <a:gd name="connsiteY192" fmla="*/ 1349463 h 5333466"/>
              <a:gd name="connsiteX193" fmla="*/ 10640281 w 11235156"/>
              <a:gd name="connsiteY193" fmla="*/ 1329627 h 5333466"/>
              <a:gd name="connsiteX194" fmla="*/ 10652629 w 11235156"/>
              <a:gd name="connsiteY194" fmla="*/ 1292354 h 5333466"/>
              <a:gd name="connsiteX195" fmla="*/ 10679659 w 11235156"/>
              <a:gd name="connsiteY195" fmla="*/ 1324905 h 5333466"/>
              <a:gd name="connsiteX196" fmla="*/ 10711663 w 11235156"/>
              <a:gd name="connsiteY196" fmla="*/ 1346331 h 5333466"/>
              <a:gd name="connsiteX197" fmla="*/ 10698654 w 11235156"/>
              <a:gd name="connsiteY197" fmla="*/ 1413159 h 5333466"/>
              <a:gd name="connsiteX198" fmla="*/ 10668810 w 11235156"/>
              <a:gd name="connsiteY198" fmla="*/ 1427265 h 5333466"/>
              <a:gd name="connsiteX199" fmla="*/ 10653885 w 11235156"/>
              <a:gd name="connsiteY199" fmla="*/ 1408001 h 5333466"/>
              <a:gd name="connsiteX200" fmla="*/ 10639956 w 11235156"/>
              <a:gd name="connsiteY200" fmla="*/ 1397039 h 5333466"/>
              <a:gd name="connsiteX201" fmla="*/ 10583083 w 11235156"/>
              <a:gd name="connsiteY201" fmla="*/ 1378595 h 5333466"/>
              <a:gd name="connsiteX202" fmla="*/ 10537238 w 11235156"/>
              <a:gd name="connsiteY202" fmla="*/ 1381988 h 5333466"/>
              <a:gd name="connsiteX203" fmla="*/ 10524056 w 11235156"/>
              <a:gd name="connsiteY203" fmla="*/ 1377253 h 5333466"/>
              <a:gd name="connsiteX204" fmla="*/ 10509878 w 11235156"/>
              <a:gd name="connsiteY204" fmla="*/ 1364215 h 5333466"/>
              <a:gd name="connsiteX205" fmla="*/ 10402105 w 11235156"/>
              <a:gd name="connsiteY205" fmla="*/ 1377141 h 5333466"/>
              <a:gd name="connsiteX206" fmla="*/ 10346644 w 11235156"/>
              <a:gd name="connsiteY206" fmla="*/ 1388004 h 5333466"/>
              <a:gd name="connsiteX207" fmla="*/ 10300134 w 11235156"/>
              <a:gd name="connsiteY207" fmla="*/ 1368317 h 5333466"/>
              <a:gd name="connsiteX208" fmla="*/ 10278413 w 11235156"/>
              <a:gd name="connsiteY208" fmla="*/ 1362501 h 5333466"/>
              <a:gd name="connsiteX209" fmla="*/ 10273109 w 11235156"/>
              <a:gd name="connsiteY209" fmla="*/ 1388401 h 5333466"/>
              <a:gd name="connsiteX210" fmla="*/ 10279993 w 11235156"/>
              <a:gd name="connsiteY210" fmla="*/ 1410735 h 5333466"/>
              <a:gd name="connsiteX211" fmla="*/ 10315562 w 11235156"/>
              <a:gd name="connsiteY211" fmla="*/ 1444367 h 5333466"/>
              <a:gd name="connsiteX212" fmla="*/ 10424996 w 11235156"/>
              <a:gd name="connsiteY212" fmla="*/ 1462823 h 5333466"/>
              <a:gd name="connsiteX213" fmla="*/ 10437767 w 11235156"/>
              <a:gd name="connsiteY213" fmla="*/ 1499188 h 5333466"/>
              <a:gd name="connsiteX214" fmla="*/ 10436192 w 11235156"/>
              <a:gd name="connsiteY214" fmla="*/ 1503588 h 5333466"/>
              <a:gd name="connsiteX215" fmla="*/ 10408259 w 11235156"/>
              <a:gd name="connsiteY215" fmla="*/ 1551153 h 5333466"/>
              <a:gd name="connsiteX216" fmla="*/ 10391181 w 11235156"/>
              <a:gd name="connsiteY216" fmla="*/ 1548989 h 5333466"/>
              <a:gd name="connsiteX217" fmla="*/ 10410494 w 11235156"/>
              <a:gd name="connsiteY217" fmla="*/ 1517197 h 5333466"/>
              <a:gd name="connsiteX218" fmla="*/ 10387528 w 11235156"/>
              <a:gd name="connsiteY218" fmla="*/ 1501003 h 5333466"/>
              <a:gd name="connsiteX219" fmla="*/ 10378908 w 11235156"/>
              <a:gd name="connsiteY219" fmla="*/ 1516775 h 5333466"/>
              <a:gd name="connsiteX220" fmla="*/ 10335471 w 11235156"/>
              <a:gd name="connsiteY220" fmla="*/ 1557777 h 5333466"/>
              <a:gd name="connsiteX221" fmla="*/ 10246351 w 11235156"/>
              <a:gd name="connsiteY221" fmla="*/ 1568465 h 5333466"/>
              <a:gd name="connsiteX222" fmla="*/ 10199921 w 11235156"/>
              <a:gd name="connsiteY222" fmla="*/ 1531926 h 5333466"/>
              <a:gd name="connsiteX223" fmla="*/ 10199175 w 11235156"/>
              <a:gd name="connsiteY223" fmla="*/ 1525699 h 5333466"/>
              <a:gd name="connsiteX224" fmla="*/ 10194862 w 11235156"/>
              <a:gd name="connsiteY224" fmla="*/ 1507268 h 5333466"/>
              <a:gd name="connsiteX225" fmla="*/ 10168665 w 11235156"/>
              <a:gd name="connsiteY225" fmla="*/ 1516726 h 5333466"/>
              <a:gd name="connsiteX226" fmla="*/ 10161042 w 11235156"/>
              <a:gd name="connsiteY226" fmla="*/ 1540800 h 5333466"/>
              <a:gd name="connsiteX227" fmla="*/ 10132772 w 11235156"/>
              <a:gd name="connsiteY227" fmla="*/ 1550506 h 5333466"/>
              <a:gd name="connsiteX228" fmla="*/ 10127712 w 11235156"/>
              <a:gd name="connsiteY228" fmla="*/ 1525848 h 5333466"/>
              <a:gd name="connsiteX229" fmla="*/ 10132685 w 11235156"/>
              <a:gd name="connsiteY229" fmla="*/ 1514724 h 5333466"/>
              <a:gd name="connsiteX230" fmla="*/ 10130943 w 11235156"/>
              <a:gd name="connsiteY230" fmla="*/ 1500196 h 5333466"/>
              <a:gd name="connsiteX231" fmla="*/ 10119005 w 11235156"/>
              <a:gd name="connsiteY231" fmla="*/ 1505838 h 5333466"/>
              <a:gd name="connsiteX232" fmla="*/ 10103339 w 11235156"/>
              <a:gd name="connsiteY232" fmla="*/ 1532982 h 5333466"/>
              <a:gd name="connsiteX233" fmla="*/ 10051445 w 11235156"/>
              <a:gd name="connsiteY233" fmla="*/ 1556050 h 5333466"/>
              <a:gd name="connsiteX234" fmla="*/ 10011649 w 11235156"/>
              <a:gd name="connsiteY234" fmla="*/ 1539768 h 5333466"/>
              <a:gd name="connsiteX235" fmla="*/ 9985204 w 11235156"/>
              <a:gd name="connsiteY235" fmla="*/ 1547151 h 5333466"/>
              <a:gd name="connsiteX236" fmla="*/ 9950885 w 11235156"/>
              <a:gd name="connsiteY236" fmla="*/ 1576531 h 5333466"/>
              <a:gd name="connsiteX237" fmla="*/ 9919050 w 11235156"/>
              <a:gd name="connsiteY237" fmla="*/ 1574034 h 5333466"/>
              <a:gd name="connsiteX238" fmla="*/ 9739977 w 11235156"/>
              <a:gd name="connsiteY238" fmla="*/ 1553402 h 5333466"/>
              <a:gd name="connsiteX239" fmla="*/ 9712288 w 11235156"/>
              <a:gd name="connsiteY239" fmla="*/ 1550406 h 5333466"/>
              <a:gd name="connsiteX240" fmla="*/ 9643974 w 11235156"/>
              <a:gd name="connsiteY240" fmla="*/ 1541757 h 5333466"/>
              <a:gd name="connsiteX241" fmla="*/ 9550797 w 11235156"/>
              <a:gd name="connsiteY241" fmla="*/ 1588724 h 5333466"/>
              <a:gd name="connsiteX242" fmla="*/ 9506944 w 11235156"/>
              <a:gd name="connsiteY242" fmla="*/ 1608722 h 5333466"/>
              <a:gd name="connsiteX243" fmla="*/ 9340554 w 11235156"/>
              <a:gd name="connsiteY243" fmla="*/ 1588675 h 5333466"/>
              <a:gd name="connsiteX244" fmla="*/ 9312036 w 11235156"/>
              <a:gd name="connsiteY244" fmla="*/ 1596306 h 5333466"/>
              <a:gd name="connsiteX245" fmla="*/ 9300846 w 11235156"/>
              <a:gd name="connsiteY245" fmla="*/ 1608175 h 5333466"/>
              <a:gd name="connsiteX246" fmla="*/ 9296122 w 11235156"/>
              <a:gd name="connsiteY246" fmla="*/ 1621374 h 5333466"/>
              <a:gd name="connsiteX247" fmla="*/ 9323233 w 11235156"/>
              <a:gd name="connsiteY247" fmla="*/ 1637071 h 5333466"/>
              <a:gd name="connsiteX248" fmla="*/ 9344873 w 11235156"/>
              <a:gd name="connsiteY248" fmla="*/ 1659740 h 5333466"/>
              <a:gd name="connsiteX249" fmla="*/ 9322573 w 11235156"/>
              <a:gd name="connsiteY249" fmla="*/ 1666626 h 5333466"/>
              <a:gd name="connsiteX250" fmla="*/ 9282610 w 11235156"/>
              <a:gd name="connsiteY250" fmla="*/ 1631417 h 5333466"/>
              <a:gd name="connsiteX251" fmla="*/ 9140096 w 11235156"/>
              <a:gd name="connsiteY251" fmla="*/ 1600084 h 5333466"/>
              <a:gd name="connsiteX252" fmla="*/ 9097568 w 11235156"/>
              <a:gd name="connsiteY252" fmla="*/ 1613607 h 5333466"/>
              <a:gd name="connsiteX253" fmla="*/ 9081567 w 11235156"/>
              <a:gd name="connsiteY253" fmla="*/ 1602893 h 5333466"/>
              <a:gd name="connsiteX254" fmla="*/ 9052383 w 11235156"/>
              <a:gd name="connsiteY254" fmla="*/ 1587444 h 5333466"/>
              <a:gd name="connsiteX255" fmla="*/ 8950000 w 11235156"/>
              <a:gd name="connsiteY255" fmla="*/ 1610251 h 5333466"/>
              <a:gd name="connsiteX256" fmla="*/ 8804927 w 11235156"/>
              <a:gd name="connsiteY256" fmla="*/ 1680285 h 5333466"/>
              <a:gd name="connsiteX257" fmla="*/ 8802357 w 11235156"/>
              <a:gd name="connsiteY257" fmla="*/ 1676383 h 5333466"/>
              <a:gd name="connsiteX258" fmla="*/ 8808158 w 11235156"/>
              <a:gd name="connsiteY258" fmla="*/ 1654633 h 5333466"/>
              <a:gd name="connsiteX259" fmla="*/ 8785771 w 11235156"/>
              <a:gd name="connsiteY259" fmla="*/ 1625737 h 5333466"/>
              <a:gd name="connsiteX260" fmla="*/ 8757421 w 11235156"/>
              <a:gd name="connsiteY260" fmla="*/ 1652297 h 5333466"/>
              <a:gd name="connsiteX261" fmla="*/ 8751371 w 11235156"/>
              <a:gd name="connsiteY261" fmla="*/ 1671971 h 5333466"/>
              <a:gd name="connsiteX262" fmla="*/ 8724839 w 11235156"/>
              <a:gd name="connsiteY262" fmla="*/ 1643572 h 5333466"/>
              <a:gd name="connsiteX263" fmla="*/ 8714059 w 11235156"/>
              <a:gd name="connsiteY263" fmla="*/ 1623810 h 5333466"/>
              <a:gd name="connsiteX264" fmla="*/ 8630574 w 11235156"/>
              <a:gd name="connsiteY264" fmla="*/ 1593821 h 5333466"/>
              <a:gd name="connsiteX265" fmla="*/ 8564251 w 11235156"/>
              <a:gd name="connsiteY265" fmla="*/ 1601775 h 5333466"/>
              <a:gd name="connsiteX266" fmla="*/ 8540376 w 11235156"/>
              <a:gd name="connsiteY266" fmla="*/ 1613060 h 5333466"/>
              <a:gd name="connsiteX267" fmla="*/ 8489889 w 11235156"/>
              <a:gd name="connsiteY267" fmla="*/ 1612799 h 5333466"/>
              <a:gd name="connsiteX268" fmla="*/ 8460456 w 11235156"/>
              <a:gd name="connsiteY268" fmla="*/ 1595275 h 5333466"/>
              <a:gd name="connsiteX269" fmla="*/ 8436164 w 11235156"/>
              <a:gd name="connsiteY269" fmla="*/ 1585556 h 5333466"/>
              <a:gd name="connsiteX270" fmla="*/ 8403750 w 11235156"/>
              <a:gd name="connsiteY270" fmla="*/ 1595760 h 5333466"/>
              <a:gd name="connsiteX271" fmla="*/ 8365703 w 11235156"/>
              <a:gd name="connsiteY271" fmla="*/ 1646641 h 5333466"/>
              <a:gd name="connsiteX272" fmla="*/ 8364545 w 11235156"/>
              <a:gd name="connsiteY272" fmla="*/ 1672045 h 5333466"/>
              <a:gd name="connsiteX273" fmla="*/ 8255356 w 11235156"/>
              <a:gd name="connsiteY273" fmla="*/ 1603030 h 5333466"/>
              <a:gd name="connsiteX274" fmla="*/ 8221366 w 11235156"/>
              <a:gd name="connsiteY274" fmla="*/ 1617634 h 5333466"/>
              <a:gd name="connsiteX275" fmla="*/ 8214737 w 11235156"/>
              <a:gd name="connsiteY275" fmla="*/ 1650010 h 5333466"/>
              <a:gd name="connsiteX276" fmla="*/ 8238033 w 11235156"/>
              <a:gd name="connsiteY276" fmla="*/ 1651427 h 5333466"/>
              <a:gd name="connsiteX277" fmla="*/ 8257682 w 11235156"/>
              <a:gd name="connsiteY277" fmla="*/ 1657493 h 5333466"/>
              <a:gd name="connsiteX278" fmla="*/ 8250057 w 11235156"/>
              <a:gd name="connsiteY278" fmla="*/ 1681566 h 5333466"/>
              <a:gd name="connsiteX279" fmla="*/ 8223861 w 11235156"/>
              <a:gd name="connsiteY279" fmla="*/ 1691024 h 5333466"/>
              <a:gd name="connsiteX280" fmla="*/ 8197913 w 11235156"/>
              <a:gd name="connsiteY280" fmla="*/ 1702558 h 5333466"/>
              <a:gd name="connsiteX281" fmla="*/ 8241854 w 11235156"/>
              <a:gd name="connsiteY281" fmla="*/ 1718342 h 5333466"/>
              <a:gd name="connsiteX282" fmla="*/ 8368117 w 11235156"/>
              <a:gd name="connsiteY282" fmla="*/ 1736885 h 5333466"/>
              <a:gd name="connsiteX283" fmla="*/ 8448200 w 11235156"/>
              <a:gd name="connsiteY283" fmla="*/ 1720964 h 5333466"/>
              <a:gd name="connsiteX284" fmla="*/ 8473568 w 11235156"/>
              <a:gd name="connsiteY284" fmla="*/ 1722133 h 5333466"/>
              <a:gd name="connsiteX285" fmla="*/ 8529863 w 11235156"/>
              <a:gd name="connsiteY285" fmla="*/ 1753278 h 5333466"/>
              <a:gd name="connsiteX286" fmla="*/ 8560702 w 11235156"/>
              <a:gd name="connsiteY286" fmla="*/ 1747474 h 5333466"/>
              <a:gd name="connsiteX287" fmla="*/ 8625779 w 11235156"/>
              <a:gd name="connsiteY287" fmla="*/ 1729142 h 5333466"/>
              <a:gd name="connsiteX288" fmla="*/ 8688123 w 11235156"/>
              <a:gd name="connsiteY288" fmla="*/ 1740614 h 5333466"/>
              <a:gd name="connsiteX289" fmla="*/ 8711500 w 11235156"/>
              <a:gd name="connsiteY289" fmla="*/ 1725178 h 5333466"/>
              <a:gd name="connsiteX290" fmla="*/ 8726089 w 11235156"/>
              <a:gd name="connsiteY290" fmla="*/ 1706584 h 5333466"/>
              <a:gd name="connsiteX291" fmla="*/ 8752373 w 11235156"/>
              <a:gd name="connsiteY291" fmla="*/ 1732908 h 5333466"/>
              <a:gd name="connsiteX292" fmla="*/ 8783549 w 11235156"/>
              <a:gd name="connsiteY292" fmla="*/ 1764961 h 5333466"/>
              <a:gd name="connsiteX293" fmla="*/ 8836936 w 11235156"/>
              <a:gd name="connsiteY293" fmla="*/ 1754347 h 5333466"/>
              <a:gd name="connsiteX294" fmla="*/ 8914367 w 11235156"/>
              <a:gd name="connsiteY294" fmla="*/ 1751376 h 5333466"/>
              <a:gd name="connsiteX295" fmla="*/ 8938826 w 11235156"/>
              <a:gd name="connsiteY295" fmla="*/ 1780024 h 5333466"/>
              <a:gd name="connsiteX296" fmla="*/ 8962788 w 11235156"/>
              <a:gd name="connsiteY296" fmla="*/ 1804520 h 5333466"/>
              <a:gd name="connsiteX297" fmla="*/ 9110773 w 11235156"/>
              <a:gd name="connsiteY297" fmla="*/ 1828881 h 5333466"/>
              <a:gd name="connsiteX298" fmla="*/ 9187289 w 11235156"/>
              <a:gd name="connsiteY298" fmla="*/ 1800755 h 5333466"/>
              <a:gd name="connsiteX299" fmla="*/ 9191435 w 11235156"/>
              <a:gd name="connsiteY299" fmla="*/ 1800257 h 5333466"/>
              <a:gd name="connsiteX300" fmla="*/ 9204784 w 11235156"/>
              <a:gd name="connsiteY300" fmla="*/ 1823921 h 5333466"/>
              <a:gd name="connsiteX301" fmla="*/ 9226917 w 11235156"/>
              <a:gd name="connsiteY301" fmla="*/ 1798107 h 5333466"/>
              <a:gd name="connsiteX302" fmla="*/ 9232139 w 11235156"/>
              <a:gd name="connsiteY302" fmla="*/ 1789059 h 5333466"/>
              <a:gd name="connsiteX303" fmla="*/ 9245564 w 11235156"/>
              <a:gd name="connsiteY303" fmla="*/ 1743235 h 5333466"/>
              <a:gd name="connsiteX304" fmla="*/ 9267366 w 11235156"/>
              <a:gd name="connsiteY304" fmla="*/ 1732199 h 5333466"/>
              <a:gd name="connsiteX305" fmla="*/ 9279969 w 11235156"/>
              <a:gd name="connsiteY305" fmla="*/ 1749636 h 5333466"/>
              <a:gd name="connsiteX306" fmla="*/ 9289180 w 11235156"/>
              <a:gd name="connsiteY306" fmla="*/ 1826431 h 5333466"/>
              <a:gd name="connsiteX307" fmla="*/ 9310901 w 11235156"/>
              <a:gd name="connsiteY307" fmla="*/ 1832248 h 5333466"/>
              <a:gd name="connsiteX308" fmla="*/ 9376557 w 11235156"/>
              <a:gd name="connsiteY308" fmla="*/ 1801214 h 5333466"/>
              <a:gd name="connsiteX309" fmla="*/ 9393635 w 11235156"/>
              <a:gd name="connsiteY309" fmla="*/ 1803376 h 5333466"/>
              <a:gd name="connsiteX310" fmla="*/ 9455650 w 11235156"/>
              <a:gd name="connsiteY310" fmla="*/ 1829626 h 5333466"/>
              <a:gd name="connsiteX311" fmla="*/ 9510948 w 11235156"/>
              <a:gd name="connsiteY311" fmla="*/ 1852469 h 5333466"/>
              <a:gd name="connsiteX312" fmla="*/ 9530597 w 11235156"/>
              <a:gd name="connsiteY312" fmla="*/ 1858535 h 5333466"/>
              <a:gd name="connsiteX313" fmla="*/ 9635718 w 11235156"/>
              <a:gd name="connsiteY313" fmla="*/ 1858559 h 5333466"/>
              <a:gd name="connsiteX314" fmla="*/ 9669128 w 11235156"/>
              <a:gd name="connsiteY314" fmla="*/ 1856657 h 5333466"/>
              <a:gd name="connsiteX315" fmla="*/ 9750704 w 11235156"/>
              <a:gd name="connsiteY315" fmla="*/ 1853190 h 5333466"/>
              <a:gd name="connsiteX316" fmla="*/ 9771929 w 11235156"/>
              <a:gd name="connsiteY316" fmla="*/ 1854856 h 5333466"/>
              <a:gd name="connsiteX317" fmla="*/ 9890647 w 11235156"/>
              <a:gd name="connsiteY317" fmla="*/ 1880619 h 5333466"/>
              <a:gd name="connsiteX318" fmla="*/ 9945113 w 11235156"/>
              <a:gd name="connsiteY318" fmla="*/ 1861454 h 5333466"/>
              <a:gd name="connsiteX319" fmla="*/ 10031830 w 11235156"/>
              <a:gd name="connsiteY319" fmla="*/ 1865793 h 5333466"/>
              <a:gd name="connsiteX320" fmla="*/ 10111588 w 11235156"/>
              <a:gd name="connsiteY320" fmla="*/ 1917283 h 5333466"/>
              <a:gd name="connsiteX321" fmla="*/ 10114905 w 11235156"/>
              <a:gd name="connsiteY321" fmla="*/ 1927412 h 5333466"/>
              <a:gd name="connsiteX322" fmla="*/ 10138450 w 11235156"/>
              <a:gd name="connsiteY322" fmla="*/ 1930905 h 5333466"/>
              <a:gd name="connsiteX323" fmla="*/ 10162406 w 11235156"/>
              <a:gd name="connsiteY323" fmla="*/ 1902766 h 5333466"/>
              <a:gd name="connsiteX324" fmla="*/ 10266699 w 11235156"/>
              <a:gd name="connsiteY324" fmla="*/ 1913418 h 5333466"/>
              <a:gd name="connsiteX325" fmla="*/ 10311803 w 11235156"/>
              <a:gd name="connsiteY325" fmla="*/ 1956433 h 5333466"/>
              <a:gd name="connsiteX326" fmla="*/ 10360554 w 11235156"/>
              <a:gd name="connsiteY326" fmla="*/ 1994800 h 5333466"/>
              <a:gd name="connsiteX327" fmla="*/ 10365024 w 11235156"/>
              <a:gd name="connsiteY327" fmla="*/ 1926890 h 5333466"/>
              <a:gd name="connsiteX328" fmla="*/ 10414186 w 11235156"/>
              <a:gd name="connsiteY328" fmla="*/ 1933626 h 5333466"/>
              <a:gd name="connsiteX329" fmla="*/ 10447347 w 11235156"/>
              <a:gd name="connsiteY329" fmla="*/ 1929650 h 5333466"/>
              <a:gd name="connsiteX330" fmla="*/ 10551061 w 11235156"/>
              <a:gd name="connsiteY330" fmla="*/ 1953003 h 5333466"/>
              <a:gd name="connsiteX331" fmla="*/ 10866928 w 11235156"/>
              <a:gd name="connsiteY331" fmla="*/ 2009862 h 5333466"/>
              <a:gd name="connsiteX332" fmla="*/ 10889147 w 11235156"/>
              <a:gd name="connsiteY332" fmla="*/ 2019830 h 5333466"/>
              <a:gd name="connsiteX333" fmla="*/ 10877128 w 11235156"/>
              <a:gd name="connsiteY333" fmla="*/ 2042325 h 5333466"/>
              <a:gd name="connsiteX334" fmla="*/ 10868757 w 11235156"/>
              <a:gd name="connsiteY334" fmla="*/ 2060174 h 5333466"/>
              <a:gd name="connsiteX335" fmla="*/ 10889402 w 11235156"/>
              <a:gd name="connsiteY335" fmla="*/ 2074541 h 5333466"/>
              <a:gd name="connsiteX336" fmla="*/ 10908054 w 11235156"/>
              <a:gd name="connsiteY336" fmla="*/ 2072303 h 5333466"/>
              <a:gd name="connsiteX337" fmla="*/ 10959376 w 11235156"/>
              <a:gd name="connsiteY337" fmla="*/ 2114572 h 5333466"/>
              <a:gd name="connsiteX338" fmla="*/ 10958965 w 11235156"/>
              <a:gd name="connsiteY338" fmla="*/ 2146203 h 5333466"/>
              <a:gd name="connsiteX339" fmla="*/ 10979360 w 11235156"/>
              <a:gd name="connsiteY339" fmla="*/ 2158495 h 5333466"/>
              <a:gd name="connsiteX340" fmla="*/ 11004225 w 11235156"/>
              <a:gd name="connsiteY340" fmla="*/ 2102877 h 5333466"/>
              <a:gd name="connsiteX341" fmla="*/ 11041039 w 11235156"/>
              <a:gd name="connsiteY341" fmla="*/ 2146887 h 5333466"/>
              <a:gd name="connsiteX342" fmla="*/ 11034497 w 11235156"/>
              <a:gd name="connsiteY342" fmla="*/ 2215044 h 5333466"/>
              <a:gd name="connsiteX343" fmla="*/ 10982185 w 11235156"/>
              <a:gd name="connsiteY343" fmla="*/ 2217108 h 5333466"/>
              <a:gd name="connsiteX344" fmla="*/ 10911302 w 11235156"/>
              <a:gd name="connsiteY344" fmla="*/ 2204555 h 5333466"/>
              <a:gd name="connsiteX345" fmla="*/ 10863633 w 11235156"/>
              <a:gd name="connsiteY345" fmla="*/ 2210272 h 5333466"/>
              <a:gd name="connsiteX346" fmla="*/ 10667812 w 11235156"/>
              <a:gd name="connsiteY346" fmla="*/ 2172700 h 5333466"/>
              <a:gd name="connsiteX347" fmla="*/ 10625782 w 11235156"/>
              <a:gd name="connsiteY347" fmla="*/ 2190374 h 5333466"/>
              <a:gd name="connsiteX348" fmla="*/ 10623131 w 11235156"/>
              <a:gd name="connsiteY348" fmla="*/ 2203325 h 5333466"/>
              <a:gd name="connsiteX349" fmla="*/ 10609700 w 11235156"/>
              <a:gd name="connsiteY349" fmla="*/ 2196513 h 5333466"/>
              <a:gd name="connsiteX350" fmla="*/ 10602237 w 11235156"/>
              <a:gd name="connsiteY350" fmla="*/ 2186881 h 5333466"/>
              <a:gd name="connsiteX351" fmla="*/ 10576371 w 11235156"/>
              <a:gd name="connsiteY351" fmla="*/ 2181562 h 5333466"/>
              <a:gd name="connsiteX352" fmla="*/ 10586902 w 11235156"/>
              <a:gd name="connsiteY352" fmla="*/ 2199248 h 5333466"/>
              <a:gd name="connsiteX353" fmla="*/ 10589472 w 11235156"/>
              <a:gd name="connsiteY353" fmla="*/ 2203150 h 5333466"/>
              <a:gd name="connsiteX354" fmla="*/ 10593287 w 11235156"/>
              <a:gd name="connsiteY354" fmla="*/ 2217431 h 5333466"/>
              <a:gd name="connsiteX355" fmla="*/ 10579028 w 11235156"/>
              <a:gd name="connsiteY355" fmla="*/ 2221246 h 5333466"/>
              <a:gd name="connsiteX356" fmla="*/ 10517020 w 11235156"/>
              <a:gd name="connsiteY356" fmla="*/ 2247632 h 5333466"/>
              <a:gd name="connsiteX357" fmla="*/ 10506327 w 11235156"/>
              <a:gd name="connsiteY357" fmla="*/ 2263652 h 5333466"/>
              <a:gd name="connsiteX358" fmla="*/ 10554829 w 11235156"/>
              <a:gd name="connsiteY358" fmla="*/ 2299943 h 5333466"/>
              <a:gd name="connsiteX359" fmla="*/ 10677028 w 11235156"/>
              <a:gd name="connsiteY359" fmla="*/ 2302131 h 5333466"/>
              <a:gd name="connsiteX360" fmla="*/ 10718230 w 11235156"/>
              <a:gd name="connsiteY360" fmla="*/ 2295085 h 5333466"/>
              <a:gd name="connsiteX361" fmla="*/ 10735807 w 11235156"/>
              <a:gd name="connsiteY361" fmla="*/ 2301397 h 5333466"/>
              <a:gd name="connsiteX362" fmla="*/ 10768556 w 11235156"/>
              <a:gd name="connsiteY362" fmla="*/ 2329051 h 5333466"/>
              <a:gd name="connsiteX363" fmla="*/ 10824683 w 11235156"/>
              <a:gd name="connsiteY363" fmla="*/ 2341268 h 5333466"/>
              <a:gd name="connsiteX364" fmla="*/ 10849391 w 11235156"/>
              <a:gd name="connsiteY364" fmla="*/ 2371991 h 5333466"/>
              <a:gd name="connsiteX365" fmla="*/ 10848563 w 11235156"/>
              <a:gd name="connsiteY365" fmla="*/ 2382618 h 5333466"/>
              <a:gd name="connsiteX366" fmla="*/ 10867384 w 11235156"/>
              <a:gd name="connsiteY366" fmla="*/ 2399309 h 5333466"/>
              <a:gd name="connsiteX367" fmla="*/ 10873683 w 11235156"/>
              <a:gd name="connsiteY367" fmla="*/ 2381711 h 5333466"/>
              <a:gd name="connsiteX368" fmla="*/ 10885950 w 11235156"/>
              <a:gd name="connsiteY368" fmla="*/ 2361290 h 5333466"/>
              <a:gd name="connsiteX369" fmla="*/ 10921768 w 11235156"/>
              <a:gd name="connsiteY369" fmla="*/ 2396998 h 5333466"/>
              <a:gd name="connsiteX370" fmla="*/ 10923760 w 11235156"/>
              <a:gd name="connsiteY370" fmla="*/ 2413602 h 5333466"/>
              <a:gd name="connsiteX371" fmla="*/ 10933127 w 11235156"/>
              <a:gd name="connsiteY371" fmla="*/ 2404057 h 5333466"/>
              <a:gd name="connsiteX372" fmla="*/ 10960320 w 11235156"/>
              <a:gd name="connsiteY372" fmla="*/ 2402901 h 5333466"/>
              <a:gd name="connsiteX373" fmla="*/ 11010315 w 11235156"/>
              <a:gd name="connsiteY373" fmla="*/ 2451646 h 5333466"/>
              <a:gd name="connsiteX374" fmla="*/ 11055835 w 11235156"/>
              <a:gd name="connsiteY374" fmla="*/ 2515665 h 5333466"/>
              <a:gd name="connsiteX375" fmla="*/ 11075652 w 11235156"/>
              <a:gd name="connsiteY375" fmla="*/ 2540658 h 5333466"/>
              <a:gd name="connsiteX376" fmla="*/ 11180367 w 11235156"/>
              <a:gd name="connsiteY376" fmla="*/ 2624948 h 5333466"/>
              <a:gd name="connsiteX377" fmla="*/ 11187998 w 11235156"/>
              <a:gd name="connsiteY377" fmla="*/ 2653510 h 5333466"/>
              <a:gd name="connsiteX378" fmla="*/ 11164951 w 11235156"/>
              <a:gd name="connsiteY378" fmla="*/ 2654168 h 5333466"/>
              <a:gd name="connsiteX379" fmla="*/ 11127645 w 11235156"/>
              <a:gd name="connsiteY379" fmla="*/ 2658641 h 5333466"/>
              <a:gd name="connsiteX380" fmla="*/ 11079646 w 11235156"/>
              <a:gd name="connsiteY380" fmla="*/ 2679137 h 5333466"/>
              <a:gd name="connsiteX381" fmla="*/ 11033795 w 11235156"/>
              <a:gd name="connsiteY381" fmla="*/ 2629895 h 5333466"/>
              <a:gd name="connsiteX382" fmla="*/ 11035452 w 11235156"/>
              <a:gd name="connsiteY382" fmla="*/ 2608643 h 5333466"/>
              <a:gd name="connsiteX383" fmla="*/ 11037025 w 11235156"/>
              <a:gd name="connsiteY383" fmla="*/ 2604242 h 5333466"/>
              <a:gd name="connsiteX384" fmla="*/ 11033130 w 11235156"/>
              <a:gd name="connsiteY384" fmla="*/ 2606815 h 5333466"/>
              <a:gd name="connsiteX385" fmla="*/ 11010084 w 11235156"/>
              <a:gd name="connsiteY385" fmla="*/ 2607474 h 5333466"/>
              <a:gd name="connsiteX386" fmla="*/ 10950065 w 11235156"/>
              <a:gd name="connsiteY386" fmla="*/ 2650464 h 5333466"/>
              <a:gd name="connsiteX387" fmla="*/ 10917073 w 11235156"/>
              <a:gd name="connsiteY387" fmla="*/ 2673370 h 5333466"/>
              <a:gd name="connsiteX388" fmla="*/ 10882997 w 11235156"/>
              <a:gd name="connsiteY388" fmla="*/ 2652192 h 5333466"/>
              <a:gd name="connsiteX389" fmla="*/ 10767838 w 11235156"/>
              <a:gd name="connsiteY389" fmla="*/ 2585998 h 5333466"/>
              <a:gd name="connsiteX390" fmla="*/ 10740234 w 11235156"/>
              <a:gd name="connsiteY390" fmla="*/ 2618784 h 5333466"/>
              <a:gd name="connsiteX391" fmla="*/ 10726560 w 11235156"/>
              <a:gd name="connsiteY391" fmla="*/ 2662532 h 5333466"/>
              <a:gd name="connsiteX392" fmla="*/ 10678307 w 11235156"/>
              <a:gd name="connsiteY392" fmla="*/ 2628317 h 5333466"/>
              <a:gd name="connsiteX393" fmla="*/ 10618533 w 11235156"/>
              <a:gd name="connsiteY393" fmla="*/ 2620748 h 5333466"/>
              <a:gd name="connsiteX394" fmla="*/ 10614139 w 11235156"/>
              <a:gd name="connsiteY394" fmla="*/ 2619169 h 5333466"/>
              <a:gd name="connsiteX395" fmla="*/ 10581233 w 11235156"/>
              <a:gd name="connsiteY395" fmla="*/ 2677857 h 5333466"/>
              <a:gd name="connsiteX396" fmla="*/ 10568884 w 11235156"/>
              <a:gd name="connsiteY396" fmla="*/ 2715129 h 5333466"/>
              <a:gd name="connsiteX397" fmla="*/ 10560594 w 11235156"/>
              <a:gd name="connsiteY397" fmla="*/ 2716124 h 5333466"/>
              <a:gd name="connsiteX398" fmla="*/ 10528591 w 11235156"/>
              <a:gd name="connsiteY398" fmla="*/ 2694698 h 5333466"/>
              <a:gd name="connsiteX399" fmla="*/ 10503883 w 11235156"/>
              <a:gd name="connsiteY399" fmla="*/ 2663975 h 5333466"/>
              <a:gd name="connsiteX400" fmla="*/ 10476106 w 11235156"/>
              <a:gd name="connsiteY400" fmla="*/ 2625198 h 5333466"/>
              <a:gd name="connsiteX401" fmla="*/ 10433329 w 11235156"/>
              <a:gd name="connsiteY401" fmla="*/ 2636644 h 5333466"/>
              <a:gd name="connsiteX402" fmla="*/ 10415753 w 11235156"/>
              <a:gd name="connsiteY402" fmla="*/ 2630331 h 5333466"/>
              <a:gd name="connsiteX403" fmla="*/ 10386321 w 11235156"/>
              <a:gd name="connsiteY403" fmla="*/ 2612806 h 5333466"/>
              <a:gd name="connsiteX404" fmla="*/ 10374134 w 11235156"/>
              <a:gd name="connsiteY404" fmla="*/ 2616373 h 5333466"/>
              <a:gd name="connsiteX405" fmla="*/ 10330443 w 11235156"/>
              <a:gd name="connsiteY405" fmla="*/ 2602664 h 5333466"/>
              <a:gd name="connsiteX406" fmla="*/ 10279040 w 11235156"/>
              <a:gd name="connsiteY406" fmla="*/ 2577249 h 5333466"/>
              <a:gd name="connsiteX407" fmla="*/ 10254337 w 11235156"/>
              <a:gd name="connsiteY407" fmla="*/ 2599160 h 5333466"/>
              <a:gd name="connsiteX408" fmla="*/ 10252682 w 11235156"/>
              <a:gd name="connsiteY408" fmla="*/ 2620413 h 5333466"/>
              <a:gd name="connsiteX409" fmla="*/ 10259734 w 11235156"/>
              <a:gd name="connsiteY409" fmla="*/ 2661675 h 5333466"/>
              <a:gd name="connsiteX410" fmla="*/ 10290665 w 11235156"/>
              <a:gd name="connsiteY410" fmla="*/ 2744287 h 5333466"/>
              <a:gd name="connsiteX411" fmla="*/ 10243077 w 11235156"/>
              <a:gd name="connsiteY411" fmla="*/ 2733151 h 5333466"/>
              <a:gd name="connsiteX412" fmla="*/ 10185127 w 11235156"/>
              <a:gd name="connsiteY412" fmla="*/ 2723259 h 5333466"/>
              <a:gd name="connsiteX413" fmla="*/ 10134222 w 11235156"/>
              <a:gd name="connsiteY413" fmla="*/ 2701993 h 5333466"/>
              <a:gd name="connsiteX414" fmla="*/ 9980762 w 11235156"/>
              <a:gd name="connsiteY414" fmla="*/ 2631971 h 5333466"/>
              <a:gd name="connsiteX415" fmla="*/ 9960782 w 11235156"/>
              <a:gd name="connsiteY415" fmla="*/ 2640683 h 5333466"/>
              <a:gd name="connsiteX416" fmla="*/ 9949592 w 11235156"/>
              <a:gd name="connsiteY416" fmla="*/ 2652553 h 5333466"/>
              <a:gd name="connsiteX417" fmla="*/ 9941631 w 11235156"/>
              <a:gd name="connsiteY417" fmla="*/ 2638770 h 5333466"/>
              <a:gd name="connsiteX418" fmla="*/ 9926707 w 11235156"/>
              <a:gd name="connsiteY418" fmla="*/ 2619506 h 5333466"/>
              <a:gd name="connsiteX419" fmla="*/ 9896197 w 11235156"/>
              <a:gd name="connsiteY419" fmla="*/ 2610532 h 5333466"/>
              <a:gd name="connsiteX420" fmla="*/ 9882847 w 11235156"/>
              <a:gd name="connsiteY420" fmla="*/ 2586868 h 5333466"/>
              <a:gd name="connsiteX421" fmla="*/ 9864605 w 11235156"/>
              <a:gd name="connsiteY421" fmla="*/ 2557474 h 5333466"/>
              <a:gd name="connsiteX422" fmla="*/ 9845623 w 11235156"/>
              <a:gd name="connsiteY422" fmla="*/ 2574490 h 5333466"/>
              <a:gd name="connsiteX423" fmla="*/ 9838328 w 11235156"/>
              <a:gd name="connsiteY423" fmla="*/ 2583786 h 5333466"/>
              <a:gd name="connsiteX424" fmla="*/ 9821910 w 11235156"/>
              <a:gd name="connsiteY424" fmla="*/ 2552068 h 5333466"/>
              <a:gd name="connsiteX425" fmla="*/ 9801514 w 11235156"/>
              <a:gd name="connsiteY425" fmla="*/ 2539777 h 5333466"/>
              <a:gd name="connsiteX426" fmla="*/ 9791071 w 11235156"/>
              <a:gd name="connsiteY426" fmla="*/ 2557872 h 5333466"/>
              <a:gd name="connsiteX427" fmla="*/ 9712401 w 11235156"/>
              <a:gd name="connsiteY427" fmla="*/ 2603100 h 5333466"/>
              <a:gd name="connsiteX428" fmla="*/ 9688109 w 11235156"/>
              <a:gd name="connsiteY428" fmla="*/ 2593381 h 5333466"/>
              <a:gd name="connsiteX429" fmla="*/ 9594016 w 11235156"/>
              <a:gd name="connsiteY429" fmla="*/ 2615193 h 5333466"/>
              <a:gd name="connsiteX430" fmla="*/ 9592193 w 11235156"/>
              <a:gd name="connsiteY430" fmla="*/ 2617517 h 5333466"/>
              <a:gd name="connsiteX431" fmla="*/ 9563177 w 11235156"/>
              <a:gd name="connsiteY431" fmla="*/ 2620997 h 5333466"/>
              <a:gd name="connsiteX432" fmla="*/ 9555466 w 11235156"/>
              <a:gd name="connsiteY432" fmla="*/ 2609289 h 5333466"/>
              <a:gd name="connsiteX433" fmla="*/ 9574449 w 11235156"/>
              <a:gd name="connsiteY433" fmla="*/ 2592275 h 5333466"/>
              <a:gd name="connsiteX434" fmla="*/ 9587961 w 11235156"/>
              <a:gd name="connsiteY434" fmla="*/ 2582233 h 5333466"/>
              <a:gd name="connsiteX435" fmla="*/ 9574282 w 11235156"/>
              <a:gd name="connsiteY435" fmla="*/ 2573347 h 5333466"/>
              <a:gd name="connsiteX436" fmla="*/ 9541948 w 11235156"/>
              <a:gd name="connsiteY436" fmla="*/ 2566697 h 5333466"/>
              <a:gd name="connsiteX437" fmla="*/ 9503976 w 11235156"/>
              <a:gd name="connsiteY437" fmla="*/ 2548091 h 5333466"/>
              <a:gd name="connsiteX438" fmla="*/ 9480680 w 11235156"/>
              <a:gd name="connsiteY438" fmla="*/ 2546675 h 5333466"/>
              <a:gd name="connsiteX439" fmla="*/ 9411869 w 11235156"/>
              <a:gd name="connsiteY439" fmla="*/ 2533873 h 5333466"/>
              <a:gd name="connsiteX440" fmla="*/ 9382020 w 11235156"/>
              <a:gd name="connsiteY440" fmla="*/ 2495345 h 5333466"/>
              <a:gd name="connsiteX441" fmla="*/ 9334514 w 11235156"/>
              <a:gd name="connsiteY441" fmla="*/ 2467356 h 5333466"/>
              <a:gd name="connsiteX442" fmla="*/ 9295552 w 11235156"/>
              <a:gd name="connsiteY442" fmla="*/ 2493083 h 5333466"/>
              <a:gd name="connsiteX443" fmla="*/ 9249377 w 11235156"/>
              <a:gd name="connsiteY443" fmla="*/ 2511254 h 5333466"/>
              <a:gd name="connsiteX444" fmla="*/ 9225832 w 11235156"/>
              <a:gd name="connsiteY444" fmla="*/ 2507761 h 5333466"/>
              <a:gd name="connsiteX445" fmla="*/ 9198721 w 11235156"/>
              <a:gd name="connsiteY445" fmla="*/ 2492064 h 5333466"/>
              <a:gd name="connsiteX446" fmla="*/ 9197476 w 11235156"/>
              <a:gd name="connsiteY446" fmla="*/ 2481687 h 5333466"/>
              <a:gd name="connsiteX447" fmla="*/ 9170614 w 11235156"/>
              <a:gd name="connsiteY447" fmla="*/ 2468065 h 5333466"/>
              <a:gd name="connsiteX448" fmla="*/ 9135051 w 11235156"/>
              <a:gd name="connsiteY448" fmla="*/ 2487067 h 5333466"/>
              <a:gd name="connsiteX449" fmla="*/ 9005055 w 11235156"/>
              <a:gd name="connsiteY449" fmla="*/ 2437391 h 5333466"/>
              <a:gd name="connsiteX450" fmla="*/ 9002727 w 11235156"/>
              <a:gd name="connsiteY450" fmla="*/ 2382930 h 5333466"/>
              <a:gd name="connsiteX451" fmla="*/ 8963841 w 11235156"/>
              <a:gd name="connsiteY451" fmla="*/ 2339169 h 5333466"/>
              <a:gd name="connsiteX452" fmla="*/ 8925290 w 11235156"/>
              <a:gd name="connsiteY452" fmla="*/ 2333266 h 5333466"/>
              <a:gd name="connsiteX453" fmla="*/ 8878038 w 11235156"/>
              <a:gd name="connsiteY453" fmla="*/ 2359987 h 5333466"/>
              <a:gd name="connsiteX454" fmla="*/ 8853416 w 11235156"/>
              <a:gd name="connsiteY454" fmla="*/ 2365045 h 5333466"/>
              <a:gd name="connsiteX455" fmla="*/ 8803096 w 11235156"/>
              <a:gd name="connsiteY455" fmla="*/ 2383713 h 5333466"/>
              <a:gd name="connsiteX456" fmla="*/ 8811803 w 11235156"/>
              <a:gd name="connsiteY456" fmla="*/ 2403723 h 5333466"/>
              <a:gd name="connsiteX457" fmla="*/ 8824817 w 11235156"/>
              <a:gd name="connsiteY457" fmla="*/ 2389529 h 5333466"/>
              <a:gd name="connsiteX458" fmla="*/ 8836008 w 11235156"/>
              <a:gd name="connsiteY458" fmla="*/ 2377660 h 5333466"/>
              <a:gd name="connsiteX459" fmla="*/ 8850186 w 11235156"/>
              <a:gd name="connsiteY459" fmla="*/ 2390698 h 5333466"/>
              <a:gd name="connsiteX460" fmla="*/ 8856577 w 11235156"/>
              <a:gd name="connsiteY460" fmla="*/ 2461516 h 5333466"/>
              <a:gd name="connsiteX461" fmla="*/ 8844721 w 11235156"/>
              <a:gd name="connsiteY461" fmla="*/ 2450305 h 5333466"/>
              <a:gd name="connsiteX462" fmla="*/ 8799206 w 11235156"/>
              <a:gd name="connsiteY462" fmla="*/ 2438921 h 5333466"/>
              <a:gd name="connsiteX463" fmla="*/ 8784368 w 11235156"/>
              <a:gd name="connsiteY463" fmla="*/ 2455438 h 5333466"/>
              <a:gd name="connsiteX464" fmla="*/ 8749881 w 11235156"/>
              <a:gd name="connsiteY464" fmla="*/ 2465890 h 5333466"/>
              <a:gd name="connsiteX465" fmla="*/ 8707683 w 11235156"/>
              <a:gd name="connsiteY465" fmla="*/ 2464635 h 5333466"/>
              <a:gd name="connsiteX466" fmla="*/ 8724351 w 11235156"/>
              <a:gd name="connsiteY466" fmla="*/ 2498428 h 5333466"/>
              <a:gd name="connsiteX467" fmla="*/ 8688289 w 11235156"/>
              <a:gd name="connsiteY467" fmla="*/ 2513280 h 5333466"/>
              <a:gd name="connsiteX468" fmla="*/ 8684642 w 11235156"/>
              <a:gd name="connsiteY468" fmla="*/ 2517928 h 5333466"/>
              <a:gd name="connsiteX469" fmla="*/ 8695670 w 11235156"/>
              <a:gd name="connsiteY469" fmla="*/ 2539765 h 5333466"/>
              <a:gd name="connsiteX470" fmla="*/ 8741434 w 11235156"/>
              <a:gd name="connsiteY470" fmla="*/ 2553225 h 5333466"/>
              <a:gd name="connsiteX471" fmla="*/ 8779817 w 11235156"/>
              <a:gd name="connsiteY471" fmla="*/ 2540200 h 5333466"/>
              <a:gd name="connsiteX472" fmla="*/ 8804439 w 11235156"/>
              <a:gd name="connsiteY472" fmla="*/ 2535141 h 5333466"/>
              <a:gd name="connsiteX473" fmla="*/ 8858082 w 11235156"/>
              <a:gd name="connsiteY473" fmla="*/ 2579238 h 5333466"/>
              <a:gd name="connsiteX474" fmla="*/ 8889668 w 11235156"/>
              <a:gd name="connsiteY474" fmla="*/ 2579660 h 5333466"/>
              <a:gd name="connsiteX475" fmla="*/ 8919511 w 11235156"/>
              <a:gd name="connsiteY475" fmla="*/ 2565554 h 5333466"/>
              <a:gd name="connsiteX476" fmla="*/ 8942975 w 11235156"/>
              <a:gd name="connsiteY476" fmla="*/ 2585899 h 5333466"/>
              <a:gd name="connsiteX477" fmla="*/ 8985752 w 11235156"/>
              <a:gd name="connsiteY477" fmla="*/ 2574453 h 5333466"/>
              <a:gd name="connsiteX478" fmla="*/ 9021732 w 11235156"/>
              <a:gd name="connsiteY478" fmla="*/ 2576454 h 5333466"/>
              <a:gd name="connsiteX479" fmla="*/ 9077859 w 11235156"/>
              <a:gd name="connsiteY479" fmla="*/ 2588671 h 5333466"/>
              <a:gd name="connsiteX480" fmla="*/ 9109283 w 11235156"/>
              <a:gd name="connsiteY480" fmla="*/ 2622799 h 5333466"/>
              <a:gd name="connsiteX481" fmla="*/ 9167563 w 11235156"/>
              <a:gd name="connsiteY481" fmla="*/ 2617915 h 5333466"/>
              <a:gd name="connsiteX482" fmla="*/ 9183478 w 11235156"/>
              <a:gd name="connsiteY482" fmla="*/ 2592847 h 5333466"/>
              <a:gd name="connsiteX483" fmla="*/ 9201390 w 11235156"/>
              <a:gd name="connsiteY483" fmla="*/ 2637017 h 5333466"/>
              <a:gd name="connsiteX484" fmla="*/ 9206612 w 11235156"/>
              <a:gd name="connsiteY484" fmla="*/ 2627970 h 5333466"/>
              <a:gd name="connsiteX485" fmla="*/ 9268290 w 11235156"/>
              <a:gd name="connsiteY485" fmla="*/ 2616361 h 5333466"/>
              <a:gd name="connsiteX486" fmla="*/ 9283215 w 11235156"/>
              <a:gd name="connsiteY486" fmla="*/ 2635626 h 5333466"/>
              <a:gd name="connsiteX487" fmla="*/ 9284957 w 11235156"/>
              <a:gd name="connsiteY487" fmla="*/ 2650154 h 5333466"/>
              <a:gd name="connsiteX488" fmla="*/ 9295407 w 11235156"/>
              <a:gd name="connsiteY488" fmla="*/ 2684693 h 5333466"/>
              <a:gd name="connsiteX489" fmla="*/ 9406583 w 11235156"/>
              <a:gd name="connsiteY489" fmla="*/ 2717678 h 5333466"/>
              <a:gd name="connsiteX490" fmla="*/ 9588395 w 11235156"/>
              <a:gd name="connsiteY490" fmla="*/ 2761140 h 5333466"/>
              <a:gd name="connsiteX491" fmla="*/ 9646096 w 11235156"/>
              <a:gd name="connsiteY491" fmla="*/ 2768959 h 5333466"/>
              <a:gd name="connsiteX492" fmla="*/ 9689289 w 11235156"/>
              <a:gd name="connsiteY492" fmla="*/ 2778516 h 5333466"/>
              <a:gd name="connsiteX493" fmla="*/ 9763739 w 11235156"/>
              <a:gd name="connsiteY493" fmla="*/ 2803274 h 5333466"/>
              <a:gd name="connsiteX494" fmla="*/ 9841089 w 11235156"/>
              <a:gd name="connsiteY494" fmla="*/ 2817156 h 5333466"/>
              <a:gd name="connsiteX495" fmla="*/ 9905089 w 11235156"/>
              <a:gd name="connsiteY495" fmla="*/ 2807375 h 5333466"/>
              <a:gd name="connsiteX496" fmla="*/ 9959560 w 11235156"/>
              <a:gd name="connsiteY496" fmla="*/ 2840844 h 5333466"/>
              <a:gd name="connsiteX497" fmla="*/ 10013365 w 11235156"/>
              <a:gd name="connsiteY497" fmla="*/ 2851234 h 5333466"/>
              <a:gd name="connsiteX498" fmla="*/ 10091132 w 11235156"/>
              <a:gd name="connsiteY498" fmla="*/ 2886121 h 5333466"/>
              <a:gd name="connsiteX499" fmla="*/ 10238787 w 11235156"/>
              <a:gd name="connsiteY499" fmla="*/ 2925259 h 5333466"/>
              <a:gd name="connsiteX500" fmla="*/ 10357507 w 11235156"/>
              <a:gd name="connsiteY500" fmla="*/ 2951022 h 5333466"/>
              <a:gd name="connsiteX501" fmla="*/ 10384618 w 11235156"/>
              <a:gd name="connsiteY501" fmla="*/ 2966720 h 5333466"/>
              <a:gd name="connsiteX502" fmla="*/ 10451275 w 11235156"/>
              <a:gd name="connsiteY502" fmla="*/ 2996623 h 5333466"/>
              <a:gd name="connsiteX503" fmla="*/ 10465783 w 11235156"/>
              <a:gd name="connsiteY503" fmla="*/ 2994883 h 5333466"/>
              <a:gd name="connsiteX504" fmla="*/ 10451362 w 11235156"/>
              <a:gd name="connsiteY504" fmla="*/ 3032404 h 5333466"/>
              <a:gd name="connsiteX505" fmla="*/ 10409002 w 11235156"/>
              <a:gd name="connsiteY505" fmla="*/ 3064855 h 5333466"/>
              <a:gd name="connsiteX506" fmla="*/ 10373519 w 11235156"/>
              <a:gd name="connsiteY506" fmla="*/ 3067005 h 5333466"/>
              <a:gd name="connsiteX507" fmla="*/ 10339942 w 11235156"/>
              <a:gd name="connsiteY507" fmla="*/ 3049978 h 5333466"/>
              <a:gd name="connsiteX508" fmla="*/ 10336955 w 11235156"/>
              <a:gd name="connsiteY508" fmla="*/ 3025071 h 5333466"/>
              <a:gd name="connsiteX509" fmla="*/ 10320704 w 11235156"/>
              <a:gd name="connsiteY509" fmla="*/ 3012283 h 5333466"/>
              <a:gd name="connsiteX510" fmla="*/ 10269556 w 11235156"/>
              <a:gd name="connsiteY510" fmla="*/ 3041576 h 5333466"/>
              <a:gd name="connsiteX511" fmla="*/ 10257868 w 11235156"/>
              <a:gd name="connsiteY511" fmla="*/ 3049295 h 5333466"/>
              <a:gd name="connsiteX512" fmla="*/ 10250156 w 11235156"/>
              <a:gd name="connsiteY512" fmla="*/ 3037587 h 5333466"/>
              <a:gd name="connsiteX513" fmla="*/ 10248912 w 11235156"/>
              <a:gd name="connsiteY513" fmla="*/ 3027209 h 5333466"/>
              <a:gd name="connsiteX514" fmla="*/ 10228516 w 11235156"/>
              <a:gd name="connsiteY514" fmla="*/ 3014918 h 5333466"/>
              <a:gd name="connsiteX515" fmla="*/ 10202401 w 11235156"/>
              <a:gd name="connsiteY515" fmla="*/ 3007523 h 5333466"/>
              <a:gd name="connsiteX516" fmla="*/ 10201735 w 11235156"/>
              <a:gd name="connsiteY516" fmla="*/ 2984443 h 5333466"/>
              <a:gd name="connsiteX517" fmla="*/ 10226855 w 11235156"/>
              <a:gd name="connsiteY517" fmla="*/ 2983536 h 5333466"/>
              <a:gd name="connsiteX518" fmla="*/ 10243186 w 11235156"/>
              <a:gd name="connsiteY518" fmla="*/ 2979471 h 5333466"/>
              <a:gd name="connsiteX519" fmla="*/ 10238873 w 11235156"/>
              <a:gd name="connsiteY519" fmla="*/ 2961040 h 5333466"/>
              <a:gd name="connsiteX520" fmla="*/ 10188802 w 11235156"/>
              <a:gd name="connsiteY520" fmla="*/ 2981783 h 5333466"/>
              <a:gd name="connsiteX521" fmla="*/ 10145446 w 11235156"/>
              <a:gd name="connsiteY521" fmla="*/ 3005932 h 5333466"/>
              <a:gd name="connsiteX522" fmla="*/ 10027224 w 11235156"/>
              <a:gd name="connsiteY522" fmla="*/ 2984318 h 5333466"/>
              <a:gd name="connsiteX523" fmla="*/ 10018517 w 11235156"/>
              <a:gd name="connsiteY523" fmla="*/ 2964309 h 5333466"/>
              <a:gd name="connsiteX524" fmla="*/ 10024898 w 11235156"/>
              <a:gd name="connsiteY524" fmla="*/ 2929857 h 5333466"/>
              <a:gd name="connsiteX525" fmla="*/ 10005827 w 11235156"/>
              <a:gd name="connsiteY525" fmla="*/ 2911090 h 5333466"/>
              <a:gd name="connsiteX526" fmla="*/ 9994388 w 11235156"/>
              <a:gd name="connsiteY526" fmla="*/ 2920883 h 5333466"/>
              <a:gd name="connsiteX527" fmla="*/ 9966455 w 11235156"/>
              <a:gd name="connsiteY527" fmla="*/ 2968448 h 5333466"/>
              <a:gd name="connsiteX528" fmla="*/ 9963386 w 11235156"/>
              <a:gd name="connsiteY528" fmla="*/ 2960394 h 5333466"/>
              <a:gd name="connsiteX529" fmla="*/ 9937023 w 11235156"/>
              <a:gd name="connsiteY529" fmla="*/ 2950924 h 5333466"/>
              <a:gd name="connsiteX530" fmla="*/ 9924089 w 11235156"/>
              <a:gd name="connsiteY530" fmla="*/ 2948263 h 5333466"/>
              <a:gd name="connsiteX531" fmla="*/ 9888688 w 11235156"/>
              <a:gd name="connsiteY531" fmla="*/ 2933561 h 5333466"/>
              <a:gd name="connsiteX532" fmla="*/ 9821289 w 11235156"/>
              <a:gd name="connsiteY532" fmla="*/ 2950066 h 5333466"/>
              <a:gd name="connsiteX533" fmla="*/ 9812669 w 11235156"/>
              <a:gd name="connsiteY533" fmla="*/ 2965837 h 5333466"/>
              <a:gd name="connsiteX534" fmla="*/ 9805792 w 11235156"/>
              <a:gd name="connsiteY534" fmla="*/ 2996138 h 5333466"/>
              <a:gd name="connsiteX535" fmla="*/ 9861918 w 11235156"/>
              <a:gd name="connsiteY535" fmla="*/ 3008356 h 5333466"/>
              <a:gd name="connsiteX536" fmla="*/ 9910999 w 11235156"/>
              <a:gd name="connsiteY536" fmla="*/ 3031944 h 5333466"/>
              <a:gd name="connsiteX537" fmla="*/ 9843184 w 11235156"/>
              <a:gd name="connsiteY537" fmla="*/ 3027445 h 5333466"/>
              <a:gd name="connsiteX538" fmla="*/ 9792366 w 11235156"/>
              <a:gd name="connsiteY538" fmla="*/ 3041962 h 5333466"/>
              <a:gd name="connsiteX539" fmla="*/ 9765174 w 11235156"/>
              <a:gd name="connsiteY539" fmla="*/ 3043118 h 5333466"/>
              <a:gd name="connsiteX540" fmla="*/ 9762355 w 11235156"/>
              <a:gd name="connsiteY540" fmla="*/ 3037140 h 5333466"/>
              <a:gd name="connsiteX541" fmla="*/ 9663700 w 11235156"/>
              <a:gd name="connsiteY541" fmla="*/ 3038445 h 5333466"/>
              <a:gd name="connsiteX542" fmla="*/ 9609901 w 11235156"/>
              <a:gd name="connsiteY542" fmla="*/ 3080689 h 5333466"/>
              <a:gd name="connsiteX543" fmla="*/ 9539764 w 11235156"/>
              <a:gd name="connsiteY543" fmla="*/ 3074363 h 5333466"/>
              <a:gd name="connsiteX544" fmla="*/ 9451304 w 11235156"/>
              <a:gd name="connsiteY544" fmla="*/ 3055497 h 5333466"/>
              <a:gd name="connsiteX545" fmla="*/ 9384815 w 11235156"/>
              <a:gd name="connsiteY545" fmla="*/ 3044523 h 5333466"/>
              <a:gd name="connsiteX546" fmla="*/ 9333829 w 11235156"/>
              <a:gd name="connsiteY546" fmla="*/ 3040111 h 5333466"/>
              <a:gd name="connsiteX547" fmla="*/ 9290387 w 11235156"/>
              <a:gd name="connsiteY547" fmla="*/ 3028477 h 5333466"/>
              <a:gd name="connsiteX548" fmla="*/ 9250169 w 11235156"/>
              <a:gd name="connsiteY548" fmla="*/ 2938558 h 5333466"/>
              <a:gd name="connsiteX549" fmla="*/ 9235244 w 11235156"/>
              <a:gd name="connsiteY549" fmla="*/ 2919293 h 5333466"/>
              <a:gd name="connsiteX550" fmla="*/ 9213691 w 11235156"/>
              <a:gd name="connsiteY550" fmla="*/ 2932405 h 5333466"/>
              <a:gd name="connsiteX551" fmla="*/ 9203247 w 11235156"/>
              <a:gd name="connsiteY551" fmla="*/ 2950502 h 5333466"/>
              <a:gd name="connsiteX552" fmla="*/ 9144058 w 11235156"/>
              <a:gd name="connsiteY552" fmla="*/ 2982865 h 5333466"/>
              <a:gd name="connsiteX553" fmla="*/ 9113878 w 11235156"/>
              <a:gd name="connsiteY553" fmla="*/ 2959115 h 5333466"/>
              <a:gd name="connsiteX554" fmla="*/ 9071021 w 11235156"/>
              <a:gd name="connsiteY554" fmla="*/ 2987414 h 5333466"/>
              <a:gd name="connsiteX555" fmla="*/ 9002378 w 11235156"/>
              <a:gd name="connsiteY555" fmla="*/ 2993542 h 5333466"/>
              <a:gd name="connsiteX556" fmla="*/ 8868403 w 11235156"/>
              <a:gd name="connsiteY556" fmla="*/ 2963290 h 5333466"/>
              <a:gd name="connsiteX557" fmla="*/ 8846682 w 11235156"/>
              <a:gd name="connsiteY557" fmla="*/ 2957474 h 5333466"/>
              <a:gd name="connsiteX558" fmla="*/ 8797687 w 11235156"/>
              <a:gd name="connsiteY558" fmla="*/ 2969667 h 5333466"/>
              <a:gd name="connsiteX559" fmla="*/ 8784175 w 11235156"/>
              <a:gd name="connsiteY559" fmla="*/ 2979708 h 5333466"/>
              <a:gd name="connsiteX560" fmla="*/ 8763948 w 11235156"/>
              <a:gd name="connsiteY560" fmla="*/ 2986345 h 5333466"/>
              <a:gd name="connsiteX561" fmla="*/ 8734764 w 11235156"/>
              <a:gd name="connsiteY561" fmla="*/ 2970896 h 5333466"/>
              <a:gd name="connsiteX562" fmla="*/ 8708730 w 11235156"/>
              <a:gd name="connsiteY562" fmla="*/ 2946649 h 5333466"/>
              <a:gd name="connsiteX563" fmla="*/ 8680293 w 11235156"/>
              <a:gd name="connsiteY563" fmla="*/ 2937427 h 5333466"/>
              <a:gd name="connsiteX564" fmla="*/ 8639172 w 11235156"/>
              <a:gd name="connsiteY564" fmla="*/ 2927621 h 5333466"/>
              <a:gd name="connsiteX565" fmla="*/ 8620519 w 11235156"/>
              <a:gd name="connsiteY565" fmla="*/ 2929859 h 5333466"/>
              <a:gd name="connsiteX566" fmla="*/ 8532725 w 11235156"/>
              <a:gd name="connsiteY566" fmla="*/ 2934071 h 5333466"/>
              <a:gd name="connsiteX567" fmla="*/ 8500809 w 11235156"/>
              <a:gd name="connsiteY567" fmla="*/ 2948426 h 5333466"/>
              <a:gd name="connsiteX568" fmla="*/ 8526594 w 11235156"/>
              <a:gd name="connsiteY568" fmla="*/ 2970599 h 5333466"/>
              <a:gd name="connsiteX569" fmla="*/ 8533310 w 11235156"/>
              <a:gd name="connsiteY569" fmla="*/ 2974004 h 5333466"/>
              <a:gd name="connsiteX570" fmla="*/ 8552883 w 11235156"/>
              <a:gd name="connsiteY570" fmla="*/ 3049557 h 5333466"/>
              <a:gd name="connsiteX571" fmla="*/ 8517065 w 11235156"/>
              <a:gd name="connsiteY571" fmla="*/ 3013850 h 5333466"/>
              <a:gd name="connsiteX572" fmla="*/ 8468569 w 11235156"/>
              <a:gd name="connsiteY572" fmla="*/ 3030193 h 5333466"/>
              <a:gd name="connsiteX573" fmla="*/ 8457210 w 11235156"/>
              <a:gd name="connsiteY573" fmla="*/ 3023134 h 5333466"/>
              <a:gd name="connsiteX574" fmla="*/ 8459862 w 11235156"/>
              <a:gd name="connsiteY574" fmla="*/ 3010184 h 5333466"/>
              <a:gd name="connsiteX575" fmla="*/ 8457621 w 11235156"/>
              <a:gd name="connsiteY575" fmla="*/ 2991504 h 5333466"/>
              <a:gd name="connsiteX576" fmla="*/ 8445435 w 11235156"/>
              <a:gd name="connsiteY576" fmla="*/ 2995071 h 5333466"/>
              <a:gd name="connsiteX577" fmla="*/ 8427361 w 11235156"/>
              <a:gd name="connsiteY577" fmla="*/ 2984605 h 5333466"/>
              <a:gd name="connsiteX578" fmla="*/ 8423795 w 11235156"/>
              <a:gd name="connsiteY578" fmla="*/ 2972401 h 5333466"/>
              <a:gd name="connsiteX579" fmla="*/ 8319009 w 11235156"/>
              <a:gd name="connsiteY579" fmla="*/ 3010234 h 5333466"/>
              <a:gd name="connsiteX580" fmla="*/ 8314614 w 11235156"/>
              <a:gd name="connsiteY580" fmla="*/ 3008655 h 5333466"/>
              <a:gd name="connsiteX581" fmla="*/ 8174591 w 11235156"/>
              <a:gd name="connsiteY581" fmla="*/ 2998078 h 5333466"/>
              <a:gd name="connsiteX582" fmla="*/ 8139439 w 11235156"/>
              <a:gd name="connsiteY582" fmla="*/ 2985451 h 5333466"/>
              <a:gd name="connsiteX583" fmla="*/ 8099146 w 11235156"/>
              <a:gd name="connsiteY583" fmla="*/ 2965018 h 5333466"/>
              <a:gd name="connsiteX584" fmla="*/ 8019144 w 11235156"/>
              <a:gd name="connsiteY584" fmla="*/ 2964087 h 5333466"/>
              <a:gd name="connsiteX585" fmla="*/ 8003976 w 11235156"/>
              <a:gd name="connsiteY585" fmla="*/ 2995382 h 5333466"/>
              <a:gd name="connsiteX586" fmla="*/ 8008040 w 11235156"/>
              <a:gd name="connsiteY586" fmla="*/ 3011737 h 5333466"/>
              <a:gd name="connsiteX587" fmla="*/ 8003733 w 11235156"/>
              <a:gd name="connsiteY587" fmla="*/ 3045940 h 5333466"/>
              <a:gd name="connsiteX588" fmla="*/ 7999507 w 11235156"/>
              <a:gd name="connsiteY588" fmla="*/ 3063291 h 5333466"/>
              <a:gd name="connsiteX589" fmla="*/ 7983505 w 11235156"/>
              <a:gd name="connsiteY589" fmla="*/ 3052577 h 5333466"/>
              <a:gd name="connsiteX590" fmla="*/ 7959376 w 11235156"/>
              <a:gd name="connsiteY590" fmla="*/ 3009153 h 5333466"/>
              <a:gd name="connsiteX591" fmla="*/ 7874893 w 11235156"/>
              <a:gd name="connsiteY591" fmla="*/ 2970861 h 5333466"/>
              <a:gd name="connsiteX592" fmla="*/ 7819184 w 11235156"/>
              <a:gd name="connsiteY592" fmla="*/ 2979647 h 5333466"/>
              <a:gd name="connsiteX593" fmla="*/ 7774248 w 11235156"/>
              <a:gd name="connsiteY593" fmla="*/ 2955561 h 5333466"/>
              <a:gd name="connsiteX594" fmla="*/ 7766537 w 11235156"/>
              <a:gd name="connsiteY594" fmla="*/ 2943853 h 5333466"/>
              <a:gd name="connsiteX595" fmla="*/ 7745319 w 11235156"/>
              <a:gd name="connsiteY595" fmla="*/ 2994823 h 5333466"/>
              <a:gd name="connsiteX596" fmla="*/ 7722521 w 11235156"/>
              <a:gd name="connsiteY596" fmla="*/ 2997557 h 5333466"/>
              <a:gd name="connsiteX597" fmla="*/ 7686292 w 11235156"/>
              <a:gd name="connsiteY597" fmla="*/ 2993480 h 5333466"/>
              <a:gd name="connsiteX598" fmla="*/ 7637547 w 11235156"/>
              <a:gd name="connsiteY598" fmla="*/ 3007749 h 5333466"/>
              <a:gd name="connsiteX599" fmla="*/ 7557377 w 11235156"/>
              <a:gd name="connsiteY599" fmla="*/ 2987887 h 5333466"/>
              <a:gd name="connsiteX600" fmla="*/ 7504487 w 11235156"/>
              <a:gd name="connsiteY600" fmla="*/ 3002653 h 5333466"/>
              <a:gd name="connsiteX601" fmla="*/ 7445708 w 11235156"/>
              <a:gd name="connsiteY601" fmla="*/ 3003386 h 5333466"/>
              <a:gd name="connsiteX602" fmla="*/ 7412298 w 11235156"/>
              <a:gd name="connsiteY602" fmla="*/ 3005287 h 5333466"/>
              <a:gd name="connsiteX603" fmla="*/ 7408403 w 11235156"/>
              <a:gd name="connsiteY603" fmla="*/ 3007860 h 5333466"/>
              <a:gd name="connsiteX604" fmla="*/ 7385106 w 11235156"/>
              <a:gd name="connsiteY604" fmla="*/ 3006443 h 5333466"/>
              <a:gd name="connsiteX605" fmla="*/ 7376648 w 11235156"/>
              <a:gd name="connsiteY605" fmla="*/ 2988509 h 5333466"/>
              <a:gd name="connsiteX606" fmla="*/ 7330138 w 11235156"/>
              <a:gd name="connsiteY606" fmla="*/ 2968822 h 5333466"/>
              <a:gd name="connsiteX607" fmla="*/ 7279040 w 11235156"/>
              <a:gd name="connsiteY607" fmla="*/ 2987583 h 5333466"/>
              <a:gd name="connsiteX608" fmla="*/ 7276910 w 11235156"/>
              <a:gd name="connsiteY608" fmla="*/ 2988666 h 5333466"/>
              <a:gd name="connsiteX609" fmla="*/ 7279854 w 11235156"/>
              <a:gd name="connsiteY609" fmla="*/ 3007526 h 5333466"/>
              <a:gd name="connsiteX610" fmla="*/ 7265230 w 11235156"/>
              <a:gd name="connsiteY610" fmla="*/ 3030931 h 5333466"/>
              <a:gd name="connsiteX611" fmla="*/ 7271065 w 11235156"/>
              <a:gd name="connsiteY611" fmla="*/ 3041285 h 5333466"/>
              <a:gd name="connsiteX612" fmla="*/ 7257553 w 11235156"/>
              <a:gd name="connsiteY612" fmla="*/ 3044803 h 5333466"/>
              <a:gd name="connsiteX613" fmla="*/ 7247516 w 11235156"/>
              <a:gd name="connsiteY613" fmla="*/ 3043554 h 5333466"/>
              <a:gd name="connsiteX614" fmla="*/ 7235077 w 11235156"/>
              <a:gd name="connsiteY614" fmla="*/ 3053945 h 5333466"/>
              <a:gd name="connsiteX615" fmla="*/ 7224226 w 11235156"/>
              <a:gd name="connsiteY615" fmla="*/ 3065495 h 5333466"/>
              <a:gd name="connsiteX616" fmla="*/ 7194543 w 11235156"/>
              <a:gd name="connsiteY616" fmla="*/ 3064498 h 5333466"/>
              <a:gd name="connsiteX617" fmla="*/ 7166876 w 11235156"/>
              <a:gd name="connsiteY617" fmla="*/ 3067410 h 5333466"/>
              <a:gd name="connsiteX618" fmla="*/ 7158900 w 11235156"/>
              <a:gd name="connsiteY618" fmla="*/ 3088369 h 5333466"/>
              <a:gd name="connsiteX619" fmla="*/ 7154697 w 11235156"/>
              <a:gd name="connsiteY619" fmla="*/ 3097473 h 5333466"/>
              <a:gd name="connsiteX620" fmla="*/ 7121795 w 11235156"/>
              <a:gd name="connsiteY620" fmla="*/ 3075857 h 5333466"/>
              <a:gd name="connsiteX621" fmla="*/ 7112570 w 11235156"/>
              <a:gd name="connsiteY621" fmla="*/ 3061808 h 5333466"/>
              <a:gd name="connsiteX622" fmla="*/ 7097262 w 11235156"/>
              <a:gd name="connsiteY622" fmla="*/ 3059446 h 5333466"/>
              <a:gd name="connsiteX623" fmla="*/ 7088766 w 11235156"/>
              <a:gd name="connsiteY623" fmla="*/ 3061061 h 5333466"/>
              <a:gd name="connsiteX624" fmla="*/ 7087097 w 11235156"/>
              <a:gd name="connsiteY624" fmla="*/ 3065608 h 5333466"/>
              <a:gd name="connsiteX625" fmla="*/ 7079589 w 11235156"/>
              <a:gd name="connsiteY625" fmla="*/ 3067494 h 5333466"/>
              <a:gd name="connsiteX626" fmla="*/ 7080271 w 11235156"/>
              <a:gd name="connsiteY626" fmla="*/ 3071075 h 5333466"/>
              <a:gd name="connsiteX627" fmla="*/ 7079458 w 11235156"/>
              <a:gd name="connsiteY627" fmla="*/ 3083876 h 5333466"/>
              <a:gd name="connsiteX628" fmla="*/ 7066591 w 11235156"/>
              <a:gd name="connsiteY628" fmla="*/ 3091517 h 5333466"/>
              <a:gd name="connsiteX629" fmla="*/ 7046166 w 11235156"/>
              <a:gd name="connsiteY629" fmla="*/ 3081153 h 5333466"/>
              <a:gd name="connsiteX630" fmla="*/ 7027259 w 11235156"/>
              <a:gd name="connsiteY630" fmla="*/ 3082421 h 5333466"/>
              <a:gd name="connsiteX631" fmla="*/ 7023450 w 11235156"/>
              <a:gd name="connsiteY631" fmla="*/ 3095875 h 5333466"/>
              <a:gd name="connsiteX632" fmla="*/ 7022583 w 11235156"/>
              <a:gd name="connsiteY632" fmla="*/ 3121506 h 5333466"/>
              <a:gd name="connsiteX633" fmla="*/ 7005169 w 11235156"/>
              <a:gd name="connsiteY633" fmla="*/ 3081487 h 5333466"/>
              <a:gd name="connsiteX634" fmla="*/ 7005789 w 11235156"/>
              <a:gd name="connsiteY634" fmla="*/ 3079236 h 5333466"/>
              <a:gd name="connsiteX635" fmla="*/ 6999586 w 11235156"/>
              <a:gd name="connsiteY635" fmla="*/ 3076633 h 5333466"/>
              <a:gd name="connsiteX636" fmla="*/ 6978865 w 11235156"/>
              <a:gd name="connsiteY636" fmla="*/ 3065919 h 5333466"/>
              <a:gd name="connsiteX637" fmla="*/ 6966128 w 11235156"/>
              <a:gd name="connsiteY637" fmla="*/ 3065246 h 5333466"/>
              <a:gd name="connsiteX638" fmla="*/ 6963800 w 11235156"/>
              <a:gd name="connsiteY638" fmla="*/ 3069605 h 5333466"/>
              <a:gd name="connsiteX639" fmla="*/ 6926580 w 11235156"/>
              <a:gd name="connsiteY639" fmla="*/ 3109861 h 5333466"/>
              <a:gd name="connsiteX640" fmla="*/ 6918209 w 11235156"/>
              <a:gd name="connsiteY640" fmla="*/ 3127708 h 5333466"/>
              <a:gd name="connsiteX641" fmla="*/ 6908680 w 11235156"/>
              <a:gd name="connsiteY641" fmla="*/ 3170960 h 5333466"/>
              <a:gd name="connsiteX642" fmla="*/ 6900471 w 11235156"/>
              <a:gd name="connsiteY642" fmla="*/ 3155101 h 5333466"/>
              <a:gd name="connsiteX643" fmla="*/ 6853381 w 11235156"/>
              <a:gd name="connsiteY643" fmla="*/ 3148116 h 5333466"/>
              <a:gd name="connsiteX644" fmla="*/ 6794522 w 11235156"/>
              <a:gd name="connsiteY644" fmla="*/ 3165702 h 5333466"/>
              <a:gd name="connsiteX645" fmla="*/ 6747681 w 11235156"/>
              <a:gd name="connsiteY645" fmla="*/ 3160793 h 5333466"/>
              <a:gd name="connsiteX646" fmla="*/ 6677627 w 11235156"/>
              <a:gd name="connsiteY646" fmla="*/ 3150773 h 5333466"/>
              <a:gd name="connsiteX647" fmla="*/ 6614638 w 11235156"/>
              <a:gd name="connsiteY647" fmla="*/ 3132511 h 5333466"/>
              <a:gd name="connsiteX648" fmla="*/ 6608124 w 11235156"/>
              <a:gd name="connsiteY648" fmla="*/ 3141627 h 5333466"/>
              <a:gd name="connsiteX649" fmla="*/ 6598484 w 11235156"/>
              <a:gd name="connsiteY649" fmla="*/ 3146300 h 5333466"/>
              <a:gd name="connsiteX650" fmla="*/ 6588616 w 11235156"/>
              <a:gd name="connsiteY650" fmla="*/ 3128128 h 5333466"/>
              <a:gd name="connsiteX651" fmla="*/ 6578150 w 11235156"/>
              <a:gd name="connsiteY651" fmla="*/ 3124130 h 5333466"/>
              <a:gd name="connsiteX652" fmla="*/ 6572144 w 11235156"/>
              <a:gd name="connsiteY652" fmla="*/ 3130700 h 5333466"/>
              <a:gd name="connsiteX653" fmla="*/ 6557520 w 11235156"/>
              <a:gd name="connsiteY653" fmla="*/ 3154105 h 5333466"/>
              <a:gd name="connsiteX654" fmla="*/ 6554605 w 11235156"/>
              <a:gd name="connsiteY654" fmla="*/ 3171458 h 5333466"/>
              <a:gd name="connsiteX655" fmla="*/ 6565072 w 11235156"/>
              <a:gd name="connsiteY655" fmla="*/ 3175456 h 5333466"/>
              <a:gd name="connsiteX656" fmla="*/ 6683506 w 11235156"/>
              <a:gd name="connsiteY656" fmla="*/ 3186534 h 5333466"/>
              <a:gd name="connsiteX657" fmla="*/ 6774918 w 11235156"/>
              <a:gd name="connsiteY657" fmla="*/ 3204648 h 5333466"/>
              <a:gd name="connsiteX658" fmla="*/ 6817903 w 11235156"/>
              <a:gd name="connsiteY658" fmla="*/ 3245812 h 5333466"/>
              <a:gd name="connsiteX659" fmla="*/ 6847457 w 11235156"/>
              <a:gd name="connsiteY659" fmla="*/ 3236973 h 5333466"/>
              <a:gd name="connsiteX660" fmla="*/ 6855736 w 11235156"/>
              <a:gd name="connsiteY660" fmla="*/ 3253986 h 5333466"/>
              <a:gd name="connsiteX661" fmla="*/ 6876370 w 11235156"/>
              <a:gd name="connsiteY661" fmla="*/ 3269070 h 5333466"/>
              <a:gd name="connsiteX662" fmla="*/ 6892498 w 11235156"/>
              <a:gd name="connsiteY662" fmla="*/ 3255287 h 5333466"/>
              <a:gd name="connsiteX663" fmla="*/ 6899830 w 11235156"/>
              <a:gd name="connsiteY663" fmla="*/ 3230204 h 5333466"/>
              <a:gd name="connsiteX664" fmla="*/ 6918578 w 11235156"/>
              <a:gd name="connsiteY664" fmla="*/ 3251215 h 5333466"/>
              <a:gd name="connsiteX665" fmla="*/ 6940370 w 11235156"/>
              <a:gd name="connsiteY665" fmla="*/ 3264710 h 5333466"/>
              <a:gd name="connsiteX666" fmla="*/ 6933298 w 11235156"/>
              <a:gd name="connsiteY666" fmla="*/ 3309465 h 5333466"/>
              <a:gd name="connsiteX667" fmla="*/ 6913780 w 11235156"/>
              <a:gd name="connsiteY667" fmla="*/ 3319554 h 5333466"/>
              <a:gd name="connsiteX668" fmla="*/ 6903399 w 11235156"/>
              <a:gd name="connsiteY668" fmla="*/ 3307093 h 5333466"/>
              <a:gd name="connsiteX669" fmla="*/ 6893876 w 11235156"/>
              <a:gd name="connsiteY669" fmla="*/ 3300131 h 5333466"/>
              <a:gd name="connsiteX670" fmla="*/ 6855613 w 11235156"/>
              <a:gd name="connsiteY670" fmla="*/ 3289208 h 5333466"/>
              <a:gd name="connsiteX671" fmla="*/ 6825200 w 11235156"/>
              <a:gd name="connsiteY671" fmla="*/ 3292549 h 5333466"/>
              <a:gd name="connsiteX672" fmla="*/ 6816320 w 11235156"/>
              <a:gd name="connsiteY672" fmla="*/ 3289711 h 5333466"/>
              <a:gd name="connsiteX673" fmla="*/ 6806582 w 11235156"/>
              <a:gd name="connsiteY673" fmla="*/ 3281375 h 5333466"/>
              <a:gd name="connsiteX674" fmla="*/ 6735206 w 11235156"/>
              <a:gd name="connsiteY674" fmla="*/ 3292520 h 5333466"/>
              <a:gd name="connsiteX675" fmla="*/ 6698574 w 11235156"/>
              <a:gd name="connsiteY675" fmla="*/ 3301055 h 5333466"/>
              <a:gd name="connsiteX676" fmla="*/ 6667175 w 11235156"/>
              <a:gd name="connsiteY676" fmla="*/ 3289061 h 5333466"/>
              <a:gd name="connsiteX677" fmla="*/ 6652590 w 11235156"/>
              <a:gd name="connsiteY677" fmla="*/ 3285705 h 5333466"/>
              <a:gd name="connsiteX678" fmla="*/ 6649675 w 11235156"/>
              <a:gd name="connsiteY678" fmla="*/ 3303058 h 5333466"/>
              <a:gd name="connsiteX679" fmla="*/ 6654782 w 11235156"/>
              <a:gd name="connsiteY679" fmla="*/ 3317750 h 5333466"/>
              <a:gd name="connsiteX680" fmla="*/ 6679233 w 11235156"/>
              <a:gd name="connsiteY680" fmla="*/ 3339278 h 5333466"/>
              <a:gd name="connsiteX681" fmla="*/ 6752457 w 11235156"/>
              <a:gd name="connsiteY681" fmla="*/ 3348966 h 5333466"/>
              <a:gd name="connsiteX682" fmla="*/ 6761810 w 11235156"/>
              <a:gd name="connsiteY682" fmla="*/ 3372852 h 5333466"/>
              <a:gd name="connsiteX683" fmla="*/ 6760866 w 11235156"/>
              <a:gd name="connsiteY683" fmla="*/ 3375816 h 5333466"/>
              <a:gd name="connsiteX684" fmla="*/ 6743413 w 11235156"/>
              <a:gd name="connsiteY684" fmla="*/ 3408112 h 5333466"/>
              <a:gd name="connsiteX685" fmla="*/ 6732001 w 11235156"/>
              <a:gd name="connsiteY685" fmla="*/ 3407078 h 5333466"/>
              <a:gd name="connsiteX686" fmla="*/ 6744096 w 11235156"/>
              <a:gd name="connsiteY686" fmla="*/ 3385475 h 5333466"/>
              <a:gd name="connsiteX687" fmla="*/ 6728438 w 11235156"/>
              <a:gd name="connsiteY687" fmla="*/ 3375247 h 5333466"/>
              <a:gd name="connsiteX688" fmla="*/ 6723078 w 11235156"/>
              <a:gd name="connsiteY688" fmla="*/ 3385941 h 5333466"/>
              <a:gd name="connsiteX689" fmla="*/ 6695156 w 11235156"/>
              <a:gd name="connsiteY689" fmla="*/ 3414238 h 5333466"/>
              <a:gd name="connsiteX690" fmla="*/ 6636134 w 11235156"/>
              <a:gd name="connsiteY690" fmla="*/ 3423454 h 5333466"/>
              <a:gd name="connsiteX691" fmla="*/ 6604389 w 11235156"/>
              <a:gd name="connsiteY691" fmla="*/ 3400249 h 5333466"/>
              <a:gd name="connsiteX692" fmla="*/ 6603744 w 11235156"/>
              <a:gd name="connsiteY692" fmla="*/ 3396125 h 5333466"/>
              <a:gd name="connsiteX693" fmla="*/ 6600440 w 11235156"/>
              <a:gd name="connsiteY693" fmla="*/ 3383968 h 5333466"/>
              <a:gd name="connsiteX694" fmla="*/ 6583240 w 11235156"/>
              <a:gd name="connsiteY694" fmla="*/ 3390877 h 5333466"/>
              <a:gd name="connsiteX695" fmla="*/ 6578738 w 11235156"/>
              <a:gd name="connsiteY695" fmla="*/ 3407069 h 5333466"/>
              <a:gd name="connsiteX696" fmla="*/ 6560166 w 11235156"/>
              <a:gd name="connsiteY696" fmla="*/ 3414194 h 5333466"/>
              <a:gd name="connsiteX697" fmla="*/ 6556217 w 11235156"/>
              <a:gd name="connsiteY697" fmla="*/ 3397913 h 5333466"/>
              <a:gd name="connsiteX698" fmla="*/ 6559262 w 11235156"/>
              <a:gd name="connsiteY698" fmla="*/ 3390397 h 5333466"/>
              <a:gd name="connsiteX699" fmla="*/ 6557760 w 11235156"/>
              <a:gd name="connsiteY699" fmla="*/ 3380775 h 5333466"/>
              <a:gd name="connsiteX700" fmla="*/ 6549953 w 11235156"/>
              <a:gd name="connsiteY700" fmla="*/ 3384810 h 5333466"/>
              <a:gd name="connsiteX701" fmla="*/ 6540175 w 11235156"/>
              <a:gd name="connsiteY701" fmla="*/ 3403234 h 5333466"/>
              <a:gd name="connsiteX702" fmla="*/ 6506204 w 11235156"/>
              <a:gd name="connsiteY702" fmla="*/ 3419803 h 5333466"/>
              <a:gd name="connsiteX703" fmla="*/ 6479352 w 11235156"/>
              <a:gd name="connsiteY703" fmla="*/ 3409915 h 5333466"/>
              <a:gd name="connsiteX704" fmla="*/ 6461936 w 11235156"/>
              <a:gd name="connsiteY704" fmla="*/ 3415450 h 5333466"/>
              <a:gd name="connsiteX705" fmla="*/ 6439805 w 11235156"/>
              <a:gd name="connsiteY705" fmla="*/ 3435802 h 5333466"/>
              <a:gd name="connsiteX706" fmla="*/ 6418572 w 11235156"/>
              <a:gd name="connsiteY706" fmla="*/ 3434894 h 5333466"/>
              <a:gd name="connsiteX707" fmla="*/ 6298980 w 11235156"/>
              <a:gd name="connsiteY707" fmla="*/ 3425405 h 5333466"/>
              <a:gd name="connsiteX708" fmla="*/ 6280492 w 11235156"/>
              <a:gd name="connsiteY708" fmla="*/ 3424067 h 5333466"/>
              <a:gd name="connsiteX709" fmla="*/ 6234851 w 11235156"/>
              <a:gd name="connsiteY709" fmla="*/ 3419928 h 5333466"/>
              <a:gd name="connsiteX710" fmla="*/ 6173987 w 11235156"/>
              <a:gd name="connsiteY710" fmla="*/ 3453369 h 5333466"/>
              <a:gd name="connsiteX711" fmla="*/ 6145292 w 11235156"/>
              <a:gd name="connsiteY711" fmla="*/ 3467707 h 5333466"/>
              <a:gd name="connsiteX712" fmla="*/ 6034149 w 11235156"/>
              <a:gd name="connsiteY712" fmla="*/ 3458306 h 5333466"/>
              <a:gd name="connsiteX713" fmla="*/ 6015362 w 11235156"/>
              <a:gd name="connsiteY713" fmla="*/ 3464055 h 5333466"/>
              <a:gd name="connsiteX714" fmla="*/ 6008201 w 11235156"/>
              <a:gd name="connsiteY714" fmla="*/ 3472215 h 5333466"/>
              <a:gd name="connsiteX715" fmla="*/ 6005370 w 11235156"/>
              <a:gd name="connsiteY715" fmla="*/ 3481105 h 5333466"/>
              <a:gd name="connsiteX716" fmla="*/ 6023774 w 11235156"/>
              <a:gd name="connsiteY716" fmla="*/ 3490905 h 5333466"/>
              <a:gd name="connsiteX717" fmla="*/ 6038702 w 11235156"/>
              <a:gd name="connsiteY717" fmla="*/ 3505471 h 5333466"/>
              <a:gd name="connsiteX718" fmla="*/ 6024033 w 11235156"/>
              <a:gd name="connsiteY718" fmla="*/ 3510578 h 5333466"/>
              <a:gd name="connsiteX719" fmla="*/ 5996620 w 11235156"/>
              <a:gd name="connsiteY719" fmla="*/ 3488103 h 5333466"/>
              <a:gd name="connsiteX720" fmla="*/ 5901092 w 11235156"/>
              <a:gd name="connsiteY720" fmla="*/ 3470633 h 5333466"/>
              <a:gd name="connsiteX721" fmla="*/ 5873125 w 11235156"/>
              <a:gd name="connsiteY721" fmla="*/ 3480631 h 5333466"/>
              <a:gd name="connsiteX722" fmla="*/ 5862229 w 11235156"/>
              <a:gd name="connsiteY722" fmla="*/ 3473885 h 5333466"/>
              <a:gd name="connsiteX723" fmla="*/ 5842453 w 11235156"/>
              <a:gd name="connsiteY723" fmla="*/ 3464300 h 5333466"/>
              <a:gd name="connsiteX724" fmla="*/ 5774896 w 11235156"/>
              <a:gd name="connsiteY724" fmla="*/ 3481888 h 5333466"/>
              <a:gd name="connsiteX725" fmla="*/ 5680060 w 11235156"/>
              <a:gd name="connsiteY725" fmla="*/ 3531898 h 5333466"/>
              <a:gd name="connsiteX726" fmla="*/ 5678258 w 11235156"/>
              <a:gd name="connsiteY726" fmla="*/ 3529364 h 5333466"/>
              <a:gd name="connsiteX727" fmla="*/ 5681603 w 11235156"/>
              <a:gd name="connsiteY727" fmla="*/ 3514760 h 5333466"/>
              <a:gd name="connsiteX728" fmla="*/ 5666029 w 11235156"/>
              <a:gd name="connsiteY728" fmla="*/ 3496070 h 5333466"/>
              <a:gd name="connsiteX729" fmla="*/ 5647802 w 11235156"/>
              <a:gd name="connsiteY729" fmla="*/ 3514405 h 5333466"/>
              <a:gd name="connsiteX730" fmla="*/ 5644243 w 11235156"/>
              <a:gd name="connsiteY730" fmla="*/ 3527635 h 5333466"/>
              <a:gd name="connsiteX731" fmla="*/ 5625924 w 11235156"/>
              <a:gd name="connsiteY731" fmla="*/ 3509372 h 5333466"/>
              <a:gd name="connsiteX732" fmla="*/ 5618288 w 11235156"/>
              <a:gd name="connsiteY732" fmla="*/ 3496484 h 5333466"/>
              <a:gd name="connsiteX733" fmla="*/ 5562051 w 11235156"/>
              <a:gd name="connsiteY733" fmla="*/ 3478510 h 5333466"/>
              <a:gd name="connsiteX734" fmla="*/ 5518127 w 11235156"/>
              <a:gd name="connsiteY734" fmla="*/ 3485368 h 5333466"/>
              <a:gd name="connsiteX735" fmla="*/ 5502514 w 11235156"/>
              <a:gd name="connsiteY735" fmla="*/ 3493439 h 5333466"/>
              <a:gd name="connsiteX736" fmla="*/ 5468927 w 11235156"/>
              <a:gd name="connsiteY736" fmla="*/ 3494458 h 5333466"/>
              <a:gd name="connsiteX737" fmla="*/ 5448937 w 11235156"/>
              <a:gd name="connsiteY737" fmla="*/ 3483499 h 5333466"/>
              <a:gd name="connsiteX738" fmla="*/ 5432550 w 11235156"/>
              <a:gd name="connsiteY738" fmla="*/ 3477608 h 5333466"/>
              <a:gd name="connsiteX739" fmla="*/ 5411233 w 11235156"/>
              <a:gd name="connsiteY739" fmla="*/ 3485161 h 5333466"/>
              <a:gd name="connsiteX740" fmla="*/ 5387129 w 11235156"/>
              <a:gd name="connsiteY740" fmla="*/ 3519904 h 5333466"/>
              <a:gd name="connsiteX741" fmla="*/ 5386960 w 11235156"/>
              <a:gd name="connsiteY741" fmla="*/ 3536827 h 5333466"/>
              <a:gd name="connsiteX742" fmla="*/ 5312704 w 11235156"/>
              <a:gd name="connsiteY742" fmla="*/ 3493505 h 5333466"/>
              <a:gd name="connsiteX743" fmla="*/ 5290443 w 11235156"/>
              <a:gd name="connsiteY743" fmla="*/ 3504021 h 5333466"/>
              <a:gd name="connsiteX744" fmla="*/ 5286798 w 11235156"/>
              <a:gd name="connsiteY744" fmla="*/ 3525712 h 5333466"/>
              <a:gd name="connsiteX745" fmla="*/ 5302328 w 11235156"/>
              <a:gd name="connsiteY745" fmla="*/ 3526103 h 5333466"/>
              <a:gd name="connsiteX746" fmla="*/ 5315539 w 11235156"/>
              <a:gd name="connsiteY746" fmla="*/ 3529673 h 5333466"/>
              <a:gd name="connsiteX747" fmla="*/ 5311037 w 11235156"/>
              <a:gd name="connsiteY747" fmla="*/ 3545865 h 5333466"/>
              <a:gd name="connsiteX748" fmla="*/ 5293837 w 11235156"/>
              <a:gd name="connsiteY748" fmla="*/ 3552775 h 5333466"/>
              <a:gd name="connsiteX749" fmla="*/ 5276851 w 11235156"/>
              <a:gd name="connsiteY749" fmla="*/ 3561060 h 5333466"/>
              <a:gd name="connsiteX750" fmla="*/ 5306451 w 11235156"/>
              <a:gd name="connsiteY750" fmla="*/ 3570520 h 5333466"/>
              <a:gd name="connsiteX751" fmla="*/ 5390868 w 11235156"/>
              <a:gd name="connsiteY751" fmla="*/ 3579869 h 5333466"/>
              <a:gd name="connsiteX752" fmla="*/ 5443756 w 11235156"/>
              <a:gd name="connsiteY752" fmla="*/ 3567386 h 5333466"/>
              <a:gd name="connsiteX753" fmla="*/ 5460659 w 11235156"/>
              <a:gd name="connsiteY753" fmla="*/ 3567564 h 5333466"/>
              <a:gd name="connsiteX754" fmla="*/ 5498836 w 11235156"/>
              <a:gd name="connsiteY754" fmla="*/ 3586948 h 5333466"/>
              <a:gd name="connsiteX755" fmla="*/ 5519211 w 11235156"/>
              <a:gd name="connsiteY755" fmla="*/ 3582359 h 5333466"/>
              <a:gd name="connsiteX756" fmla="*/ 5562061 w 11235156"/>
              <a:gd name="connsiteY756" fmla="*/ 3568628 h 5333466"/>
              <a:gd name="connsiteX757" fmla="*/ 5603799 w 11235156"/>
              <a:gd name="connsiteY757" fmla="*/ 3574784 h 5333466"/>
              <a:gd name="connsiteX758" fmla="*/ 5618983 w 11235156"/>
              <a:gd name="connsiteY758" fmla="*/ 3563964 h 5333466"/>
              <a:gd name="connsiteX759" fmla="*/ 5628245 w 11235156"/>
              <a:gd name="connsiteY759" fmla="*/ 3551253 h 5333466"/>
              <a:gd name="connsiteX760" fmla="*/ 5646350 w 11235156"/>
              <a:gd name="connsiteY760" fmla="*/ 3568141 h 5333466"/>
              <a:gd name="connsiteX761" fmla="*/ 5667841 w 11235156"/>
              <a:gd name="connsiteY761" fmla="*/ 3588722 h 5333466"/>
              <a:gd name="connsiteX762" fmla="*/ 5703100 w 11235156"/>
              <a:gd name="connsiteY762" fmla="*/ 3580401 h 5333466"/>
              <a:gd name="connsiteX763" fmla="*/ 5754531 w 11235156"/>
              <a:gd name="connsiteY763" fmla="*/ 3576596 h 5333466"/>
              <a:gd name="connsiteX764" fmla="*/ 5771477 w 11235156"/>
              <a:gd name="connsiteY764" fmla="*/ 3595072 h 5333466"/>
              <a:gd name="connsiteX765" fmla="*/ 5787992 w 11235156"/>
              <a:gd name="connsiteY765" fmla="*/ 3610798 h 5333466"/>
              <a:gd name="connsiteX766" fmla="*/ 5886995 w 11235156"/>
              <a:gd name="connsiteY766" fmla="*/ 3623502 h 5333466"/>
              <a:gd name="connsiteX767" fmla="*/ 5937224 w 11235156"/>
              <a:gd name="connsiteY767" fmla="*/ 3602987 h 5333466"/>
              <a:gd name="connsiteX768" fmla="*/ 5939969 w 11235156"/>
              <a:gd name="connsiteY768" fmla="*/ 3602558 h 5333466"/>
              <a:gd name="connsiteX769" fmla="*/ 5949407 w 11235156"/>
              <a:gd name="connsiteY769" fmla="*/ 3617982 h 5333466"/>
              <a:gd name="connsiteX770" fmla="*/ 5963518 w 11235156"/>
              <a:gd name="connsiteY770" fmla="*/ 3600289 h 5333466"/>
              <a:gd name="connsiteX771" fmla="*/ 5966778 w 11235156"/>
              <a:gd name="connsiteY771" fmla="*/ 3594148 h 5333466"/>
              <a:gd name="connsiteX772" fmla="*/ 5974623 w 11235156"/>
              <a:gd name="connsiteY772" fmla="*/ 3563353 h 5333466"/>
              <a:gd name="connsiteX773" fmla="*/ 5988864 w 11235156"/>
              <a:gd name="connsiteY773" fmla="*/ 3555497 h 5333466"/>
              <a:gd name="connsiteX774" fmla="*/ 5997658 w 11235156"/>
              <a:gd name="connsiteY774" fmla="*/ 3566796 h 5333466"/>
              <a:gd name="connsiteX775" fmla="*/ 6005600 w 11235156"/>
              <a:gd name="connsiteY775" fmla="*/ 3617657 h 5333466"/>
              <a:gd name="connsiteX776" fmla="*/ 6020185 w 11235156"/>
              <a:gd name="connsiteY776" fmla="*/ 3621012 h 5333466"/>
              <a:gd name="connsiteX777" fmla="*/ 6063120 w 11235156"/>
              <a:gd name="connsiteY777" fmla="*/ 3598819 h 5333466"/>
              <a:gd name="connsiteX778" fmla="*/ 6074530 w 11235156"/>
              <a:gd name="connsiteY778" fmla="*/ 3599853 h 5333466"/>
              <a:gd name="connsiteX779" fmla="*/ 6116397 w 11235156"/>
              <a:gd name="connsiteY779" fmla="*/ 3615846 h 5333466"/>
              <a:gd name="connsiteX780" fmla="*/ 6153718 w 11235156"/>
              <a:gd name="connsiteY780" fmla="*/ 3629733 h 5333466"/>
              <a:gd name="connsiteX781" fmla="*/ 6166929 w 11235156"/>
              <a:gd name="connsiteY781" fmla="*/ 3633302 h 5333466"/>
              <a:gd name="connsiteX782" fmla="*/ 6236848 w 11235156"/>
              <a:gd name="connsiteY782" fmla="*/ 3630834 h 5333466"/>
              <a:gd name="connsiteX783" fmla="*/ 6259024 w 11235156"/>
              <a:gd name="connsiteY783" fmla="*/ 3628780 h 5333466"/>
              <a:gd name="connsiteX784" fmla="*/ 6313200 w 11235156"/>
              <a:gd name="connsiteY784" fmla="*/ 3624545 h 5333466"/>
              <a:gd name="connsiteX785" fmla="*/ 6327355 w 11235156"/>
              <a:gd name="connsiteY785" fmla="*/ 3625151 h 5333466"/>
              <a:gd name="connsiteX786" fmla="*/ 6406928 w 11235156"/>
              <a:gd name="connsiteY786" fmla="*/ 3639481 h 5333466"/>
              <a:gd name="connsiteX787" fmla="*/ 6442700 w 11235156"/>
              <a:gd name="connsiteY787" fmla="*/ 3625447 h 5333466"/>
              <a:gd name="connsiteX788" fmla="*/ 6500479 w 11235156"/>
              <a:gd name="connsiteY788" fmla="*/ 3626282 h 5333466"/>
              <a:gd name="connsiteX789" fmla="*/ 6554746 w 11235156"/>
              <a:gd name="connsiteY789" fmla="*/ 3658644 h 5333466"/>
              <a:gd name="connsiteX790" fmla="*/ 6557191 w 11235156"/>
              <a:gd name="connsiteY790" fmla="*/ 3665303 h 5333466"/>
              <a:gd name="connsiteX791" fmla="*/ 6572934 w 11235156"/>
              <a:gd name="connsiteY791" fmla="*/ 3667069 h 5333466"/>
              <a:gd name="connsiteX792" fmla="*/ 6588202 w 11235156"/>
              <a:gd name="connsiteY792" fmla="*/ 3647788 h 5333466"/>
              <a:gd name="connsiteX793" fmla="*/ 6657821 w 11235156"/>
              <a:gd name="connsiteY793" fmla="*/ 3652407 h 5333466"/>
              <a:gd name="connsiteX794" fmla="*/ 6688838 w 11235156"/>
              <a:gd name="connsiteY794" fmla="*/ 3679951 h 5333466"/>
              <a:gd name="connsiteX795" fmla="*/ 6722170 w 11235156"/>
              <a:gd name="connsiteY795" fmla="*/ 3704317 h 5333466"/>
              <a:gd name="connsiteX796" fmla="*/ 6723538 w 11235156"/>
              <a:gd name="connsiteY796" fmla="*/ 3659044 h 5333466"/>
              <a:gd name="connsiteX797" fmla="*/ 6756395 w 11235156"/>
              <a:gd name="connsiteY797" fmla="*/ 3662363 h 5333466"/>
              <a:gd name="connsiteX798" fmla="*/ 6778357 w 11235156"/>
              <a:gd name="connsiteY798" fmla="*/ 3658933 h 5333466"/>
              <a:gd name="connsiteX799" fmla="*/ 6847890 w 11235156"/>
              <a:gd name="connsiteY799" fmla="*/ 3672014 h 5333466"/>
              <a:gd name="connsiteX800" fmla="*/ 7059324 w 11235156"/>
              <a:gd name="connsiteY800" fmla="*/ 3702367 h 5333466"/>
              <a:gd name="connsiteX801" fmla="*/ 7074337 w 11235156"/>
              <a:gd name="connsiteY801" fmla="*/ 3708471 h 5333466"/>
              <a:gd name="connsiteX802" fmla="*/ 7066875 w 11235156"/>
              <a:gd name="connsiteY802" fmla="*/ 3723717 h 5333466"/>
              <a:gd name="connsiteX803" fmla="*/ 7061729 w 11235156"/>
              <a:gd name="connsiteY803" fmla="*/ 3735786 h 5333466"/>
              <a:gd name="connsiteX804" fmla="*/ 7075800 w 11235156"/>
              <a:gd name="connsiteY804" fmla="*/ 3744854 h 5333466"/>
              <a:gd name="connsiteX805" fmla="*/ 7088153 w 11235156"/>
              <a:gd name="connsiteY805" fmla="*/ 3742925 h 5333466"/>
              <a:gd name="connsiteX806" fmla="*/ 7123287 w 11235156"/>
              <a:gd name="connsiteY806" fmla="*/ 3769826 h 5333466"/>
              <a:gd name="connsiteX807" fmla="*/ 7123762 w 11235156"/>
              <a:gd name="connsiteY807" fmla="*/ 3790874 h 5333466"/>
              <a:gd name="connsiteX808" fmla="*/ 7137618 w 11235156"/>
              <a:gd name="connsiteY808" fmla="*/ 3798567 h 5333466"/>
              <a:gd name="connsiteX809" fmla="*/ 7152842 w 11235156"/>
              <a:gd name="connsiteY809" fmla="*/ 3760987 h 5333466"/>
              <a:gd name="connsiteX810" fmla="*/ 7178367 w 11235156"/>
              <a:gd name="connsiteY810" fmla="*/ 3789388 h 5333466"/>
              <a:gd name="connsiteX811" fmla="*/ 7175627 w 11235156"/>
              <a:gd name="connsiteY811" fmla="*/ 3834876 h 5333466"/>
              <a:gd name="connsiteX812" fmla="*/ 7140882 w 11235156"/>
              <a:gd name="connsiteY812" fmla="*/ 3837484 h 5333466"/>
              <a:gd name="connsiteX813" fmla="*/ 7093439 w 11235156"/>
              <a:gd name="connsiteY813" fmla="*/ 3830811 h 5333466"/>
              <a:gd name="connsiteX814" fmla="*/ 7061869 w 11235156"/>
              <a:gd name="connsiteY814" fmla="*/ 3835741 h 5333466"/>
              <a:gd name="connsiteX815" fmla="*/ 6930737 w 11235156"/>
              <a:gd name="connsiteY815" fmla="*/ 3815380 h 5333466"/>
              <a:gd name="connsiteX816" fmla="*/ 6903200 w 11235156"/>
              <a:gd name="connsiteY816" fmla="*/ 3828128 h 5333466"/>
              <a:gd name="connsiteX817" fmla="*/ 6901743 w 11235156"/>
              <a:gd name="connsiteY817" fmla="*/ 3836804 h 5333466"/>
              <a:gd name="connsiteX818" fmla="*/ 6892648 w 11235156"/>
              <a:gd name="connsiteY818" fmla="*/ 3832592 h 5333466"/>
              <a:gd name="connsiteX819" fmla="*/ 6887457 w 11235156"/>
              <a:gd name="connsiteY819" fmla="*/ 3826362 h 5333466"/>
              <a:gd name="connsiteX820" fmla="*/ 6870127 w 11235156"/>
              <a:gd name="connsiteY820" fmla="*/ 3823435 h 5333466"/>
              <a:gd name="connsiteX821" fmla="*/ 6877549 w 11235156"/>
              <a:gd name="connsiteY821" fmla="*/ 3834949 h 5333466"/>
              <a:gd name="connsiteX822" fmla="*/ 6879351 w 11235156"/>
              <a:gd name="connsiteY822" fmla="*/ 3837485 h 5333466"/>
              <a:gd name="connsiteX823" fmla="*/ 6882227 w 11235156"/>
              <a:gd name="connsiteY823" fmla="*/ 3846892 h 5333466"/>
              <a:gd name="connsiteX824" fmla="*/ 6872833 w 11235156"/>
              <a:gd name="connsiteY824" fmla="*/ 3849767 h 5333466"/>
              <a:gd name="connsiteX825" fmla="*/ 6832213 w 11235156"/>
              <a:gd name="connsiteY825" fmla="*/ 3868782 h 5333466"/>
              <a:gd name="connsiteX826" fmla="*/ 6825480 w 11235156"/>
              <a:gd name="connsiteY826" fmla="*/ 3879690 h 5333466"/>
              <a:gd name="connsiteX827" fmla="*/ 6858597 w 11235156"/>
              <a:gd name="connsiteY827" fmla="*/ 3902682 h 5333466"/>
              <a:gd name="connsiteX828" fmla="*/ 6939926 w 11235156"/>
              <a:gd name="connsiteY828" fmla="*/ 3901248 h 5333466"/>
              <a:gd name="connsiteX829" fmla="*/ 6967164 w 11235156"/>
              <a:gd name="connsiteY829" fmla="*/ 3895587 h 5333466"/>
              <a:gd name="connsiteX830" fmla="*/ 6979003 w 11235156"/>
              <a:gd name="connsiteY830" fmla="*/ 3899371 h 5333466"/>
              <a:gd name="connsiteX831" fmla="*/ 7001440 w 11235156"/>
              <a:gd name="connsiteY831" fmla="*/ 3916990 h 5333466"/>
              <a:gd name="connsiteX832" fmla="*/ 7039059 w 11235156"/>
              <a:gd name="connsiteY832" fmla="*/ 3923789 h 5333466"/>
              <a:gd name="connsiteX833" fmla="*/ 7056220 w 11235156"/>
              <a:gd name="connsiteY833" fmla="*/ 3943640 h 5333466"/>
              <a:gd name="connsiteX834" fmla="*/ 7055920 w 11235156"/>
              <a:gd name="connsiteY834" fmla="*/ 3950727 h 5333466"/>
              <a:gd name="connsiteX835" fmla="*/ 7068832 w 11235156"/>
              <a:gd name="connsiteY835" fmla="*/ 3961384 h 5333466"/>
              <a:gd name="connsiteX836" fmla="*/ 7072606 w 11235156"/>
              <a:gd name="connsiteY836" fmla="*/ 3949530 h 5333466"/>
              <a:gd name="connsiteX837" fmla="*/ 7080283 w 11235156"/>
              <a:gd name="connsiteY837" fmla="*/ 3935658 h 5333466"/>
              <a:gd name="connsiteX838" fmla="*/ 7104950 w 11235156"/>
              <a:gd name="connsiteY838" fmla="*/ 3958561 h 5333466"/>
              <a:gd name="connsiteX839" fmla="*/ 7106667 w 11235156"/>
              <a:gd name="connsiteY839" fmla="*/ 3969558 h 5333466"/>
              <a:gd name="connsiteX840" fmla="*/ 7112671 w 11235156"/>
              <a:gd name="connsiteY840" fmla="*/ 3962988 h 5333466"/>
              <a:gd name="connsiteX841" fmla="*/ 7130730 w 11235156"/>
              <a:gd name="connsiteY841" fmla="*/ 3961576 h 5333466"/>
              <a:gd name="connsiteX842" fmla="*/ 7165135 w 11235156"/>
              <a:gd name="connsiteY842" fmla="*/ 3992816 h 5333466"/>
              <a:gd name="connsiteX843" fmla="*/ 7196925 w 11235156"/>
              <a:gd name="connsiteY843" fmla="*/ 4034320 h 5333466"/>
              <a:gd name="connsiteX844" fmla="*/ 7210695 w 11235156"/>
              <a:gd name="connsiteY844" fmla="*/ 4050475 h 5333466"/>
              <a:gd name="connsiteX845" fmla="*/ 7282336 w 11235156"/>
              <a:gd name="connsiteY845" fmla="*/ 4104062 h 5333466"/>
              <a:gd name="connsiteX846" fmla="*/ 7288086 w 11235156"/>
              <a:gd name="connsiteY846" fmla="*/ 4122878 h 5333466"/>
              <a:gd name="connsiteX847" fmla="*/ 7272774 w 11235156"/>
              <a:gd name="connsiteY847" fmla="*/ 4123861 h 5333466"/>
              <a:gd name="connsiteX848" fmla="*/ 7248066 w 11235156"/>
              <a:gd name="connsiteY848" fmla="*/ 4127719 h 5333466"/>
              <a:gd name="connsiteX849" fmla="*/ 7216626 w 11235156"/>
              <a:gd name="connsiteY849" fmla="*/ 4142485 h 5333466"/>
              <a:gd name="connsiteX850" fmla="*/ 7184965 w 11235156"/>
              <a:gd name="connsiteY850" fmla="*/ 4110817 h 5333466"/>
              <a:gd name="connsiteX851" fmla="*/ 7185565 w 11235156"/>
              <a:gd name="connsiteY851" fmla="*/ 4096642 h 5333466"/>
              <a:gd name="connsiteX852" fmla="*/ 7186508 w 11235156"/>
              <a:gd name="connsiteY852" fmla="*/ 4093679 h 5333466"/>
              <a:gd name="connsiteX853" fmla="*/ 7183978 w 11235156"/>
              <a:gd name="connsiteY853" fmla="*/ 4095482 h 5333466"/>
              <a:gd name="connsiteX854" fmla="*/ 7168664 w 11235156"/>
              <a:gd name="connsiteY854" fmla="*/ 4096465 h 5333466"/>
              <a:gd name="connsiteX855" fmla="*/ 7129761 w 11235156"/>
              <a:gd name="connsiteY855" fmla="*/ 4126478 h 5333466"/>
              <a:gd name="connsiteX856" fmla="*/ 7108359 w 11235156"/>
              <a:gd name="connsiteY856" fmla="*/ 4142492 h 5333466"/>
              <a:gd name="connsiteX857" fmla="*/ 7085194 w 11235156"/>
              <a:gd name="connsiteY857" fmla="*/ 4129211 h 5333466"/>
              <a:gd name="connsiteX858" fmla="*/ 7007035 w 11235156"/>
              <a:gd name="connsiteY858" fmla="*/ 4087907 h 5333466"/>
              <a:gd name="connsiteX859" fmla="*/ 6989450 w 11235156"/>
              <a:gd name="connsiteY859" fmla="*/ 4110366 h 5333466"/>
              <a:gd name="connsiteX860" fmla="*/ 6981389 w 11235156"/>
              <a:gd name="connsiteY860" fmla="*/ 4139787 h 5333466"/>
              <a:gd name="connsiteX861" fmla="*/ 6948487 w 11235156"/>
              <a:gd name="connsiteY861" fmla="*/ 4118169 h 5333466"/>
              <a:gd name="connsiteX862" fmla="*/ 6908551 w 11235156"/>
              <a:gd name="connsiteY862" fmla="*/ 4114549 h 5333466"/>
              <a:gd name="connsiteX863" fmla="*/ 6905592 w 11235156"/>
              <a:gd name="connsiteY863" fmla="*/ 4113603 h 5333466"/>
              <a:gd name="connsiteX864" fmla="*/ 6885092 w 11235156"/>
              <a:gd name="connsiteY864" fmla="*/ 4153414 h 5333466"/>
              <a:gd name="connsiteX865" fmla="*/ 6877760 w 11235156"/>
              <a:gd name="connsiteY865" fmla="*/ 4178498 h 5333466"/>
              <a:gd name="connsiteX866" fmla="*/ 6872269 w 11235156"/>
              <a:gd name="connsiteY866" fmla="*/ 4179355 h 5333466"/>
              <a:gd name="connsiteX867" fmla="*/ 6850478 w 11235156"/>
              <a:gd name="connsiteY867" fmla="*/ 4165860 h 5333466"/>
              <a:gd name="connsiteX868" fmla="*/ 6833317 w 11235156"/>
              <a:gd name="connsiteY868" fmla="*/ 4146009 h 5333466"/>
              <a:gd name="connsiteX869" fmla="*/ 6813926 w 11235156"/>
              <a:gd name="connsiteY869" fmla="*/ 4120874 h 5333466"/>
              <a:gd name="connsiteX870" fmla="*/ 6785745 w 11235156"/>
              <a:gd name="connsiteY870" fmla="*/ 4129499 h 5333466"/>
              <a:gd name="connsiteX871" fmla="*/ 6773906 w 11235156"/>
              <a:gd name="connsiteY871" fmla="*/ 4125715 h 5333466"/>
              <a:gd name="connsiteX872" fmla="*/ 6753915 w 11235156"/>
              <a:gd name="connsiteY872" fmla="*/ 4114755 h 5333466"/>
              <a:gd name="connsiteX873" fmla="*/ 6745894 w 11235156"/>
              <a:gd name="connsiteY873" fmla="*/ 4117416 h 5333466"/>
              <a:gd name="connsiteX874" fmla="*/ 6716510 w 11235156"/>
              <a:gd name="connsiteY874" fmla="*/ 4109330 h 5333466"/>
              <a:gd name="connsiteX875" fmla="*/ 6681720 w 11235156"/>
              <a:gd name="connsiteY875" fmla="*/ 4093641 h 5333466"/>
              <a:gd name="connsiteX876" fmla="*/ 6665808 w 11235156"/>
              <a:gd name="connsiteY876" fmla="*/ 4108799 h 5333466"/>
              <a:gd name="connsiteX877" fmla="*/ 6665208 w 11235156"/>
              <a:gd name="connsiteY877" fmla="*/ 4122973 h 5333466"/>
              <a:gd name="connsiteX878" fmla="*/ 6670875 w 11235156"/>
              <a:gd name="connsiteY878" fmla="*/ 4150251 h 5333466"/>
              <a:gd name="connsiteX879" fmla="*/ 6693400 w 11235156"/>
              <a:gd name="connsiteY879" fmla="*/ 4204466 h 5333466"/>
              <a:gd name="connsiteX880" fmla="*/ 6661486 w 11235156"/>
              <a:gd name="connsiteY880" fmla="*/ 4198185 h 5333466"/>
              <a:gd name="connsiteX881" fmla="*/ 6622708 w 11235156"/>
              <a:gd name="connsiteY881" fmla="*/ 4192975 h 5333466"/>
              <a:gd name="connsiteX882" fmla="*/ 6588348 w 11235156"/>
              <a:gd name="connsiteY882" fmla="*/ 4180034 h 5333466"/>
              <a:gd name="connsiteX883" fmla="*/ 6484623 w 11235156"/>
              <a:gd name="connsiteY883" fmla="*/ 4137088 h 5333466"/>
              <a:gd name="connsiteX884" fmla="*/ 6471540 w 11235156"/>
              <a:gd name="connsiteY884" fmla="*/ 4143355 h 5333466"/>
              <a:gd name="connsiteX885" fmla="*/ 6464378 w 11235156"/>
              <a:gd name="connsiteY885" fmla="*/ 4151515 h 5333466"/>
              <a:gd name="connsiteX886" fmla="*/ 6458758 w 11235156"/>
              <a:gd name="connsiteY886" fmla="*/ 4142535 h 5333466"/>
              <a:gd name="connsiteX887" fmla="*/ 6448375 w 11235156"/>
              <a:gd name="connsiteY887" fmla="*/ 4130075 h 5333466"/>
              <a:gd name="connsiteX888" fmla="*/ 6427871 w 11235156"/>
              <a:gd name="connsiteY888" fmla="*/ 4124828 h 5333466"/>
              <a:gd name="connsiteX889" fmla="*/ 6418433 w 11235156"/>
              <a:gd name="connsiteY889" fmla="*/ 4109404 h 5333466"/>
              <a:gd name="connsiteX890" fmla="*/ 6405605 w 11235156"/>
              <a:gd name="connsiteY890" fmla="*/ 4090285 h 5333466"/>
              <a:gd name="connsiteX891" fmla="*/ 6393382 w 11235156"/>
              <a:gd name="connsiteY891" fmla="*/ 4102051 h 5333466"/>
              <a:gd name="connsiteX892" fmla="*/ 6388750 w 11235156"/>
              <a:gd name="connsiteY892" fmla="*/ 4108407 h 5333466"/>
              <a:gd name="connsiteX893" fmla="*/ 6377080 w 11235156"/>
              <a:gd name="connsiteY893" fmla="*/ 4087699 h 5333466"/>
              <a:gd name="connsiteX894" fmla="*/ 6363224 w 11235156"/>
              <a:gd name="connsiteY894" fmla="*/ 4080006 h 5333466"/>
              <a:gd name="connsiteX895" fmla="*/ 6356706 w 11235156"/>
              <a:gd name="connsiteY895" fmla="*/ 4092288 h 5333466"/>
              <a:gd name="connsiteX896" fmla="*/ 6305449 w 11235156"/>
              <a:gd name="connsiteY896" fmla="*/ 4124229 h 5333466"/>
              <a:gd name="connsiteX897" fmla="*/ 6289063 w 11235156"/>
              <a:gd name="connsiteY897" fmla="*/ 4118339 h 5333466"/>
              <a:gd name="connsiteX898" fmla="*/ 6226996 w 11235156"/>
              <a:gd name="connsiteY898" fmla="*/ 4135071 h 5333466"/>
              <a:gd name="connsiteX899" fmla="*/ 6225839 w 11235156"/>
              <a:gd name="connsiteY899" fmla="*/ 4136659 h 5333466"/>
              <a:gd name="connsiteX900" fmla="*/ 6206621 w 11235156"/>
              <a:gd name="connsiteY900" fmla="*/ 4139660 h 5333466"/>
              <a:gd name="connsiteX901" fmla="*/ 6201215 w 11235156"/>
              <a:gd name="connsiteY901" fmla="*/ 4132056 h 5333466"/>
              <a:gd name="connsiteX902" fmla="*/ 6213439 w 11235156"/>
              <a:gd name="connsiteY902" fmla="*/ 4120290 h 5333466"/>
              <a:gd name="connsiteX903" fmla="*/ 6222188 w 11235156"/>
              <a:gd name="connsiteY903" fmla="*/ 4113291 h 5333466"/>
              <a:gd name="connsiteX904" fmla="*/ 6212880 w 11235156"/>
              <a:gd name="connsiteY904" fmla="*/ 4107704 h 5333466"/>
              <a:gd name="connsiteX905" fmla="*/ 6191218 w 11235156"/>
              <a:gd name="connsiteY905" fmla="*/ 4104046 h 5333466"/>
              <a:gd name="connsiteX906" fmla="*/ 6165522 w 11235156"/>
              <a:gd name="connsiteY906" fmla="*/ 4092568 h 5333466"/>
              <a:gd name="connsiteX907" fmla="*/ 6149994 w 11235156"/>
              <a:gd name="connsiteY907" fmla="*/ 4092177 h 5333466"/>
              <a:gd name="connsiteX908" fmla="*/ 6103925 w 11235156"/>
              <a:gd name="connsiteY908" fmla="*/ 4085289 h 5333466"/>
              <a:gd name="connsiteX909" fmla="*/ 6083160 w 11235156"/>
              <a:gd name="connsiteY909" fmla="*/ 4060369 h 5333466"/>
              <a:gd name="connsiteX910" fmla="*/ 6050902 w 11235156"/>
              <a:gd name="connsiteY910" fmla="*/ 4042876 h 5333466"/>
              <a:gd name="connsiteX911" fmla="*/ 6025596 w 11235156"/>
              <a:gd name="connsiteY911" fmla="*/ 4060908 h 5333466"/>
              <a:gd name="connsiteX912" fmla="*/ 5995313 w 11235156"/>
              <a:gd name="connsiteY912" fmla="*/ 4074085 h 5333466"/>
              <a:gd name="connsiteX913" fmla="*/ 5979571 w 11235156"/>
              <a:gd name="connsiteY913" fmla="*/ 4072318 h 5333466"/>
              <a:gd name="connsiteX914" fmla="*/ 5961169 w 11235156"/>
              <a:gd name="connsiteY914" fmla="*/ 4062519 h 5333466"/>
              <a:gd name="connsiteX915" fmla="*/ 5960094 w 11235156"/>
              <a:gd name="connsiteY915" fmla="*/ 4055645 h 5333466"/>
              <a:gd name="connsiteX916" fmla="*/ 5941905 w 11235156"/>
              <a:gd name="connsiteY916" fmla="*/ 4047221 h 5333466"/>
              <a:gd name="connsiteX917" fmla="*/ 5918702 w 11235156"/>
              <a:gd name="connsiteY917" fmla="*/ 4060701 h 5333466"/>
              <a:gd name="connsiteX918" fmla="*/ 5831064 w 11235156"/>
              <a:gd name="connsiteY918" fmla="*/ 4030733 h 5333466"/>
              <a:gd name="connsiteX919" fmla="*/ 5828229 w 11235156"/>
              <a:gd name="connsiteY919" fmla="*/ 3994564 h 5333466"/>
              <a:gd name="connsiteX920" fmla="*/ 5801330 w 11235156"/>
              <a:gd name="connsiteY920" fmla="*/ 3966377 h 5333466"/>
              <a:gd name="connsiteX921" fmla="*/ 5775550 w 11235156"/>
              <a:gd name="connsiteY921" fmla="*/ 3963362 h 5333466"/>
              <a:gd name="connsiteX922" fmla="*/ 5744754 w 11235156"/>
              <a:gd name="connsiteY922" fmla="*/ 3982252 h 5333466"/>
              <a:gd name="connsiteX923" fmla="*/ 5728497 w 11235156"/>
              <a:gd name="connsiteY923" fmla="*/ 3986198 h 5333466"/>
              <a:gd name="connsiteX924" fmla="*/ 5695469 w 11235156"/>
              <a:gd name="connsiteY924" fmla="*/ 3999803 h 5333466"/>
              <a:gd name="connsiteX925" fmla="*/ 5701734 w 11235156"/>
              <a:gd name="connsiteY925" fmla="*/ 4012907 h 5333466"/>
              <a:gd name="connsiteX926" fmla="*/ 5710054 w 11235156"/>
              <a:gd name="connsiteY926" fmla="*/ 4003160 h 5333466"/>
              <a:gd name="connsiteX927" fmla="*/ 5717217 w 11235156"/>
              <a:gd name="connsiteY927" fmla="*/ 3995000 h 5333466"/>
              <a:gd name="connsiteX928" fmla="*/ 5726954 w 11235156"/>
              <a:gd name="connsiteY928" fmla="*/ 4003337 h 5333466"/>
              <a:gd name="connsiteX929" fmla="*/ 5732880 w 11235156"/>
              <a:gd name="connsiteY929" fmla="*/ 4050288 h 5333466"/>
              <a:gd name="connsiteX930" fmla="*/ 5724729 w 11235156"/>
              <a:gd name="connsiteY930" fmla="*/ 4043111 h 5333466"/>
              <a:gd name="connsiteX931" fmla="*/ 5694186 w 11235156"/>
              <a:gd name="connsiteY931" fmla="*/ 4036615 h 5333466"/>
              <a:gd name="connsiteX932" fmla="*/ 5684707 w 11235156"/>
              <a:gd name="connsiteY932" fmla="*/ 4047952 h 5333466"/>
              <a:gd name="connsiteX933" fmla="*/ 5662017 w 11235156"/>
              <a:gd name="connsiteY933" fmla="*/ 4055719 h 5333466"/>
              <a:gd name="connsiteX934" fmla="*/ 5633922 w 11235156"/>
              <a:gd name="connsiteY934" fmla="*/ 4055882 h 5333466"/>
              <a:gd name="connsiteX935" fmla="*/ 5645806 w 11235156"/>
              <a:gd name="connsiteY935" fmla="*/ 4077965 h 5333466"/>
              <a:gd name="connsiteX936" fmla="*/ 5622172 w 11235156"/>
              <a:gd name="connsiteY936" fmla="*/ 4088695 h 5333466"/>
              <a:gd name="connsiteX937" fmla="*/ 5619856 w 11235156"/>
              <a:gd name="connsiteY937" fmla="*/ 4091872 h 5333466"/>
              <a:gd name="connsiteX938" fmla="*/ 5627707 w 11235156"/>
              <a:gd name="connsiteY938" fmla="*/ 4106136 h 5333466"/>
              <a:gd name="connsiteX939" fmla="*/ 5658463 w 11235156"/>
              <a:gd name="connsiteY939" fmla="*/ 4114006 h 5333466"/>
              <a:gd name="connsiteX940" fmla="*/ 5683685 w 11235156"/>
              <a:gd name="connsiteY940" fmla="*/ 4104436 h 5333466"/>
              <a:gd name="connsiteX941" fmla="*/ 5699942 w 11235156"/>
              <a:gd name="connsiteY941" fmla="*/ 4100490 h 5333466"/>
              <a:gd name="connsiteX942" fmla="*/ 5736663 w 11235156"/>
              <a:gd name="connsiteY942" fmla="*/ 4128551 h 5333466"/>
              <a:gd name="connsiteX943" fmla="*/ 5757681 w 11235156"/>
              <a:gd name="connsiteY943" fmla="*/ 4128086 h 5333466"/>
              <a:gd name="connsiteX944" fmla="*/ 5777198 w 11235156"/>
              <a:gd name="connsiteY944" fmla="*/ 4117998 h 5333466"/>
              <a:gd name="connsiteX945" fmla="*/ 5793284 w 11235156"/>
              <a:gd name="connsiteY945" fmla="*/ 4130975 h 5333466"/>
              <a:gd name="connsiteX946" fmla="*/ 5821465 w 11235156"/>
              <a:gd name="connsiteY946" fmla="*/ 4122351 h 5333466"/>
              <a:gd name="connsiteX947" fmla="*/ 5845445 w 11235156"/>
              <a:gd name="connsiteY947" fmla="*/ 4122831 h 5333466"/>
              <a:gd name="connsiteX948" fmla="*/ 5883063 w 11235156"/>
              <a:gd name="connsiteY948" fmla="*/ 4129631 h 5333466"/>
              <a:gd name="connsiteX949" fmla="*/ 5904771 w 11235156"/>
              <a:gd name="connsiteY949" fmla="*/ 4151588 h 5333466"/>
              <a:gd name="connsiteX950" fmla="*/ 5943418 w 11235156"/>
              <a:gd name="connsiteY950" fmla="*/ 4146961 h 5333466"/>
              <a:gd name="connsiteX951" fmla="*/ 5953411 w 11235156"/>
              <a:gd name="connsiteY951" fmla="*/ 4129912 h 5333466"/>
              <a:gd name="connsiteX952" fmla="*/ 5966369 w 11235156"/>
              <a:gd name="connsiteY952" fmla="*/ 4158867 h 5333466"/>
              <a:gd name="connsiteX953" fmla="*/ 5969628 w 11235156"/>
              <a:gd name="connsiteY953" fmla="*/ 4152726 h 5333466"/>
              <a:gd name="connsiteX954" fmla="*/ 6010377 w 11235156"/>
              <a:gd name="connsiteY954" fmla="*/ 4143547 h 5333466"/>
              <a:gd name="connsiteX955" fmla="*/ 6020760 w 11235156"/>
              <a:gd name="connsiteY955" fmla="*/ 4156007 h 5333466"/>
              <a:gd name="connsiteX956" fmla="*/ 6022261 w 11235156"/>
              <a:gd name="connsiteY956" fmla="*/ 4165630 h 5333466"/>
              <a:gd name="connsiteX957" fmla="*/ 6030028 w 11235156"/>
              <a:gd name="connsiteY957" fmla="*/ 4188354 h 5333466"/>
              <a:gd name="connsiteX958" fmla="*/ 6104754 w 11235156"/>
              <a:gd name="connsiteY958" fmla="*/ 4207666 h 5333466"/>
              <a:gd name="connsiteX959" fmla="*/ 6226706 w 11235156"/>
              <a:gd name="connsiteY959" fmla="*/ 4232276 h 5333466"/>
              <a:gd name="connsiteX960" fmla="*/ 6265270 w 11235156"/>
              <a:gd name="connsiteY960" fmla="*/ 4236112 h 5333466"/>
              <a:gd name="connsiteX961" fmla="*/ 6294223 w 11235156"/>
              <a:gd name="connsiteY961" fmla="*/ 4241447 h 5333466"/>
              <a:gd name="connsiteX962" fmla="*/ 6344327 w 11235156"/>
              <a:gd name="connsiteY962" fmla="*/ 4256154 h 5333466"/>
              <a:gd name="connsiteX963" fmla="*/ 6396102 w 11235156"/>
              <a:gd name="connsiteY963" fmla="*/ 4263559 h 5333466"/>
              <a:gd name="connsiteX964" fmla="*/ 6438438 w 11235156"/>
              <a:gd name="connsiteY964" fmla="*/ 4255541 h 5333466"/>
              <a:gd name="connsiteX965" fmla="*/ 6475459 w 11235156"/>
              <a:gd name="connsiteY965" fmla="*/ 4276515 h 5333466"/>
              <a:gd name="connsiteX966" fmla="*/ 6511491 w 11235156"/>
              <a:gd name="connsiteY966" fmla="*/ 4282153 h 5333466"/>
              <a:gd name="connsiteX967" fmla="*/ 6564040 w 11235156"/>
              <a:gd name="connsiteY967" fmla="*/ 4303519 h 5333466"/>
              <a:gd name="connsiteX968" fmla="*/ 6663173 w 11235156"/>
              <a:gd name="connsiteY968" fmla="*/ 4326060 h 5333466"/>
              <a:gd name="connsiteX969" fmla="*/ 6742744 w 11235156"/>
              <a:gd name="connsiteY969" fmla="*/ 4340390 h 5333466"/>
              <a:gd name="connsiteX970" fmla="*/ 6761148 w 11235156"/>
              <a:gd name="connsiteY970" fmla="*/ 4350190 h 5333466"/>
              <a:gd name="connsiteX971" fmla="*/ 6806189 w 11235156"/>
              <a:gd name="connsiteY971" fmla="*/ 4368503 h 5333466"/>
              <a:gd name="connsiteX972" fmla="*/ 6815798 w 11235156"/>
              <a:gd name="connsiteY972" fmla="*/ 4367003 h 5333466"/>
              <a:gd name="connsiteX973" fmla="*/ 6807093 w 11235156"/>
              <a:gd name="connsiteY973" fmla="*/ 4392300 h 5333466"/>
              <a:gd name="connsiteX974" fmla="*/ 6779685 w 11235156"/>
              <a:gd name="connsiteY974" fmla="*/ 4414884 h 5333466"/>
              <a:gd name="connsiteX975" fmla="*/ 6756136 w 11235156"/>
              <a:gd name="connsiteY975" fmla="*/ 4417153 h 5333466"/>
              <a:gd name="connsiteX976" fmla="*/ 6733401 w 11235156"/>
              <a:gd name="connsiteY976" fmla="*/ 4406623 h 5333466"/>
              <a:gd name="connsiteX977" fmla="*/ 6730826 w 11235156"/>
              <a:gd name="connsiteY977" fmla="*/ 4390127 h 5333466"/>
              <a:gd name="connsiteX978" fmla="*/ 6719715 w 11235156"/>
              <a:gd name="connsiteY978" fmla="*/ 4382005 h 5333466"/>
              <a:gd name="connsiteX979" fmla="*/ 6686388 w 11235156"/>
              <a:gd name="connsiteY979" fmla="*/ 4402698 h 5333466"/>
              <a:gd name="connsiteX980" fmla="*/ 6678796 w 11235156"/>
              <a:gd name="connsiteY980" fmla="*/ 4408107 h 5333466"/>
              <a:gd name="connsiteX981" fmla="*/ 6673390 w 11235156"/>
              <a:gd name="connsiteY981" fmla="*/ 4400503 h 5333466"/>
              <a:gd name="connsiteX982" fmla="*/ 6672317 w 11235156"/>
              <a:gd name="connsiteY982" fmla="*/ 4393630 h 5333466"/>
              <a:gd name="connsiteX983" fmla="*/ 6658461 w 11235156"/>
              <a:gd name="connsiteY983" fmla="*/ 4385937 h 5333466"/>
              <a:gd name="connsiteX984" fmla="*/ 6640916 w 11235156"/>
              <a:gd name="connsiteY984" fmla="*/ 4381636 h 5333466"/>
              <a:gd name="connsiteX985" fmla="*/ 6639928 w 11235156"/>
              <a:gd name="connsiteY985" fmla="*/ 4366301 h 5333466"/>
              <a:gd name="connsiteX986" fmla="*/ 6656614 w 11235156"/>
              <a:gd name="connsiteY986" fmla="*/ 4365103 h 5333466"/>
              <a:gd name="connsiteX987" fmla="*/ 6667381 w 11235156"/>
              <a:gd name="connsiteY987" fmla="*/ 4362014 h 5333466"/>
              <a:gd name="connsiteX988" fmla="*/ 6664076 w 11235156"/>
              <a:gd name="connsiteY988" fmla="*/ 4349858 h 5333466"/>
              <a:gd name="connsiteX989" fmla="*/ 6631263 w 11235156"/>
              <a:gd name="connsiteY989" fmla="*/ 4364837 h 5333466"/>
              <a:gd name="connsiteX990" fmla="*/ 6602997 w 11235156"/>
              <a:gd name="connsiteY990" fmla="*/ 4381924 h 5333466"/>
              <a:gd name="connsiteX991" fmla="*/ 6523855 w 11235156"/>
              <a:gd name="connsiteY991" fmla="*/ 4370343 h 5333466"/>
              <a:gd name="connsiteX992" fmla="*/ 6517590 w 11235156"/>
              <a:gd name="connsiteY992" fmla="*/ 4357239 h 5333466"/>
              <a:gd name="connsiteX993" fmla="*/ 6521020 w 11235156"/>
              <a:gd name="connsiteY993" fmla="*/ 4334174 h 5333466"/>
              <a:gd name="connsiteX994" fmla="*/ 6507893 w 11235156"/>
              <a:gd name="connsiteY994" fmla="*/ 4322143 h 5333466"/>
              <a:gd name="connsiteX995" fmla="*/ 6500515 w 11235156"/>
              <a:gd name="connsiteY995" fmla="*/ 4328928 h 5333466"/>
              <a:gd name="connsiteX996" fmla="*/ 6483061 w 11235156"/>
              <a:gd name="connsiteY996" fmla="*/ 4361223 h 5333466"/>
              <a:gd name="connsiteX997" fmla="*/ 6480830 w 11235156"/>
              <a:gd name="connsiteY997" fmla="*/ 4355939 h 5333466"/>
              <a:gd name="connsiteX998" fmla="*/ 6463071 w 11235156"/>
              <a:gd name="connsiteY998" fmla="*/ 4350264 h 5333466"/>
              <a:gd name="connsiteX999" fmla="*/ 6454406 w 11235156"/>
              <a:gd name="connsiteY999" fmla="*/ 4348800 h 5333466"/>
              <a:gd name="connsiteX1000" fmla="*/ 6430513 w 11235156"/>
              <a:gd name="connsiteY1000" fmla="*/ 4339858 h 5333466"/>
              <a:gd name="connsiteX1001" fmla="*/ 6386074 w 11235156"/>
              <a:gd name="connsiteY1001" fmla="*/ 4352429 h 5333466"/>
              <a:gd name="connsiteX1002" fmla="*/ 6380713 w 11235156"/>
              <a:gd name="connsiteY1002" fmla="*/ 4363123 h 5333466"/>
              <a:gd name="connsiteX1003" fmla="*/ 6376855 w 11235156"/>
              <a:gd name="connsiteY1003" fmla="*/ 4383438 h 5333466"/>
              <a:gd name="connsiteX1004" fmla="*/ 6414476 w 11235156"/>
              <a:gd name="connsiteY1004" fmla="*/ 4390237 h 5333466"/>
              <a:gd name="connsiteX1005" fmla="*/ 6447677 w 11235156"/>
              <a:gd name="connsiteY1005" fmla="*/ 4404767 h 5333466"/>
              <a:gd name="connsiteX1006" fmla="*/ 6402466 w 11235156"/>
              <a:gd name="connsiteY1006" fmla="*/ 4403378 h 5333466"/>
              <a:gd name="connsiteX1007" fmla="*/ 6369009 w 11235156"/>
              <a:gd name="connsiteY1007" fmla="*/ 4414234 h 5333466"/>
              <a:gd name="connsiteX1008" fmla="*/ 6350951 w 11235156"/>
              <a:gd name="connsiteY1008" fmla="*/ 4415645 h 5333466"/>
              <a:gd name="connsiteX1009" fmla="*/ 6348935 w 11235156"/>
              <a:gd name="connsiteY1009" fmla="*/ 4411736 h 5333466"/>
              <a:gd name="connsiteX1010" fmla="*/ 6283348 w 11235156"/>
              <a:gd name="connsiteY1010" fmla="*/ 4414935 h 5333466"/>
              <a:gd name="connsiteX1011" fmla="*/ 6248563 w 11235156"/>
              <a:gd name="connsiteY1011" fmla="*/ 4444305 h 5333466"/>
              <a:gd name="connsiteX1012" fmla="*/ 6201765 w 11235156"/>
              <a:gd name="connsiteY1012" fmla="*/ 4441755 h 5333466"/>
              <a:gd name="connsiteX1013" fmla="*/ 6142483 w 11235156"/>
              <a:gd name="connsiteY1013" fmla="*/ 4431297 h 5333466"/>
              <a:gd name="connsiteX1014" fmla="*/ 6098000 w 11235156"/>
              <a:gd name="connsiteY1014" fmla="*/ 4425570 h 5333466"/>
              <a:gd name="connsiteX1015" fmla="*/ 6063985 w 11235156"/>
              <a:gd name="connsiteY1015" fmla="*/ 4423841 h 5333466"/>
              <a:gd name="connsiteX1016" fmla="*/ 6034814 w 11235156"/>
              <a:gd name="connsiteY1016" fmla="*/ 4417131 h 5333466"/>
              <a:gd name="connsiteX1017" fmla="*/ 6005940 w 11235156"/>
              <a:gd name="connsiteY1017" fmla="*/ 4358274 h 5333466"/>
              <a:gd name="connsiteX1018" fmla="*/ 5995558 w 11235156"/>
              <a:gd name="connsiteY1018" fmla="*/ 4345813 h 5333466"/>
              <a:gd name="connsiteX1019" fmla="*/ 5981532 w 11235156"/>
              <a:gd name="connsiteY1019" fmla="*/ 4355043 h 5333466"/>
              <a:gd name="connsiteX1020" fmla="*/ 5975014 w 11235156"/>
              <a:gd name="connsiteY1020" fmla="*/ 4367327 h 5333466"/>
              <a:gd name="connsiteX1021" fmla="*/ 5936411 w 11235156"/>
              <a:gd name="connsiteY1021" fmla="*/ 4390252 h 5333466"/>
              <a:gd name="connsiteX1022" fmla="*/ 5915777 w 11235156"/>
              <a:gd name="connsiteY1022" fmla="*/ 4375167 h 5333466"/>
              <a:gd name="connsiteX1023" fmla="*/ 5887941 w 11235156"/>
              <a:gd name="connsiteY1023" fmla="*/ 4395003 h 5333466"/>
              <a:gd name="connsiteX1024" fmla="*/ 5842429 w 11235156"/>
              <a:gd name="connsiteY1024" fmla="*/ 4400701 h 5333466"/>
              <a:gd name="connsiteX1025" fmla="*/ 5752606 w 11235156"/>
              <a:gd name="connsiteY1025" fmla="*/ 4383747 h 5333466"/>
              <a:gd name="connsiteX1026" fmla="*/ 5738021 w 11235156"/>
              <a:gd name="connsiteY1026" fmla="*/ 4380392 h 5333466"/>
              <a:gd name="connsiteX1027" fmla="*/ 5705722 w 11235156"/>
              <a:gd name="connsiteY1027" fmla="*/ 4389660 h 5333466"/>
              <a:gd name="connsiteX1028" fmla="*/ 5696972 w 11235156"/>
              <a:gd name="connsiteY1028" fmla="*/ 4396658 h 5333466"/>
              <a:gd name="connsiteX1029" fmla="*/ 5683675 w 11235156"/>
              <a:gd name="connsiteY1029" fmla="*/ 4401550 h 5333466"/>
              <a:gd name="connsiteX1030" fmla="*/ 5663900 w 11235156"/>
              <a:gd name="connsiteY1030" fmla="*/ 4391965 h 5333466"/>
              <a:gd name="connsiteX1031" fmla="*/ 5646011 w 11235156"/>
              <a:gd name="connsiteY1031" fmla="*/ 4376453 h 5333466"/>
              <a:gd name="connsiteX1032" fmla="*/ 5626879 w 11235156"/>
              <a:gd name="connsiteY1032" fmla="*/ 4370991 h 5333466"/>
              <a:gd name="connsiteX1033" fmla="*/ 5599297 w 11235156"/>
              <a:gd name="connsiteY1033" fmla="*/ 4365441 h 5333466"/>
              <a:gd name="connsiteX1034" fmla="*/ 5586944 w 11235156"/>
              <a:gd name="connsiteY1034" fmla="*/ 4367370 h 5333466"/>
              <a:gd name="connsiteX1035" fmla="*/ 5528650 w 11235156"/>
              <a:gd name="connsiteY1035" fmla="*/ 4372248 h 5333466"/>
              <a:gd name="connsiteX1036" fmla="*/ 5507761 w 11235156"/>
              <a:gd name="connsiteY1036" fmla="*/ 4382550 h 5333466"/>
              <a:gd name="connsiteX1037" fmla="*/ 5525435 w 11235156"/>
              <a:gd name="connsiteY1037" fmla="*/ 4396688 h 5333466"/>
              <a:gd name="connsiteX1038" fmla="*/ 5529982 w 11235156"/>
              <a:gd name="connsiteY1038" fmla="*/ 4398793 h 5333466"/>
              <a:gd name="connsiteX1039" fmla="*/ 5544786 w 11235156"/>
              <a:gd name="connsiteY1039" fmla="*/ 4448583 h 5333466"/>
              <a:gd name="connsiteX1040" fmla="*/ 5520120 w 11235156"/>
              <a:gd name="connsiteY1040" fmla="*/ 4425681 h 5333466"/>
              <a:gd name="connsiteX1041" fmla="*/ 5488250 w 11235156"/>
              <a:gd name="connsiteY1041" fmla="*/ 4437697 h 5333466"/>
              <a:gd name="connsiteX1042" fmla="*/ 5480529 w 11235156"/>
              <a:gd name="connsiteY1042" fmla="*/ 4433269 h 5333466"/>
              <a:gd name="connsiteX1043" fmla="*/ 5481986 w 11235156"/>
              <a:gd name="connsiteY1043" fmla="*/ 4424594 h 5333466"/>
              <a:gd name="connsiteX1044" fmla="*/ 5480054 w 11235156"/>
              <a:gd name="connsiteY1044" fmla="*/ 4412222 h 5333466"/>
              <a:gd name="connsiteX1045" fmla="*/ 5472033 w 11235156"/>
              <a:gd name="connsiteY1045" fmla="*/ 4414883 h 5333466"/>
              <a:gd name="connsiteX1046" fmla="*/ 5459765 w 11235156"/>
              <a:gd name="connsiteY1046" fmla="*/ 4408350 h 5333466"/>
              <a:gd name="connsiteX1047" fmla="*/ 5457104 w 11235156"/>
              <a:gd name="connsiteY1047" fmla="*/ 4400316 h 5333466"/>
              <a:gd name="connsiteX1048" fmla="*/ 5388304 w 11235156"/>
              <a:gd name="connsiteY1048" fmla="*/ 4427956 h 5333466"/>
              <a:gd name="connsiteX1049" fmla="*/ 5385344 w 11235156"/>
              <a:gd name="connsiteY1049" fmla="*/ 4427010 h 5333466"/>
              <a:gd name="connsiteX1050" fmla="*/ 5291962 w 11235156"/>
              <a:gd name="connsiteY1050" fmla="*/ 4423285 h 5333466"/>
              <a:gd name="connsiteX1051" fmla="*/ 5268282 w 11235156"/>
              <a:gd name="connsiteY1051" fmla="*/ 4415717 h 5333466"/>
              <a:gd name="connsiteX1052" fmla="*/ 5241000 w 11235156"/>
              <a:gd name="connsiteY1052" fmla="*/ 4403080 h 5333466"/>
              <a:gd name="connsiteX1053" fmla="*/ 5187767 w 11235156"/>
              <a:gd name="connsiteY1053" fmla="*/ 4404351 h 5333466"/>
              <a:gd name="connsiteX1054" fmla="*/ 5178419 w 11235156"/>
              <a:gd name="connsiteY1054" fmla="*/ 4425524 h 5333466"/>
              <a:gd name="connsiteX1055" fmla="*/ 5181509 w 11235156"/>
              <a:gd name="connsiteY1055" fmla="*/ 4436307 h 5333466"/>
              <a:gd name="connsiteX1056" fmla="*/ 5179452 w 11235156"/>
              <a:gd name="connsiteY1056" fmla="*/ 4459158 h 5333466"/>
              <a:gd name="connsiteX1057" fmla="*/ 5177052 w 11235156"/>
              <a:gd name="connsiteY1057" fmla="*/ 4470798 h 5333466"/>
              <a:gd name="connsiteX1058" fmla="*/ 5166155 w 11235156"/>
              <a:gd name="connsiteY1058" fmla="*/ 4464050 h 5333466"/>
              <a:gd name="connsiteX1059" fmla="*/ 5149081 w 11235156"/>
              <a:gd name="connsiteY1059" fmla="*/ 4435738 h 5333466"/>
              <a:gd name="connsiteX1060" fmla="*/ 5091984 w 11235156"/>
              <a:gd name="connsiteY1060" fmla="*/ 4412265 h 5333466"/>
              <a:gd name="connsiteX1061" fmla="*/ 5055138 w 11235156"/>
              <a:gd name="connsiteY1061" fmla="*/ 4419427 h 5333466"/>
              <a:gd name="connsiteX1062" fmla="*/ 5024681 w 11235156"/>
              <a:gd name="connsiteY1062" fmla="*/ 4404469 h 5333466"/>
              <a:gd name="connsiteX1063" fmla="*/ 5019275 w 11235156"/>
              <a:gd name="connsiteY1063" fmla="*/ 4396865 h 5333466"/>
              <a:gd name="connsiteX1064" fmla="*/ 5006367 w 11235156"/>
              <a:gd name="connsiteY1064" fmla="*/ 4431266 h 5333466"/>
              <a:gd name="connsiteX1065" fmla="*/ 4991268 w 11235156"/>
              <a:gd name="connsiteY1065" fmla="*/ 4433624 h 5333466"/>
              <a:gd name="connsiteX1066" fmla="*/ 4967075 w 11235156"/>
              <a:gd name="connsiteY1066" fmla="*/ 4431768 h 5333466"/>
              <a:gd name="connsiteX1067" fmla="*/ 4934991 w 11235156"/>
              <a:gd name="connsiteY1067" fmla="*/ 4442410 h 5333466"/>
              <a:gd name="connsiteX1068" fmla="*/ 4881200 w 11235156"/>
              <a:gd name="connsiteY1068" fmla="*/ 4431096 h 5333466"/>
              <a:gd name="connsiteX1069" fmla="*/ 4846372 w 11235156"/>
              <a:gd name="connsiteY1069" fmla="*/ 4442167 h 5333466"/>
              <a:gd name="connsiteX1070" fmla="*/ 4807293 w 11235156"/>
              <a:gd name="connsiteY1070" fmla="*/ 4444044 h 5333466"/>
              <a:gd name="connsiteX1071" fmla="*/ 4785117 w 11235156"/>
              <a:gd name="connsiteY1071" fmla="*/ 4446098 h 5333466"/>
              <a:gd name="connsiteX1072" fmla="*/ 4782587 w 11235156"/>
              <a:gd name="connsiteY1072" fmla="*/ 4447901 h 5333466"/>
              <a:gd name="connsiteX1073" fmla="*/ 4767060 w 11235156"/>
              <a:gd name="connsiteY1073" fmla="*/ 4447510 h 5333466"/>
              <a:gd name="connsiteX1074" fmla="*/ 4761009 w 11235156"/>
              <a:gd name="connsiteY1074" fmla="*/ 4435781 h 5333466"/>
              <a:gd name="connsiteX1075" fmla="*/ 4729608 w 11235156"/>
              <a:gd name="connsiteY1075" fmla="*/ 4423787 h 5333466"/>
              <a:gd name="connsiteX1076" fmla="*/ 4664198 w 11235156"/>
              <a:gd name="connsiteY1076" fmla="*/ 4455122 h 5333466"/>
              <a:gd name="connsiteX1077" fmla="*/ 4646867 w 11235156"/>
              <a:gd name="connsiteY1077" fmla="*/ 4452195 h 5333466"/>
              <a:gd name="connsiteX1078" fmla="*/ 4632283 w 11235156"/>
              <a:gd name="connsiteY1078" fmla="*/ 4448840 h 5333466"/>
              <a:gd name="connsiteX1079" fmla="*/ 4598611 w 11235156"/>
              <a:gd name="connsiteY1079" fmla="*/ 4458322 h 5333466"/>
              <a:gd name="connsiteX1080" fmla="*/ 4573220 w 11235156"/>
              <a:gd name="connsiteY1080" fmla="*/ 4484816 h 5333466"/>
              <a:gd name="connsiteX1081" fmla="*/ 4560996 w 11235156"/>
              <a:gd name="connsiteY1081" fmla="*/ 4496582 h 5333466"/>
              <a:gd name="connsiteX1082" fmla="*/ 4532173 w 11235156"/>
              <a:gd name="connsiteY1082" fmla="*/ 4501082 h 5333466"/>
              <a:gd name="connsiteX1083" fmla="*/ 4528658 w 11235156"/>
              <a:gd name="connsiteY1083" fmla="*/ 4532609 h 5333466"/>
              <a:gd name="connsiteX1084" fmla="*/ 4516130 w 11235156"/>
              <a:gd name="connsiteY1084" fmla="*/ 4506403 h 5333466"/>
              <a:gd name="connsiteX1085" fmla="*/ 4545509 w 11235156"/>
              <a:gd name="connsiteY1085" fmla="*/ 4469429 h 5333466"/>
              <a:gd name="connsiteX1086" fmla="*/ 4495795 w 11235156"/>
              <a:gd name="connsiteY1086" fmla="*/ 4484231 h 5333466"/>
              <a:gd name="connsiteX1087" fmla="*/ 4488333 w 11235156"/>
              <a:gd name="connsiteY1087" fmla="*/ 4499478 h 5333466"/>
              <a:gd name="connsiteX1088" fmla="*/ 4464530 w 11235156"/>
              <a:gd name="connsiteY1088" fmla="*/ 4527132 h 5333466"/>
              <a:gd name="connsiteX1089" fmla="*/ 4459384 w 11235156"/>
              <a:gd name="connsiteY1089" fmla="*/ 4539202 h 5333466"/>
              <a:gd name="connsiteX1090" fmla="*/ 4454067 w 11235156"/>
              <a:gd name="connsiteY1090" fmla="*/ 4568194 h 5333466"/>
              <a:gd name="connsiteX1091" fmla="*/ 4448232 w 11235156"/>
              <a:gd name="connsiteY1091" fmla="*/ 4557840 h 5333466"/>
              <a:gd name="connsiteX1092" fmla="*/ 4416748 w 11235156"/>
              <a:gd name="connsiteY1092" fmla="*/ 4554307 h 5333466"/>
              <a:gd name="connsiteX1093" fmla="*/ 4378015 w 11235156"/>
              <a:gd name="connsiteY1093" fmla="*/ 4567395 h 5333466"/>
              <a:gd name="connsiteX1094" fmla="*/ 4346745 w 11235156"/>
              <a:gd name="connsiteY1094" fmla="*/ 4565237 h 5333466"/>
              <a:gd name="connsiteX1095" fmla="*/ 4254176 w 11235156"/>
              <a:gd name="connsiteY1095" fmla="*/ 4548712 h 5333466"/>
              <a:gd name="connsiteX1096" fmla="*/ 4243879 w 11235156"/>
              <a:gd name="connsiteY1096" fmla="*/ 4527790 h 5333466"/>
              <a:gd name="connsiteX1097" fmla="*/ 4261462 w 11235156"/>
              <a:gd name="connsiteY1097" fmla="*/ 4505330 h 5333466"/>
              <a:gd name="connsiteX1098" fmla="*/ 4285695 w 11235156"/>
              <a:gd name="connsiteY1098" fmla="*/ 4480426 h 5333466"/>
              <a:gd name="connsiteX1099" fmla="*/ 4166582 w 11235156"/>
              <a:gd name="connsiteY1099" fmla="*/ 4537043 h 5333466"/>
              <a:gd name="connsiteX1100" fmla="*/ 4151913 w 11235156"/>
              <a:gd name="connsiteY1100" fmla="*/ 4542149 h 5333466"/>
              <a:gd name="connsiteX1101" fmla="*/ 4139728 w 11235156"/>
              <a:gd name="connsiteY1101" fmla="*/ 4527154 h 5333466"/>
              <a:gd name="connsiteX1102" fmla="*/ 4143287 w 11235156"/>
              <a:gd name="connsiteY1102" fmla="*/ 4513926 h 5333466"/>
              <a:gd name="connsiteX1103" fmla="*/ 4161685 w 11235156"/>
              <a:gd name="connsiteY1103" fmla="*/ 4478667 h 5333466"/>
              <a:gd name="connsiteX1104" fmla="*/ 4147869 w 11235156"/>
              <a:gd name="connsiteY1104" fmla="*/ 4444213 h 5333466"/>
              <a:gd name="connsiteX1105" fmla="*/ 4121920 w 11235156"/>
              <a:gd name="connsiteY1105" fmla="*/ 4458121 h 5333466"/>
              <a:gd name="connsiteX1106" fmla="*/ 4117418 w 11235156"/>
              <a:gd name="connsiteY1106" fmla="*/ 4474314 h 5333466"/>
              <a:gd name="connsiteX1107" fmla="*/ 4077916 w 11235156"/>
              <a:gd name="connsiteY1107" fmla="*/ 4518500 h 5333466"/>
              <a:gd name="connsiteX1108" fmla="*/ 4040127 w 11235156"/>
              <a:gd name="connsiteY1108" fmla="*/ 4528624 h 5333466"/>
              <a:gd name="connsiteX1109" fmla="*/ 3942412 w 11235156"/>
              <a:gd name="connsiteY1109" fmla="*/ 4524169 h 5333466"/>
              <a:gd name="connsiteX1110" fmla="*/ 3918349 w 11235156"/>
              <a:gd name="connsiteY1110" fmla="*/ 4532150 h 5333466"/>
              <a:gd name="connsiteX1111" fmla="*/ 3880260 w 11235156"/>
              <a:gd name="connsiteY1111" fmla="*/ 4549362 h 5333466"/>
              <a:gd name="connsiteX1112" fmla="*/ 3833333 w 11235156"/>
              <a:gd name="connsiteY1112" fmla="*/ 4536976 h 5333466"/>
              <a:gd name="connsiteX1113" fmla="*/ 3802704 w 11235156"/>
              <a:gd name="connsiteY1113" fmla="*/ 4538942 h 5333466"/>
              <a:gd name="connsiteX1114" fmla="*/ 3781815 w 11235156"/>
              <a:gd name="connsiteY1114" fmla="*/ 4549244 h 5333466"/>
              <a:gd name="connsiteX1115" fmla="*/ 3770535 w 11235156"/>
              <a:gd name="connsiteY1115" fmla="*/ 4558045 h 5333466"/>
              <a:gd name="connsiteX1116" fmla="*/ 3762469 w 11235156"/>
              <a:gd name="connsiteY1116" fmla="*/ 4542407 h 5333466"/>
              <a:gd name="connsiteX1117" fmla="*/ 3769288 w 11235156"/>
              <a:gd name="connsiteY1117" fmla="*/ 4523038 h 5333466"/>
              <a:gd name="connsiteX1118" fmla="*/ 3736040 w 11235156"/>
              <a:gd name="connsiteY1118" fmla="*/ 4490209 h 5333466"/>
              <a:gd name="connsiteX1119" fmla="*/ 3720214 w 11235156"/>
              <a:gd name="connsiteY1119" fmla="*/ 4496906 h 5333466"/>
              <a:gd name="connsiteX1120" fmla="*/ 3704899 w 11235156"/>
              <a:gd name="connsiteY1120" fmla="*/ 4497888 h 5333466"/>
              <a:gd name="connsiteX1121" fmla="*/ 3633609 w 11235156"/>
              <a:gd name="connsiteY1121" fmla="*/ 4500571 h 5333466"/>
              <a:gd name="connsiteX1122" fmla="*/ 3630349 w 11235156"/>
              <a:gd name="connsiteY1122" fmla="*/ 4506712 h 5333466"/>
              <a:gd name="connsiteX1123" fmla="*/ 3637986 w 11235156"/>
              <a:gd name="connsiteY1123" fmla="*/ 4519600 h 5333466"/>
              <a:gd name="connsiteX1124" fmla="*/ 3643047 w 11235156"/>
              <a:gd name="connsiteY1124" fmla="*/ 4515994 h 5333466"/>
              <a:gd name="connsiteX1125" fmla="*/ 3676933 w 11235156"/>
              <a:gd name="connsiteY1125" fmla="*/ 4507887 h 5333466"/>
              <a:gd name="connsiteX1126" fmla="*/ 3696240 w 11235156"/>
              <a:gd name="connsiteY1126" fmla="*/ 4541484 h 5333466"/>
              <a:gd name="connsiteX1127" fmla="*/ 3685688 w 11235156"/>
              <a:gd name="connsiteY1127" fmla="*/ 4545947 h 5333466"/>
              <a:gd name="connsiteX1128" fmla="*/ 3661625 w 11235156"/>
              <a:gd name="connsiteY1128" fmla="*/ 4553929 h 5333466"/>
              <a:gd name="connsiteX1129" fmla="*/ 3610968 w 11235156"/>
              <a:gd name="connsiteY1129" fmla="*/ 4571695 h 5333466"/>
              <a:gd name="connsiteX1130" fmla="*/ 3586775 w 11235156"/>
              <a:gd name="connsiteY1130" fmla="*/ 4569840 h 5333466"/>
              <a:gd name="connsiteX1131" fmla="*/ 3556448 w 11235156"/>
              <a:gd name="connsiteY1131" fmla="*/ 4564718 h 5333466"/>
              <a:gd name="connsiteX1132" fmla="*/ 3536802 w 11235156"/>
              <a:gd name="connsiteY1132" fmla="*/ 4564970 h 5333466"/>
              <a:gd name="connsiteX1133" fmla="*/ 3516857 w 11235156"/>
              <a:gd name="connsiteY1133" fmla="*/ 4572308 h 5333466"/>
              <a:gd name="connsiteX1134" fmla="*/ 3502442 w 11235156"/>
              <a:gd name="connsiteY1134" fmla="*/ 4552029 h 5333466"/>
              <a:gd name="connsiteX1135" fmla="*/ 3456806 w 11235156"/>
              <a:gd name="connsiteY1135" fmla="*/ 4592950 h 5333466"/>
              <a:gd name="connsiteX1136" fmla="*/ 3460579 w 11235156"/>
              <a:gd name="connsiteY1136" fmla="*/ 4581095 h 5333466"/>
              <a:gd name="connsiteX1137" fmla="*/ 3436855 w 11235156"/>
              <a:gd name="connsiteY1137" fmla="*/ 4555229 h 5333466"/>
              <a:gd name="connsiteX1138" fmla="*/ 3392932 w 11235156"/>
              <a:gd name="connsiteY1138" fmla="*/ 4562087 h 5333466"/>
              <a:gd name="connsiteX1139" fmla="*/ 3324341 w 11235156"/>
              <a:gd name="connsiteY1139" fmla="*/ 4546043 h 5333466"/>
              <a:gd name="connsiteX1140" fmla="*/ 3298177 w 11235156"/>
              <a:gd name="connsiteY1140" fmla="*/ 4558577 h 5333466"/>
              <a:gd name="connsiteX1141" fmla="*/ 3269611 w 11235156"/>
              <a:gd name="connsiteY1141" fmla="*/ 4582750 h 5333466"/>
              <a:gd name="connsiteX1142" fmla="*/ 3234866 w 11235156"/>
              <a:gd name="connsiteY1142" fmla="*/ 4585360 h 5333466"/>
              <a:gd name="connsiteX1143" fmla="*/ 3215520 w 11235156"/>
              <a:gd name="connsiteY1143" fmla="*/ 4578523 h 5333466"/>
              <a:gd name="connsiteX1144" fmla="*/ 3209600 w 11235156"/>
              <a:gd name="connsiteY1144" fmla="*/ 4576631 h 5333466"/>
              <a:gd name="connsiteX1145" fmla="*/ 3157357 w 11235156"/>
              <a:gd name="connsiteY1145" fmla="*/ 4593237 h 5333466"/>
              <a:gd name="connsiteX1146" fmla="*/ 3111461 w 11235156"/>
              <a:gd name="connsiteY1146" fmla="*/ 4614484 h 5333466"/>
              <a:gd name="connsiteX1147" fmla="*/ 3097306 w 11235156"/>
              <a:gd name="connsiteY1147" fmla="*/ 4613878 h 5333466"/>
              <a:gd name="connsiteX1148" fmla="*/ 3076073 w 11235156"/>
              <a:gd name="connsiteY1148" fmla="*/ 4612969 h 5333466"/>
              <a:gd name="connsiteX1149" fmla="*/ 3013407 w 11235156"/>
              <a:gd name="connsiteY1149" fmla="*/ 4643875 h 5333466"/>
              <a:gd name="connsiteX1150" fmla="*/ 2985096 w 11235156"/>
              <a:gd name="connsiteY1150" fmla="*/ 4642663 h 5333466"/>
              <a:gd name="connsiteX1151" fmla="*/ 2969223 w 11235156"/>
              <a:gd name="connsiteY1151" fmla="*/ 4631061 h 5333466"/>
              <a:gd name="connsiteX1152" fmla="*/ 2957469 w 11235156"/>
              <a:gd name="connsiteY1152" fmla="*/ 4618815 h 5333466"/>
              <a:gd name="connsiteX1153" fmla="*/ 2902220 w 11235156"/>
              <a:gd name="connsiteY1153" fmla="*/ 4616176 h 5333466"/>
              <a:gd name="connsiteX1154" fmla="*/ 2891713 w 11235156"/>
              <a:gd name="connsiteY1154" fmla="*/ 4638939 h 5333466"/>
              <a:gd name="connsiteX1155" fmla="*/ 2888498 w 11235156"/>
              <a:gd name="connsiteY1155" fmla="*/ 4663378 h 5333466"/>
              <a:gd name="connsiteX1156" fmla="*/ 2869322 w 11235156"/>
              <a:gd name="connsiteY1156" fmla="*/ 4639618 h 5333466"/>
              <a:gd name="connsiteX1157" fmla="*/ 2833974 w 11235156"/>
              <a:gd name="connsiteY1157" fmla="*/ 4611343 h 5333466"/>
              <a:gd name="connsiteX1158" fmla="*/ 2794212 w 11235156"/>
              <a:gd name="connsiteY1158" fmla="*/ 4635856 h 5333466"/>
              <a:gd name="connsiteX1159" fmla="*/ 2773109 w 11235156"/>
              <a:gd name="connsiteY1159" fmla="*/ 4644784 h 5333466"/>
              <a:gd name="connsiteX1160" fmla="*/ 2736648 w 11235156"/>
              <a:gd name="connsiteY1160" fmla="*/ 4636396 h 5333466"/>
              <a:gd name="connsiteX1161" fmla="*/ 2723865 w 11235156"/>
              <a:gd name="connsiteY1161" fmla="*/ 4635575 h 5333466"/>
              <a:gd name="connsiteX1162" fmla="*/ 2695684 w 11235156"/>
              <a:gd name="connsiteY1162" fmla="*/ 4644200 h 5333466"/>
              <a:gd name="connsiteX1163" fmla="*/ 2705163 w 11235156"/>
              <a:gd name="connsiteY1163" fmla="*/ 4632863 h 5333466"/>
              <a:gd name="connsiteX1164" fmla="*/ 2700784 w 11235156"/>
              <a:gd name="connsiteY1164" fmla="*/ 4613833 h 5333466"/>
              <a:gd name="connsiteX1165" fmla="*/ 2684743 w 11235156"/>
              <a:gd name="connsiteY1165" fmla="*/ 4619154 h 5333466"/>
              <a:gd name="connsiteX1166" fmla="*/ 2647558 w 11235156"/>
              <a:gd name="connsiteY1166" fmla="*/ 4660164 h 5333466"/>
              <a:gd name="connsiteX1167" fmla="*/ 2613886 w 11235156"/>
              <a:gd name="connsiteY1167" fmla="*/ 4669646 h 5333466"/>
              <a:gd name="connsiteX1168" fmla="*/ 2576396 w 11235156"/>
              <a:gd name="connsiteY1168" fmla="*/ 4672683 h 5333466"/>
              <a:gd name="connsiteX1169" fmla="*/ 2535517 w 11235156"/>
              <a:gd name="connsiteY1169" fmla="*/ 4672025 h 5333466"/>
              <a:gd name="connsiteX1170" fmla="*/ 2507122 w 11235156"/>
              <a:gd name="connsiteY1170" fmla="*/ 4679274 h 5333466"/>
              <a:gd name="connsiteX1171" fmla="*/ 2472592 w 11235156"/>
              <a:gd name="connsiteY1171" fmla="*/ 4683258 h 5333466"/>
              <a:gd name="connsiteX1172" fmla="*/ 2461481 w 11235156"/>
              <a:gd name="connsiteY1172" fmla="*/ 4675136 h 5333466"/>
              <a:gd name="connsiteX1173" fmla="*/ 2421116 w 11235156"/>
              <a:gd name="connsiteY1173" fmla="*/ 4668766 h 5333466"/>
              <a:gd name="connsiteX1174" fmla="*/ 2403747 w 11235156"/>
              <a:gd name="connsiteY1174" fmla="*/ 4692599 h 5333466"/>
              <a:gd name="connsiteX1175" fmla="*/ 2374965 w 11235156"/>
              <a:gd name="connsiteY1175" fmla="*/ 4715399 h 5333466"/>
              <a:gd name="connsiteX1176" fmla="*/ 2324095 w 11235156"/>
              <a:gd name="connsiteY1176" fmla="*/ 4731790 h 5333466"/>
              <a:gd name="connsiteX1177" fmla="*/ 2310798 w 11235156"/>
              <a:gd name="connsiteY1177" fmla="*/ 4736682 h 5333466"/>
              <a:gd name="connsiteX1178" fmla="*/ 2233287 w 11235156"/>
              <a:gd name="connsiteY1178" fmla="*/ 4744560 h 5333466"/>
              <a:gd name="connsiteX1179" fmla="*/ 2246839 w 11235156"/>
              <a:gd name="connsiteY1179" fmla="*/ 4714282 h 5333466"/>
              <a:gd name="connsiteX1180" fmla="*/ 2250398 w 11235156"/>
              <a:gd name="connsiteY1180" fmla="*/ 4701054 h 5333466"/>
              <a:gd name="connsiteX1181" fmla="*/ 2249624 w 11235156"/>
              <a:gd name="connsiteY1181" fmla="*/ 4687093 h 5333466"/>
              <a:gd name="connsiteX1182" fmla="*/ 2236112 w 11235156"/>
              <a:gd name="connsiteY1182" fmla="*/ 4690611 h 5333466"/>
              <a:gd name="connsiteX1183" fmla="*/ 2223590 w 11235156"/>
              <a:gd name="connsiteY1183" fmla="*/ 4709464 h 5333466"/>
              <a:gd name="connsiteX1184" fmla="*/ 2212180 w 11235156"/>
              <a:gd name="connsiteY1184" fmla="*/ 4708429 h 5333466"/>
              <a:gd name="connsiteX1185" fmla="*/ 2201582 w 11235156"/>
              <a:gd name="connsiteY1185" fmla="*/ 4694594 h 5333466"/>
              <a:gd name="connsiteX1186" fmla="*/ 2132653 w 11235156"/>
              <a:gd name="connsiteY1186" fmla="*/ 4712397 h 5333466"/>
              <a:gd name="connsiteX1187" fmla="*/ 2118542 w 11235156"/>
              <a:gd name="connsiteY1187" fmla="*/ 4730090 h 5333466"/>
              <a:gd name="connsiteX1188" fmla="*/ 2117339 w 11235156"/>
              <a:gd name="connsiteY1188" fmla="*/ 4713380 h 5333466"/>
              <a:gd name="connsiteX1189" fmla="*/ 2100308 w 11235156"/>
              <a:gd name="connsiteY1189" fmla="*/ 4703367 h 5333466"/>
              <a:gd name="connsiteX1190" fmla="*/ 2077833 w 11235156"/>
              <a:gd name="connsiteY1190" fmla="*/ 4712508 h 5333466"/>
              <a:gd name="connsiteX1191" fmla="*/ 2066897 w 11235156"/>
              <a:gd name="connsiteY1191" fmla="*/ 4732521 h 5333466"/>
              <a:gd name="connsiteX1192" fmla="*/ 2077838 w 11235156"/>
              <a:gd name="connsiteY1192" fmla="*/ 4757567 h 5333466"/>
              <a:gd name="connsiteX1193" fmla="*/ 2054673 w 11235156"/>
              <a:gd name="connsiteY1193" fmla="*/ 4744287 h 5333466"/>
              <a:gd name="connsiteX1194" fmla="*/ 2034084 w 11235156"/>
              <a:gd name="connsiteY1194" fmla="*/ 4747501 h 5333466"/>
              <a:gd name="connsiteX1195" fmla="*/ 1969272 w 11235156"/>
              <a:gd name="connsiteY1195" fmla="*/ 4764661 h 5333466"/>
              <a:gd name="connsiteX1196" fmla="*/ 1919474 w 11235156"/>
              <a:gd name="connsiteY1196" fmla="*/ 4787926 h 5333466"/>
              <a:gd name="connsiteX1197" fmla="*/ 1907978 w 11235156"/>
              <a:gd name="connsiteY1197" fmla="*/ 4795354 h 5333466"/>
              <a:gd name="connsiteX1198" fmla="*/ 1878555 w 11235156"/>
              <a:gd name="connsiteY1198" fmla="*/ 4814029 h 5333466"/>
              <a:gd name="connsiteX1199" fmla="*/ 1877610 w 11235156"/>
              <a:gd name="connsiteY1199" fmla="*/ 4816992 h 5333466"/>
              <a:gd name="connsiteX1200" fmla="*/ 1863800 w 11235156"/>
              <a:gd name="connsiteY1200" fmla="*/ 4827598 h 5333466"/>
              <a:gd name="connsiteX1201" fmla="*/ 1855220 w 11235156"/>
              <a:gd name="connsiteY1201" fmla="*/ 4817673 h 5333466"/>
              <a:gd name="connsiteX1202" fmla="*/ 1832914 w 11235156"/>
              <a:gd name="connsiteY1202" fmla="*/ 4809891 h 5333466"/>
              <a:gd name="connsiteX1203" fmla="*/ 1779511 w 11235156"/>
              <a:gd name="connsiteY1203" fmla="*/ 4828086 h 5333466"/>
              <a:gd name="connsiteX1204" fmla="*/ 1739620 w 11235156"/>
              <a:gd name="connsiteY1204" fmla="*/ 4842762 h 5333466"/>
              <a:gd name="connsiteX1205" fmla="*/ 1727995 w 11235156"/>
              <a:gd name="connsiteY1205" fmla="*/ 4840353 h 5333466"/>
              <a:gd name="connsiteX1206" fmla="*/ 1694279 w 11235156"/>
              <a:gd name="connsiteY1206" fmla="*/ 4831537 h 5333466"/>
              <a:gd name="connsiteX1207" fmla="*/ 1644436 w 11235156"/>
              <a:gd name="connsiteY1207" fmla="*/ 4836503 h 5333466"/>
              <a:gd name="connsiteX1208" fmla="*/ 1655248 w 11235156"/>
              <a:gd name="connsiteY1208" fmla="*/ 4851713 h 5333466"/>
              <a:gd name="connsiteX1209" fmla="*/ 1651903 w 11235156"/>
              <a:gd name="connsiteY1209" fmla="*/ 4866315 h 5333466"/>
              <a:gd name="connsiteX1210" fmla="*/ 1604680 w 11235156"/>
              <a:gd name="connsiteY1210" fmla="*/ 4906075 h 5333466"/>
              <a:gd name="connsiteX1211" fmla="*/ 1532751 w 11235156"/>
              <a:gd name="connsiteY1211" fmla="*/ 4949693 h 5333466"/>
              <a:gd name="connsiteX1212" fmla="*/ 1523012 w 11235156"/>
              <a:gd name="connsiteY1212" fmla="*/ 4941357 h 5333466"/>
              <a:gd name="connsiteX1213" fmla="*/ 1536049 w 11235156"/>
              <a:gd name="connsiteY1213" fmla="*/ 4916791 h 5333466"/>
              <a:gd name="connsiteX1214" fmla="*/ 1536220 w 11235156"/>
              <a:gd name="connsiteY1214" fmla="*/ 4899867 h 5333466"/>
              <a:gd name="connsiteX1215" fmla="*/ 1520691 w 11235156"/>
              <a:gd name="connsiteY1215" fmla="*/ 4899475 h 5333466"/>
              <a:gd name="connsiteX1216" fmla="*/ 1500232 w 11235156"/>
              <a:gd name="connsiteY1216" fmla="*/ 4912527 h 5333466"/>
              <a:gd name="connsiteX1217" fmla="*/ 1485347 w 11235156"/>
              <a:gd name="connsiteY1217" fmla="*/ 4916260 h 5333466"/>
              <a:gd name="connsiteX1218" fmla="*/ 1485517 w 11235156"/>
              <a:gd name="connsiteY1218" fmla="*/ 4899335 h 5333466"/>
              <a:gd name="connsiteX1219" fmla="*/ 1486974 w 11235156"/>
              <a:gd name="connsiteY1219" fmla="*/ 4890659 h 5333466"/>
              <a:gd name="connsiteX1220" fmla="*/ 1477581 w 11235156"/>
              <a:gd name="connsiteY1220" fmla="*/ 4893534 h 5333466"/>
              <a:gd name="connsiteX1221" fmla="*/ 1414231 w 11235156"/>
              <a:gd name="connsiteY1221" fmla="*/ 4947077 h 5333466"/>
              <a:gd name="connsiteX1222" fmla="*/ 1331969 w 11235156"/>
              <a:gd name="connsiteY1222" fmla="*/ 5041592 h 5333466"/>
              <a:gd name="connsiteX1223" fmla="*/ 1322791 w 11235156"/>
              <a:gd name="connsiteY1223" fmla="*/ 5045841 h 5333466"/>
              <a:gd name="connsiteX1224" fmla="*/ 1316956 w 11235156"/>
              <a:gd name="connsiteY1224" fmla="*/ 5035488 h 5333466"/>
              <a:gd name="connsiteX1225" fmla="*/ 1318583 w 11235156"/>
              <a:gd name="connsiteY1225" fmla="*/ 5009887 h 5333466"/>
              <a:gd name="connsiteX1226" fmla="*/ 1317894 w 11235156"/>
              <a:gd name="connsiteY1226" fmla="*/ 4987465 h 5333466"/>
              <a:gd name="connsiteX1227" fmla="*/ 1303524 w 11235156"/>
              <a:gd name="connsiteY1227" fmla="*/ 4985484 h 5333466"/>
              <a:gd name="connsiteX1228" fmla="*/ 1291000 w 11235156"/>
              <a:gd name="connsiteY1228" fmla="*/ 5004337 h 5333466"/>
              <a:gd name="connsiteX1229" fmla="*/ 1272213 w 11235156"/>
              <a:gd name="connsiteY1229" fmla="*/ 5010087 h 5333466"/>
              <a:gd name="connsiteX1230" fmla="*/ 1263548 w 11235156"/>
              <a:gd name="connsiteY1230" fmla="*/ 5008623 h 5333466"/>
              <a:gd name="connsiteX1231" fmla="*/ 1242230 w 11235156"/>
              <a:gd name="connsiteY1231" fmla="*/ 5016176 h 5333466"/>
              <a:gd name="connsiteX1232" fmla="*/ 1214524 w 11235156"/>
              <a:gd name="connsiteY1232" fmla="*/ 5045849 h 5333466"/>
              <a:gd name="connsiteX1233" fmla="*/ 1184501 w 11235156"/>
              <a:gd name="connsiteY1233" fmla="*/ 5078699 h 5333466"/>
              <a:gd name="connsiteX1234" fmla="*/ 1166442 w 11235156"/>
              <a:gd name="connsiteY1234" fmla="*/ 5080111 h 5333466"/>
              <a:gd name="connsiteX1235" fmla="*/ 1073883 w 11235156"/>
              <a:gd name="connsiteY1235" fmla="*/ 5153704 h 5333466"/>
              <a:gd name="connsiteX1236" fmla="*/ 1040686 w 11235156"/>
              <a:gd name="connsiteY1236" fmla="*/ 5184232 h 5333466"/>
              <a:gd name="connsiteX1237" fmla="*/ 1020526 w 11235156"/>
              <a:gd name="connsiteY1237" fmla="*/ 5190197 h 5333466"/>
              <a:gd name="connsiteX1238" fmla="*/ 984883 w 11235156"/>
              <a:gd name="connsiteY1238" fmla="*/ 5214067 h 5333466"/>
              <a:gd name="connsiteX1239" fmla="*/ 967039 w 11235156"/>
              <a:gd name="connsiteY1239" fmla="*/ 5216853 h 5333466"/>
              <a:gd name="connsiteX1240" fmla="*/ 946235 w 11235156"/>
              <a:gd name="connsiteY1240" fmla="*/ 5218694 h 5333466"/>
              <a:gd name="connsiteX1241" fmla="*/ 926204 w 11235156"/>
              <a:gd name="connsiteY1241" fmla="*/ 5234494 h 5333466"/>
              <a:gd name="connsiteX1242" fmla="*/ 924104 w 11235156"/>
              <a:gd name="connsiteY1242" fmla="*/ 5239046 h 5333466"/>
              <a:gd name="connsiteX1243" fmla="*/ 926724 w 11235156"/>
              <a:gd name="connsiteY1243" fmla="*/ 5273840 h 5333466"/>
              <a:gd name="connsiteX1244" fmla="*/ 910382 w 11235156"/>
              <a:gd name="connsiteY1244" fmla="*/ 5286248 h 5333466"/>
              <a:gd name="connsiteX1245" fmla="*/ 901373 w 11235156"/>
              <a:gd name="connsiteY1245" fmla="*/ 5273574 h 5333466"/>
              <a:gd name="connsiteX1246" fmla="*/ 900469 w 11235156"/>
              <a:gd name="connsiteY1246" fmla="*/ 5249777 h 5333466"/>
              <a:gd name="connsiteX1247" fmla="*/ 882201 w 11235156"/>
              <a:gd name="connsiteY1247" fmla="*/ 5294873 h 5333466"/>
              <a:gd name="connsiteX1248" fmla="*/ 854195 w 11235156"/>
              <a:gd name="connsiteY1248" fmla="*/ 5331633 h 5333466"/>
              <a:gd name="connsiteX1249" fmla="*/ 843513 w 11235156"/>
              <a:gd name="connsiteY1249" fmla="*/ 5326260 h 5333466"/>
              <a:gd name="connsiteX1250" fmla="*/ 849688 w 11235156"/>
              <a:gd name="connsiteY1250" fmla="*/ 5302766 h 5333466"/>
              <a:gd name="connsiteX1251" fmla="*/ 857963 w 11235156"/>
              <a:gd name="connsiteY1251" fmla="*/ 5274720 h 5333466"/>
              <a:gd name="connsiteX1252" fmla="*/ 816356 w 11235156"/>
              <a:gd name="connsiteY1252" fmla="*/ 5278400 h 5333466"/>
              <a:gd name="connsiteX1253" fmla="*/ 841317 w 11235156"/>
              <a:gd name="connsiteY1253" fmla="*/ 5249156 h 5333466"/>
              <a:gd name="connsiteX1254" fmla="*/ 851565 w 11235156"/>
              <a:gd name="connsiteY1254" fmla="*/ 5206721 h 5333466"/>
              <a:gd name="connsiteX1255" fmla="*/ 842685 w 11235156"/>
              <a:gd name="connsiteY1255" fmla="*/ 5203883 h 5333466"/>
              <a:gd name="connsiteX1256" fmla="*/ 828789 w 11235156"/>
              <a:gd name="connsiteY1256" fmla="*/ 5222950 h 5333466"/>
              <a:gd name="connsiteX1257" fmla="*/ 791085 w 11235156"/>
              <a:gd name="connsiteY1257" fmla="*/ 5224613 h 5333466"/>
              <a:gd name="connsiteX1258" fmla="*/ 788340 w 11235156"/>
              <a:gd name="connsiteY1258" fmla="*/ 5225042 h 5333466"/>
              <a:gd name="connsiteX1259" fmla="*/ 739959 w 11235156"/>
              <a:gd name="connsiteY1259" fmla="*/ 5266391 h 5333466"/>
              <a:gd name="connsiteX1260" fmla="*/ 660951 w 11235156"/>
              <a:gd name="connsiteY1260" fmla="*/ 5309705 h 5333466"/>
              <a:gd name="connsiteX1261" fmla="*/ 667854 w 11235156"/>
              <a:gd name="connsiteY1261" fmla="*/ 5281874 h 5333466"/>
              <a:gd name="connsiteX1262" fmla="*/ 652710 w 11235156"/>
              <a:gd name="connsiteY1262" fmla="*/ 5265932 h 5333466"/>
              <a:gd name="connsiteX1263" fmla="*/ 592999 w 11235156"/>
              <a:gd name="connsiteY1263" fmla="*/ 5252725 h 5333466"/>
              <a:gd name="connsiteX1264" fmla="*/ 575839 w 11235156"/>
              <a:gd name="connsiteY1264" fmla="*/ 5232875 h 5333466"/>
              <a:gd name="connsiteX1265" fmla="*/ 548641 w 11235156"/>
              <a:gd name="connsiteY1265" fmla="*/ 5211775 h 5333466"/>
              <a:gd name="connsiteX1266" fmla="*/ 528481 w 11235156"/>
              <a:gd name="connsiteY1266" fmla="*/ 5217740 h 5333466"/>
              <a:gd name="connsiteX1267" fmla="*/ 502356 w 11235156"/>
              <a:gd name="connsiteY1267" fmla="*/ 5203513 h 5333466"/>
              <a:gd name="connsiteX1268" fmla="*/ 494376 w 11235156"/>
              <a:gd name="connsiteY1268" fmla="*/ 5179413 h 5333466"/>
              <a:gd name="connsiteX1269" fmla="*/ 504752 w 11235156"/>
              <a:gd name="connsiteY1269" fmla="*/ 5146814 h 5333466"/>
              <a:gd name="connsiteX1270" fmla="*/ 527528 w 11235156"/>
              <a:gd name="connsiteY1270" fmla="*/ 5130586 h 5333466"/>
              <a:gd name="connsiteX1271" fmla="*/ 546275 w 11235156"/>
              <a:gd name="connsiteY1271" fmla="*/ 5151596 h 5333466"/>
              <a:gd name="connsiteX1272" fmla="*/ 564549 w 11235156"/>
              <a:gd name="connsiteY1272" fmla="*/ 5151558 h 5333466"/>
              <a:gd name="connsiteX1273" fmla="*/ 577541 w 11235156"/>
              <a:gd name="connsiteY1273" fmla="*/ 5108695 h 5333466"/>
              <a:gd name="connsiteX1274" fmla="*/ 574536 w 11235156"/>
              <a:gd name="connsiteY1274" fmla="*/ 5089450 h 5333466"/>
              <a:gd name="connsiteX1275" fmla="*/ 575694 w 11235156"/>
              <a:gd name="connsiteY1275" fmla="*/ 5087862 h 5333466"/>
              <a:gd name="connsiteX1276" fmla="*/ 572949 w 11235156"/>
              <a:gd name="connsiteY1276" fmla="*/ 5088290 h 5333466"/>
              <a:gd name="connsiteX1277" fmla="*/ 499646 w 11235156"/>
              <a:gd name="connsiteY1277" fmla="*/ 5132122 h 5333466"/>
              <a:gd name="connsiteX1278" fmla="*/ 458083 w 11235156"/>
              <a:gd name="connsiteY1278" fmla="*/ 5154101 h 5333466"/>
              <a:gd name="connsiteX1279" fmla="*/ 438912 w 11235156"/>
              <a:gd name="connsiteY1279" fmla="*/ 5175400 h 5333466"/>
              <a:gd name="connsiteX1280" fmla="*/ 427417 w 11235156"/>
              <a:gd name="connsiteY1280" fmla="*/ 5182827 h 5333466"/>
              <a:gd name="connsiteX1281" fmla="*/ 402924 w 11235156"/>
              <a:gd name="connsiteY1281" fmla="*/ 5188060 h 5333466"/>
              <a:gd name="connsiteX1282" fmla="*/ 362525 w 11235156"/>
              <a:gd name="connsiteY1282" fmla="*/ 5253509 h 5333466"/>
              <a:gd name="connsiteX1283" fmla="*/ 360208 w 11235156"/>
              <a:gd name="connsiteY1283" fmla="*/ 5256686 h 5333466"/>
              <a:gd name="connsiteX1284" fmla="*/ 348284 w 11235156"/>
              <a:gd name="connsiteY1284" fmla="*/ 5261364 h 5333466"/>
              <a:gd name="connsiteX1285" fmla="*/ 339705 w 11235156"/>
              <a:gd name="connsiteY1285" fmla="*/ 5251440 h 5333466"/>
              <a:gd name="connsiteX1286" fmla="*/ 344206 w 11235156"/>
              <a:gd name="connsiteY1286" fmla="*/ 5235246 h 5333466"/>
              <a:gd name="connsiteX1287" fmla="*/ 365134 w 11235156"/>
              <a:gd name="connsiteY1287" fmla="*/ 5198184 h 5333466"/>
              <a:gd name="connsiteX1288" fmla="*/ 366079 w 11235156"/>
              <a:gd name="connsiteY1288" fmla="*/ 5195221 h 5333466"/>
              <a:gd name="connsiteX1289" fmla="*/ 368609 w 11235156"/>
              <a:gd name="connsiteY1289" fmla="*/ 5193418 h 5333466"/>
              <a:gd name="connsiteX1290" fmla="*/ 364491 w 11235156"/>
              <a:gd name="connsiteY1290" fmla="*/ 5194061 h 5333466"/>
              <a:gd name="connsiteX1291" fmla="*/ 361961 w 11235156"/>
              <a:gd name="connsiteY1291" fmla="*/ 5195864 h 5333466"/>
              <a:gd name="connsiteX1292" fmla="*/ 326103 w 11235156"/>
              <a:gd name="connsiteY1292" fmla="*/ 5218360 h 5333466"/>
              <a:gd name="connsiteX1293" fmla="*/ 288788 w 11235156"/>
              <a:gd name="connsiteY1293" fmla="*/ 5249532 h 5333466"/>
              <a:gd name="connsiteX1294" fmla="*/ 266826 w 11235156"/>
              <a:gd name="connsiteY1294" fmla="*/ 5252961 h 5333466"/>
              <a:gd name="connsiteX1295" fmla="*/ 265922 w 11235156"/>
              <a:gd name="connsiteY1295" fmla="*/ 5229164 h 5333466"/>
              <a:gd name="connsiteX1296" fmla="*/ 287579 w 11235156"/>
              <a:gd name="connsiteY1296" fmla="*/ 5187764 h 5333466"/>
              <a:gd name="connsiteX1297" fmla="*/ 294782 w 11235156"/>
              <a:gd name="connsiteY1297" fmla="*/ 5152845 h 5333466"/>
              <a:gd name="connsiteX1298" fmla="*/ 279943 w 11235156"/>
              <a:gd name="connsiteY1298" fmla="*/ 5174876 h 5333466"/>
              <a:gd name="connsiteX1299" fmla="*/ 243486 w 11235156"/>
              <a:gd name="connsiteY1299" fmla="*/ 5211546 h 5333466"/>
              <a:gd name="connsiteX1300" fmla="*/ 192830 w 11235156"/>
              <a:gd name="connsiteY1300" fmla="*/ 5229312 h 5333466"/>
              <a:gd name="connsiteX1301" fmla="*/ 143370 w 11235156"/>
              <a:gd name="connsiteY1301" fmla="*/ 5218729 h 5333466"/>
              <a:gd name="connsiteX1302" fmla="*/ 118663 w 11235156"/>
              <a:gd name="connsiteY1302" fmla="*/ 5222587 h 5333466"/>
              <a:gd name="connsiteX1303" fmla="*/ 101293 w 11235156"/>
              <a:gd name="connsiteY1303" fmla="*/ 5246421 h 5333466"/>
              <a:gd name="connsiteX1304" fmla="*/ 32997 w 11235156"/>
              <a:gd name="connsiteY1304" fmla="*/ 5178230 h 5333466"/>
              <a:gd name="connsiteX1305" fmla="*/ 5834 w 11235156"/>
              <a:gd name="connsiteY1305" fmla="*/ 5085311 h 5333466"/>
              <a:gd name="connsiteX1306" fmla="*/ 27232 w 11235156"/>
              <a:gd name="connsiteY1306" fmla="*/ 5024238 h 5333466"/>
              <a:gd name="connsiteX1307" fmla="*/ 58842 w 11235156"/>
              <a:gd name="connsiteY1307" fmla="*/ 4992547 h 5333466"/>
              <a:gd name="connsiteX1308" fmla="*/ 64806 w 11235156"/>
              <a:gd name="connsiteY1308" fmla="*/ 5012737 h 5333466"/>
              <a:gd name="connsiteX1309" fmla="*/ 94999 w 11235156"/>
              <a:gd name="connsiteY1309" fmla="*/ 4962964 h 5333466"/>
              <a:gd name="connsiteX1310" fmla="*/ 117430 w 11235156"/>
              <a:gd name="connsiteY1310" fmla="*/ 4935523 h 5333466"/>
              <a:gd name="connsiteX1311" fmla="*/ 156677 w 11235156"/>
              <a:gd name="connsiteY1311" fmla="*/ 4916722 h 5333466"/>
              <a:gd name="connsiteX1312" fmla="*/ 195839 w 11235156"/>
              <a:gd name="connsiteY1312" fmla="*/ 4906383 h 5333466"/>
              <a:gd name="connsiteX1313" fmla="*/ 229680 w 11235156"/>
              <a:gd name="connsiteY1313" fmla="*/ 4879978 h 5333466"/>
              <a:gd name="connsiteX1314" fmla="*/ 249451 w 11235156"/>
              <a:gd name="connsiteY1314" fmla="*/ 4844505 h 5333466"/>
              <a:gd name="connsiteX1315" fmla="*/ 268538 w 11235156"/>
              <a:gd name="connsiteY1315" fmla="*/ 4831667 h 5333466"/>
              <a:gd name="connsiteX1316" fmla="*/ 382075 w 11235156"/>
              <a:gd name="connsiteY1316" fmla="*/ 4784369 h 5333466"/>
              <a:gd name="connsiteX1317" fmla="*/ 415961 w 11235156"/>
              <a:gd name="connsiteY1317" fmla="*/ 4776262 h 5333466"/>
              <a:gd name="connsiteX1318" fmla="*/ 466014 w 11235156"/>
              <a:gd name="connsiteY1318" fmla="*/ 4727611 h 5333466"/>
              <a:gd name="connsiteX1319" fmla="*/ 482825 w 11235156"/>
              <a:gd name="connsiteY1319" fmla="*/ 4691192 h 5333466"/>
              <a:gd name="connsiteX1320" fmla="*/ 494399 w 11235156"/>
              <a:gd name="connsiteY1320" fmla="*/ 4630244 h 5333466"/>
              <a:gd name="connsiteX1321" fmla="*/ 486463 w 11235156"/>
              <a:gd name="connsiteY1321" fmla="*/ 4624441 h 5333466"/>
              <a:gd name="connsiteX1322" fmla="*/ 479086 w 11235156"/>
              <a:gd name="connsiteY1322" fmla="*/ 4631227 h 5333466"/>
              <a:gd name="connsiteX1323" fmla="*/ 479431 w 11235156"/>
              <a:gd name="connsiteY1323" fmla="*/ 4642437 h 5333466"/>
              <a:gd name="connsiteX1324" fmla="*/ 459231 w 11235156"/>
              <a:gd name="connsiteY1324" fmla="*/ 4675162 h 5333466"/>
              <a:gd name="connsiteX1325" fmla="*/ 402095 w 11235156"/>
              <a:gd name="connsiteY1325" fmla="*/ 4678450 h 5333466"/>
              <a:gd name="connsiteX1326" fmla="*/ 416160 w 11235156"/>
              <a:gd name="connsiteY1326" fmla="*/ 4642460 h 5333466"/>
              <a:gd name="connsiteX1327" fmla="*/ 414228 w 11235156"/>
              <a:gd name="connsiteY1327" fmla="*/ 4630089 h 5333466"/>
              <a:gd name="connsiteX1328" fmla="*/ 402519 w 11235156"/>
              <a:gd name="connsiteY1328" fmla="*/ 4636141 h 5333466"/>
              <a:gd name="connsiteX1329" fmla="*/ 389567 w 11235156"/>
              <a:gd name="connsiteY1329" fmla="*/ 4652244 h 5333466"/>
              <a:gd name="connsiteX1330" fmla="*/ 368848 w 11235156"/>
              <a:gd name="connsiteY1330" fmla="*/ 4645622 h 5333466"/>
              <a:gd name="connsiteX1331" fmla="*/ 342508 w 11235156"/>
              <a:gd name="connsiteY1331" fmla="*/ 4630021 h 5333466"/>
              <a:gd name="connsiteX1332" fmla="*/ 328009 w 11235156"/>
              <a:gd name="connsiteY1332" fmla="*/ 4618204 h 5333466"/>
              <a:gd name="connsiteX1333" fmla="*/ 330625 w 11235156"/>
              <a:gd name="connsiteY1333" fmla="*/ 4607939 h 5333466"/>
              <a:gd name="connsiteX1334" fmla="*/ 316854 w 11235156"/>
              <a:gd name="connsiteY1334" fmla="*/ 4591784 h 5333466"/>
              <a:gd name="connsiteX1335" fmla="*/ 243201 w 11235156"/>
              <a:gd name="connsiteY1335" fmla="*/ 4579345 h 5333466"/>
              <a:gd name="connsiteX1336" fmla="*/ 227544 w 11235156"/>
              <a:gd name="connsiteY1336" fmla="*/ 4569117 h 5333466"/>
              <a:gd name="connsiteX1337" fmla="*/ 227454 w 11235156"/>
              <a:gd name="connsiteY1337" fmla="*/ 4532520 h 5333466"/>
              <a:gd name="connsiteX1338" fmla="*/ 266785 w 11235156"/>
              <a:gd name="connsiteY1338" fmla="*/ 4505257 h 5333466"/>
              <a:gd name="connsiteX1339" fmla="*/ 397647 w 11235156"/>
              <a:gd name="connsiteY1339" fmla="*/ 4415827 h 5333466"/>
              <a:gd name="connsiteX1340" fmla="*/ 425998 w 11235156"/>
              <a:gd name="connsiteY1340" fmla="*/ 4390278 h 5333466"/>
              <a:gd name="connsiteX1341" fmla="*/ 531724 w 11235156"/>
              <a:gd name="connsiteY1341" fmla="*/ 4301957 h 5333466"/>
              <a:gd name="connsiteX1342" fmla="*/ 540260 w 11235156"/>
              <a:gd name="connsiteY1342" fmla="*/ 4293584 h 5333466"/>
              <a:gd name="connsiteX1343" fmla="*/ 546174 w 11235156"/>
              <a:gd name="connsiteY1343" fmla="*/ 4250416 h 5333466"/>
              <a:gd name="connsiteX1344" fmla="*/ 537679 w 11235156"/>
              <a:gd name="connsiteY1344" fmla="*/ 4232029 h 5333466"/>
              <a:gd name="connsiteX1345" fmla="*/ 523009 w 11235156"/>
              <a:gd name="connsiteY1345" fmla="*/ 4237136 h 5333466"/>
              <a:gd name="connsiteX1346" fmla="*/ 420328 w 11235156"/>
              <a:gd name="connsiteY1346" fmla="*/ 4317942 h 5333466"/>
              <a:gd name="connsiteX1347" fmla="*/ 296583 w 11235156"/>
              <a:gd name="connsiteY1347" fmla="*/ 4380915 h 5333466"/>
              <a:gd name="connsiteX1348" fmla="*/ 279897 w 11235156"/>
              <a:gd name="connsiteY1348" fmla="*/ 4382111 h 5333466"/>
              <a:gd name="connsiteX1349" fmla="*/ 281225 w 11235156"/>
              <a:gd name="connsiteY1349" fmla="*/ 4363599 h 5333466"/>
              <a:gd name="connsiteX1350" fmla="*/ 286800 w 11235156"/>
              <a:gd name="connsiteY1350" fmla="*/ 4354280 h 5333466"/>
              <a:gd name="connsiteX1351" fmla="*/ 295290 w 11235156"/>
              <a:gd name="connsiteY1351" fmla="*/ 4327608 h 5333466"/>
              <a:gd name="connsiteX1352" fmla="*/ 201608 w 11235156"/>
              <a:gd name="connsiteY1352" fmla="*/ 4330971 h 5333466"/>
              <a:gd name="connsiteX1353" fmla="*/ 194401 w 11235156"/>
              <a:gd name="connsiteY1353" fmla="*/ 4320831 h 5333466"/>
              <a:gd name="connsiteX1354" fmla="*/ 195299 w 11235156"/>
              <a:gd name="connsiteY1354" fmla="*/ 4299569 h 5333466"/>
              <a:gd name="connsiteX1355" fmla="*/ 206529 w 11235156"/>
              <a:gd name="connsiteY1355" fmla="*/ 4227410 h 5333466"/>
              <a:gd name="connsiteX1356" fmla="*/ 280510 w 11235156"/>
              <a:gd name="connsiteY1356" fmla="*/ 4115882 h 5333466"/>
              <a:gd name="connsiteX1357" fmla="*/ 340641 w 11235156"/>
              <a:gd name="connsiteY1357" fmla="*/ 4041719 h 5333466"/>
              <a:gd name="connsiteX1358" fmla="*/ 397772 w 11235156"/>
              <a:gd name="connsiteY1358" fmla="*/ 3993372 h 5333466"/>
              <a:gd name="connsiteX1359" fmla="*/ 438775 w 11235156"/>
              <a:gd name="connsiteY1359" fmla="*/ 3958808 h 5333466"/>
              <a:gd name="connsiteX1360" fmla="*/ 454229 w 11235156"/>
              <a:gd name="connsiteY1360" fmla="*/ 3945331 h 5333466"/>
              <a:gd name="connsiteX1361" fmla="*/ 452054 w 11235156"/>
              <a:gd name="connsiteY1361" fmla="*/ 3946288 h 5333466"/>
              <a:gd name="connsiteX1362" fmla="*/ 401034 w 11235156"/>
              <a:gd name="connsiteY1362" fmla="*/ 3917768 h 5333466"/>
              <a:gd name="connsiteX1363" fmla="*/ 363729 w 11235156"/>
              <a:gd name="connsiteY1363" fmla="*/ 3922241 h 5333466"/>
              <a:gd name="connsiteX1364" fmla="*/ 336375 w 11235156"/>
              <a:gd name="connsiteY1364" fmla="*/ 3957104 h 5333466"/>
              <a:gd name="connsiteX1365" fmla="*/ 237461 w 11235156"/>
              <a:gd name="connsiteY1365" fmla="*/ 3851063 h 5333466"/>
              <a:gd name="connsiteX1366" fmla="*/ 201631 w 11235156"/>
              <a:gd name="connsiteY1366" fmla="*/ 3710087 h 5333466"/>
              <a:gd name="connsiteX1367" fmla="*/ 237021 w 11235156"/>
              <a:gd name="connsiteY1367" fmla="*/ 3619521 h 5333466"/>
              <a:gd name="connsiteX1368" fmla="*/ 286177 w 11235156"/>
              <a:gd name="connsiteY1368" fmla="*/ 3573623 h 5333466"/>
              <a:gd name="connsiteX1369" fmla="*/ 294056 w 11235156"/>
              <a:gd name="connsiteY1369" fmla="*/ 3604259 h 5333466"/>
              <a:gd name="connsiteX1370" fmla="*/ 342050 w 11235156"/>
              <a:gd name="connsiteY1370" fmla="*/ 3531130 h 5333466"/>
              <a:gd name="connsiteX1371" fmla="*/ 377197 w 11235156"/>
              <a:gd name="connsiteY1371" fmla="*/ 3491122 h 5333466"/>
              <a:gd name="connsiteX1372" fmla="*/ 437132 w 11235156"/>
              <a:gd name="connsiteY1372" fmla="*/ 3464985 h 5333466"/>
              <a:gd name="connsiteX1373" fmla="*/ 496490 w 11235156"/>
              <a:gd name="connsiteY1373" fmla="*/ 3451550 h 5333466"/>
              <a:gd name="connsiteX1374" fmla="*/ 548714 w 11235156"/>
              <a:gd name="connsiteY1374" fmla="*/ 3413705 h 5333466"/>
              <a:gd name="connsiteX1375" fmla="*/ 580295 w 11235156"/>
              <a:gd name="connsiteY1375" fmla="*/ 3361493 h 5333466"/>
              <a:gd name="connsiteX1376" fmla="*/ 609641 w 11235156"/>
              <a:gd name="connsiteY1376" fmla="*/ 3343235 h 5333466"/>
              <a:gd name="connsiteX1377" fmla="*/ 782652 w 11235156"/>
              <a:gd name="connsiteY1377" fmla="*/ 3278271 h 5333466"/>
              <a:gd name="connsiteX1378" fmla="*/ 833967 w 11235156"/>
              <a:gd name="connsiteY1378" fmla="*/ 3267906 h 5333466"/>
              <a:gd name="connsiteX1379" fmla="*/ 911723 w 11235156"/>
              <a:gd name="connsiteY1379" fmla="*/ 3197524 h 5333466"/>
              <a:gd name="connsiteX1380" fmla="*/ 938909 w 11235156"/>
              <a:gd name="connsiteY1380" fmla="*/ 3143733 h 5333466"/>
              <a:gd name="connsiteX1381" fmla="*/ 959543 w 11235156"/>
              <a:gd name="connsiteY1381" fmla="*/ 3052831 h 5333466"/>
              <a:gd name="connsiteX1382" fmla="*/ 947935 w 11235156"/>
              <a:gd name="connsiteY1382" fmla="*/ 3043696 h 5333466"/>
              <a:gd name="connsiteX1383" fmla="*/ 936496 w 11235156"/>
              <a:gd name="connsiteY1383" fmla="*/ 3053490 h 5333466"/>
              <a:gd name="connsiteX1384" fmla="*/ 936416 w 11235156"/>
              <a:gd name="connsiteY1384" fmla="*/ 3070342 h 5333466"/>
              <a:gd name="connsiteX1385" fmla="*/ 904336 w 11235156"/>
              <a:gd name="connsiteY1385" fmla="*/ 3118403 h 5333466"/>
              <a:gd name="connsiteX1386" fmla="*/ 818366 w 11235156"/>
              <a:gd name="connsiteY1386" fmla="*/ 3120292 h 5333466"/>
              <a:gd name="connsiteX1387" fmla="*/ 841408 w 11235156"/>
              <a:gd name="connsiteY1387" fmla="*/ 3066999 h 5333466"/>
              <a:gd name="connsiteX1388" fmla="*/ 839167 w 11235156"/>
              <a:gd name="connsiteY1388" fmla="*/ 3048319 h 5333466"/>
              <a:gd name="connsiteX1389" fmla="*/ 821261 w 11235156"/>
              <a:gd name="connsiteY1389" fmla="*/ 3056784 h 5333466"/>
              <a:gd name="connsiteX1390" fmla="*/ 800952 w 11235156"/>
              <a:gd name="connsiteY1390" fmla="*/ 3080273 h 5333466"/>
              <a:gd name="connsiteX1391" fmla="*/ 770194 w 11235156"/>
              <a:gd name="connsiteY1391" fmla="*/ 3069225 h 5333466"/>
              <a:gd name="connsiteX1392" fmla="*/ 731476 w 11235156"/>
              <a:gd name="connsiteY1392" fmla="*/ 3044392 h 5333466"/>
              <a:gd name="connsiteX1393" fmla="*/ 710333 w 11235156"/>
              <a:gd name="connsiteY1393" fmla="*/ 3025874 h 5333466"/>
              <a:gd name="connsiteX1394" fmla="*/ 714809 w 11235156"/>
              <a:gd name="connsiteY1394" fmla="*/ 3010599 h 5333466"/>
              <a:gd name="connsiteX1395" fmla="*/ 694992 w 11235156"/>
              <a:gd name="connsiteY1395" fmla="*/ 2985605 h 5333466"/>
              <a:gd name="connsiteX1396" fmla="*/ 585061 w 11235156"/>
              <a:gd name="connsiteY1396" fmla="*/ 2962997 h 5333466"/>
              <a:gd name="connsiteX1397" fmla="*/ 562094 w 11235156"/>
              <a:gd name="connsiteY1397" fmla="*/ 2946803 h 5333466"/>
              <a:gd name="connsiteX1398" fmla="*/ 563912 w 11235156"/>
              <a:gd name="connsiteY1398" fmla="*/ 2891845 h 5333466"/>
              <a:gd name="connsiteX1399" fmla="*/ 624428 w 11235156"/>
              <a:gd name="connsiteY1399" fmla="*/ 2853006 h 5333466"/>
              <a:gd name="connsiteX1400" fmla="*/ 825702 w 11235156"/>
              <a:gd name="connsiteY1400" fmla="*/ 2725701 h 5333466"/>
              <a:gd name="connsiteX1401" fmla="*/ 869638 w 11235156"/>
              <a:gd name="connsiteY1401" fmla="*/ 2688850 h 5333466"/>
              <a:gd name="connsiteX1402" fmla="*/ 1033108 w 11235156"/>
              <a:gd name="connsiteY1402" fmla="*/ 2561868 h 5333466"/>
              <a:gd name="connsiteX1403" fmla="*/ 1046372 w 11235156"/>
              <a:gd name="connsiteY1403" fmla="*/ 2549750 h 5333466"/>
              <a:gd name="connsiteX1404" fmla="*/ 1057557 w 11235156"/>
              <a:gd name="connsiteY1404" fmla="*/ 2485247 h 5333466"/>
              <a:gd name="connsiteX1405" fmla="*/ 1045781 w 11235156"/>
              <a:gd name="connsiteY1405" fmla="*/ 2457183 h 5333466"/>
              <a:gd name="connsiteX1406" fmla="*/ 1023481 w 11235156"/>
              <a:gd name="connsiteY1406" fmla="*/ 2464069 h 5333466"/>
              <a:gd name="connsiteX1407" fmla="*/ 864983 w 11235156"/>
              <a:gd name="connsiteY1407" fmla="*/ 2579927 h 5333466"/>
              <a:gd name="connsiteX1408" fmla="*/ 675808 w 11235156"/>
              <a:gd name="connsiteY1408" fmla="*/ 2667884 h 5333466"/>
              <a:gd name="connsiteX1409" fmla="*/ 650688 w 11235156"/>
              <a:gd name="connsiteY1409" fmla="*/ 2668791 h 5333466"/>
              <a:gd name="connsiteX1410" fmla="*/ 653669 w 11235156"/>
              <a:gd name="connsiteY1410" fmla="*/ 2641063 h 5333466"/>
              <a:gd name="connsiteX1411" fmla="*/ 662539 w 11235156"/>
              <a:gd name="connsiteY1411" fmla="*/ 2627367 h 5333466"/>
              <a:gd name="connsiteX1412" fmla="*/ 676711 w 11235156"/>
              <a:gd name="connsiteY1412" fmla="*/ 2587770 h 5333466"/>
              <a:gd name="connsiteX1413" fmla="*/ 535859 w 11235156"/>
              <a:gd name="connsiteY1413" fmla="*/ 2587820 h 5333466"/>
              <a:gd name="connsiteX1414" fmla="*/ 525577 w 11235156"/>
              <a:gd name="connsiteY1414" fmla="*/ 2572209 h 5333466"/>
              <a:gd name="connsiteX1415" fmla="*/ 528062 w 11235156"/>
              <a:gd name="connsiteY1415" fmla="*/ 2540330 h 5333466"/>
              <a:gd name="connsiteX1416" fmla="*/ 548774 w 11235156"/>
              <a:gd name="connsiteY1416" fmla="*/ 2432575 h 5333466"/>
              <a:gd name="connsiteX1417" fmla="*/ 665816 w 11235156"/>
              <a:gd name="connsiteY1417" fmla="*/ 2269053 h 5333466"/>
              <a:gd name="connsiteX1418" fmla="*/ 760066 w 11235156"/>
              <a:gd name="connsiteY1418" fmla="*/ 2160900 h 5333466"/>
              <a:gd name="connsiteX1419" fmla="*/ 848432 w 11235156"/>
              <a:gd name="connsiteY1419" fmla="*/ 2091351 h 5333466"/>
              <a:gd name="connsiteX1420" fmla="*/ 911849 w 11235156"/>
              <a:gd name="connsiteY1420" fmla="*/ 2041636 h 5333466"/>
              <a:gd name="connsiteX1421" fmla="*/ 1054351 w 11235156"/>
              <a:gd name="connsiteY1421" fmla="*/ 1967699 h 5333466"/>
              <a:gd name="connsiteX1422" fmla="*/ 1157475 w 11235156"/>
              <a:gd name="connsiteY1422" fmla="*/ 1898485 h 5333466"/>
              <a:gd name="connsiteX1423" fmla="*/ 1202150 w 11235156"/>
              <a:gd name="connsiteY1423" fmla="*/ 1815227 h 5333466"/>
              <a:gd name="connsiteX1424" fmla="*/ 1276173 w 11235156"/>
              <a:gd name="connsiteY1424" fmla="*/ 1713711 h 5333466"/>
              <a:gd name="connsiteX1425" fmla="*/ 1295075 w 11235156"/>
              <a:gd name="connsiteY1425" fmla="*/ 1713550 h 5333466"/>
              <a:gd name="connsiteX1426" fmla="*/ 1350871 w 11235156"/>
              <a:gd name="connsiteY1426" fmla="*/ 1740544 h 5333466"/>
              <a:gd name="connsiteX1427" fmla="*/ 1426641 w 11235156"/>
              <a:gd name="connsiteY1427" fmla="*/ 1706192 h 5333466"/>
              <a:gd name="connsiteX1428" fmla="*/ 1442139 w 11235156"/>
              <a:gd name="connsiteY1428" fmla="*/ 1660119 h 5333466"/>
              <a:gd name="connsiteX1429" fmla="*/ 1503897 w 11235156"/>
              <a:gd name="connsiteY1429" fmla="*/ 1631658 h 5333466"/>
              <a:gd name="connsiteX1430" fmla="*/ 1507794 w 11235156"/>
              <a:gd name="connsiteY1430" fmla="*/ 1629086 h 5333466"/>
              <a:gd name="connsiteX1431" fmla="*/ 1512020 w 11235156"/>
              <a:gd name="connsiteY1431" fmla="*/ 1611735 h 5333466"/>
              <a:gd name="connsiteX1432" fmla="*/ 1553055 w 11235156"/>
              <a:gd name="connsiteY1432" fmla="*/ 1585759 h 5333466"/>
              <a:gd name="connsiteX1433" fmla="*/ 1694983 w 11235156"/>
              <a:gd name="connsiteY1433" fmla="*/ 1577158 h 5333466"/>
              <a:gd name="connsiteX1434" fmla="*/ 1799845 w 11235156"/>
              <a:gd name="connsiteY1434" fmla="*/ 1469839 h 5333466"/>
              <a:gd name="connsiteX1435" fmla="*/ 1823136 w 11235156"/>
              <a:gd name="connsiteY1435" fmla="*/ 1418621 h 5333466"/>
              <a:gd name="connsiteX1436" fmla="*/ 1908770 w 11235156"/>
              <a:gd name="connsiteY1436" fmla="*/ 1378875 h 5333466"/>
              <a:gd name="connsiteX1437" fmla="*/ 1955443 w 11235156"/>
              <a:gd name="connsiteY1437" fmla="*/ 1364855 h 5333466"/>
              <a:gd name="connsiteX1438" fmla="*/ 2018857 w 11235156"/>
              <a:gd name="connsiteY1438" fmla="*/ 1315141 h 5333466"/>
              <a:gd name="connsiteX1439" fmla="*/ 2202060 w 11235156"/>
              <a:gd name="connsiteY1439" fmla="*/ 1177371 h 5333466"/>
              <a:gd name="connsiteX1440" fmla="*/ 2279154 w 11235156"/>
              <a:gd name="connsiteY1440" fmla="*/ 1136543 h 5333466"/>
              <a:gd name="connsiteX1441" fmla="*/ 2402507 w 11235156"/>
              <a:gd name="connsiteY1441" fmla="*/ 1060693 h 5333466"/>
              <a:gd name="connsiteX1442" fmla="*/ 2451582 w 11235156"/>
              <a:gd name="connsiteY1442" fmla="*/ 1031647 h 5333466"/>
              <a:gd name="connsiteX1443" fmla="*/ 2471312 w 11235156"/>
              <a:gd name="connsiteY1443" fmla="*/ 1020859 h 5333466"/>
              <a:gd name="connsiteX1444" fmla="*/ 2614144 w 11235156"/>
              <a:gd name="connsiteY1444" fmla="*/ 932145 h 5333466"/>
              <a:gd name="connsiteX1445" fmla="*/ 2654767 w 11235156"/>
              <a:gd name="connsiteY1445" fmla="*/ 937800 h 5333466"/>
              <a:gd name="connsiteX1446" fmla="*/ 2643744 w 11235156"/>
              <a:gd name="connsiteY1446" fmla="*/ 968598 h 5333466"/>
              <a:gd name="connsiteX1447" fmla="*/ 2611828 w 11235156"/>
              <a:gd name="connsiteY1447" fmla="*/ 982952 h 5333466"/>
              <a:gd name="connsiteX1448" fmla="*/ 2571871 w 11235156"/>
              <a:gd name="connsiteY1448" fmla="*/ 1000377 h 5333466"/>
              <a:gd name="connsiteX1449" fmla="*/ 2558277 w 11235156"/>
              <a:gd name="connsiteY1449" fmla="*/ 1027272 h 5333466"/>
              <a:gd name="connsiteX1450" fmla="*/ 2560020 w 11235156"/>
              <a:gd name="connsiteY1450" fmla="*/ 1041801 h 5333466"/>
              <a:gd name="connsiteX1451" fmla="*/ 2575025 w 11235156"/>
              <a:gd name="connsiteY1451" fmla="*/ 1044212 h 5333466"/>
              <a:gd name="connsiteX1452" fmla="*/ 2616974 w 11235156"/>
              <a:gd name="connsiteY1452" fmla="*/ 1043392 h 5333466"/>
              <a:gd name="connsiteX1453" fmla="*/ 2654032 w 11235156"/>
              <a:gd name="connsiteY1453" fmla="*/ 1036841 h 5333466"/>
              <a:gd name="connsiteX1454" fmla="*/ 2838482 w 11235156"/>
              <a:gd name="connsiteY1454" fmla="*/ 962085 h 5333466"/>
              <a:gd name="connsiteX1455" fmla="*/ 2881091 w 11235156"/>
              <a:gd name="connsiteY1455" fmla="*/ 931710 h 5333466"/>
              <a:gd name="connsiteX1456" fmla="*/ 2905713 w 11235156"/>
              <a:gd name="connsiteY1456" fmla="*/ 926651 h 5333466"/>
              <a:gd name="connsiteX1457" fmla="*/ 2936223 w 11235156"/>
              <a:gd name="connsiteY1457" fmla="*/ 935624 h 5333466"/>
              <a:gd name="connsiteX1458" fmla="*/ 2971618 w 11235156"/>
              <a:gd name="connsiteY1458" fmla="*/ 897692 h 5333466"/>
              <a:gd name="connsiteX1459" fmla="*/ 2998643 w 11235156"/>
              <a:gd name="connsiteY1459" fmla="*/ 877608 h 5333466"/>
              <a:gd name="connsiteX1460" fmla="*/ 3017047 w 11235156"/>
              <a:gd name="connsiteY1460" fmla="*/ 873296 h 5333466"/>
              <a:gd name="connsiteX1461" fmla="*/ 3133770 w 11235156"/>
              <a:gd name="connsiteY1461" fmla="*/ 829820 h 5333466"/>
              <a:gd name="connsiteX1462" fmla="*/ 3172731 w 11235156"/>
              <a:gd name="connsiteY1462" fmla="*/ 804093 h 5333466"/>
              <a:gd name="connsiteX1463" fmla="*/ 3199176 w 11235156"/>
              <a:gd name="connsiteY1463" fmla="*/ 796711 h 5333466"/>
              <a:gd name="connsiteX1464" fmla="*/ 3285395 w 11235156"/>
              <a:gd name="connsiteY1464" fmla="*/ 796897 h 5333466"/>
              <a:gd name="connsiteX1465" fmla="*/ 3519095 w 11235156"/>
              <a:gd name="connsiteY1465" fmla="*/ 764657 h 5333466"/>
              <a:gd name="connsiteX1466" fmla="*/ 3606641 w 11235156"/>
              <a:gd name="connsiteY1466" fmla="*/ 758369 h 5333466"/>
              <a:gd name="connsiteX1467" fmla="*/ 3747656 w 11235156"/>
              <a:gd name="connsiteY1467" fmla="*/ 724613 h 5333466"/>
              <a:gd name="connsiteX1468" fmla="*/ 3937913 w 11235156"/>
              <a:gd name="connsiteY1468" fmla="*/ 680740 h 5333466"/>
              <a:gd name="connsiteX1469" fmla="*/ 4096087 w 11235156"/>
              <a:gd name="connsiteY1469" fmla="*/ 632294 h 5333466"/>
              <a:gd name="connsiteX1470" fmla="*/ 4249536 w 11235156"/>
              <a:gd name="connsiteY1470" fmla="*/ 597046 h 5333466"/>
              <a:gd name="connsiteX1471" fmla="*/ 4359214 w 11235156"/>
              <a:gd name="connsiteY1471" fmla="*/ 564943 h 5333466"/>
              <a:gd name="connsiteX1472" fmla="*/ 4813595 w 11235156"/>
              <a:gd name="connsiteY1472" fmla="*/ 462023 h 5333466"/>
              <a:gd name="connsiteX1473" fmla="*/ 5307933 w 11235156"/>
              <a:gd name="connsiteY1473" fmla="*/ 341677 h 5333466"/>
              <a:gd name="connsiteX1474" fmla="*/ 5783456 w 11235156"/>
              <a:gd name="connsiteY1474" fmla="*/ 257275 h 5333466"/>
              <a:gd name="connsiteX1475" fmla="*/ 6148305 w 11235156"/>
              <a:gd name="connsiteY1475" fmla="*/ 196674 h 5333466"/>
              <a:gd name="connsiteX1476" fmla="*/ 6425610 w 11235156"/>
              <a:gd name="connsiteY1476" fmla="*/ 142361 h 5333466"/>
              <a:gd name="connsiteX1477" fmla="*/ 6625653 w 11235156"/>
              <a:gd name="connsiteY1477" fmla="*/ 109948 h 5333466"/>
              <a:gd name="connsiteX1478" fmla="*/ 6751829 w 11235156"/>
              <a:gd name="connsiteY1478" fmla="*/ 92709 h 5333466"/>
              <a:gd name="connsiteX1479" fmla="*/ 6791208 w 11235156"/>
              <a:gd name="connsiteY1479" fmla="*/ 87987 h 5333466"/>
              <a:gd name="connsiteX1480" fmla="*/ 6799747 w 11235156"/>
              <a:gd name="connsiteY1480" fmla="*/ 89067 h 5333466"/>
              <a:gd name="connsiteX1481" fmla="*/ 7392414 w 11235156"/>
              <a:gd name="connsiteY1481" fmla="*/ 34830 h 5333466"/>
              <a:gd name="connsiteX1482" fmla="*/ 7549100 w 11235156"/>
              <a:gd name="connsiteY1482" fmla="*/ 26564 h 5333466"/>
              <a:gd name="connsiteX1483" fmla="*/ 7892234 w 11235156"/>
              <a:gd name="connsiteY1483" fmla="*/ 12781 h 5333466"/>
              <a:gd name="connsiteX1484" fmla="*/ 8162580 w 11235156"/>
              <a:gd name="connsiteY1484" fmla="*/ 5622 h 5333466"/>
              <a:gd name="connsiteX1485" fmla="*/ 8414274 w 11235156"/>
              <a:gd name="connsiteY1485" fmla="*/ 699 h 5333466"/>
              <a:gd name="connsiteX1486" fmla="*/ 8425507 w 11235156"/>
              <a:gd name="connsiteY1486" fmla="*/ 142 h 533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Lst>
            <a:rect l="l" t="t" r="r" b="b"/>
            <a:pathLst>
              <a:path w="11235156" h="5333466">
                <a:moveTo>
                  <a:pt x="8425507" y="142"/>
                </a:moveTo>
                <a:cubicBezTo>
                  <a:pt x="8428968" y="516"/>
                  <a:pt x="8432264" y="1700"/>
                  <a:pt x="8435746" y="4441"/>
                </a:cubicBezTo>
                <a:cubicBezTo>
                  <a:pt x="8477035" y="33175"/>
                  <a:pt x="8521056" y="32106"/>
                  <a:pt x="8568476" y="24314"/>
                </a:cubicBezTo>
                <a:cubicBezTo>
                  <a:pt x="8613823" y="16770"/>
                  <a:pt x="8659419" y="11301"/>
                  <a:pt x="8706011" y="14135"/>
                </a:cubicBezTo>
                <a:cubicBezTo>
                  <a:pt x="8784438" y="19466"/>
                  <a:pt x="8861290" y="29198"/>
                  <a:pt x="8940296" y="21827"/>
                </a:cubicBezTo>
                <a:cubicBezTo>
                  <a:pt x="8975529" y="17602"/>
                  <a:pt x="9008111" y="26327"/>
                  <a:pt x="9035969" y="48250"/>
                </a:cubicBezTo>
                <a:cubicBezTo>
                  <a:pt x="9045255" y="55558"/>
                  <a:pt x="9051473" y="54813"/>
                  <a:pt x="9059016" y="47592"/>
                </a:cubicBezTo>
                <a:cubicBezTo>
                  <a:pt x="9076424" y="34977"/>
                  <a:pt x="9094330" y="26513"/>
                  <a:pt x="9112902" y="41130"/>
                </a:cubicBezTo>
                <a:cubicBezTo>
                  <a:pt x="9137941" y="57075"/>
                  <a:pt x="9163309" y="58243"/>
                  <a:pt x="9192076" y="52688"/>
                </a:cubicBezTo>
                <a:cubicBezTo>
                  <a:pt x="9235351" y="45393"/>
                  <a:pt x="9275974" y="51047"/>
                  <a:pt x="9314443" y="73803"/>
                </a:cubicBezTo>
                <a:cubicBezTo>
                  <a:pt x="9337160" y="87922"/>
                  <a:pt x="9367171" y="92745"/>
                  <a:pt x="9386403" y="77806"/>
                </a:cubicBezTo>
                <a:cubicBezTo>
                  <a:pt x="9420971" y="50500"/>
                  <a:pt x="9453055" y="55073"/>
                  <a:pt x="9488456" y="69776"/>
                </a:cubicBezTo>
                <a:cubicBezTo>
                  <a:pt x="9506032" y="76090"/>
                  <a:pt x="9525681" y="82156"/>
                  <a:pt x="9545909" y="75519"/>
                </a:cubicBezTo>
                <a:cubicBezTo>
                  <a:pt x="9555774" y="70124"/>
                  <a:pt x="9560665" y="75854"/>
                  <a:pt x="9561661" y="84156"/>
                </a:cubicBezTo>
                <a:cubicBezTo>
                  <a:pt x="9562409" y="90383"/>
                  <a:pt x="9562906" y="94534"/>
                  <a:pt x="9563404" y="98685"/>
                </a:cubicBezTo>
                <a:cubicBezTo>
                  <a:pt x="9564069" y="121765"/>
                  <a:pt x="9566142" y="121516"/>
                  <a:pt x="9583550" y="108901"/>
                </a:cubicBezTo>
                <a:cubicBezTo>
                  <a:pt x="9603031" y="96038"/>
                  <a:pt x="9624833" y="85002"/>
                  <a:pt x="9644812" y="76289"/>
                </a:cubicBezTo>
                <a:cubicBezTo>
                  <a:pt x="9652853" y="73219"/>
                  <a:pt x="9660895" y="70150"/>
                  <a:pt x="9667859" y="75630"/>
                </a:cubicBezTo>
                <a:cubicBezTo>
                  <a:pt x="9674824" y="81111"/>
                  <a:pt x="9671674" y="89910"/>
                  <a:pt x="9668276" y="96634"/>
                </a:cubicBezTo>
                <a:cubicBezTo>
                  <a:pt x="9659905" y="114482"/>
                  <a:pt x="9667119" y="122039"/>
                  <a:pt x="9683947" y="122125"/>
                </a:cubicBezTo>
                <a:cubicBezTo>
                  <a:pt x="9690414" y="123455"/>
                  <a:pt x="9697129" y="126861"/>
                  <a:pt x="9703347" y="126114"/>
                </a:cubicBezTo>
                <a:cubicBezTo>
                  <a:pt x="9717855" y="124374"/>
                  <a:pt x="9720674" y="130353"/>
                  <a:pt x="9713878" y="143801"/>
                </a:cubicBezTo>
                <a:cubicBezTo>
                  <a:pt x="9710230" y="148449"/>
                  <a:pt x="9706832" y="155173"/>
                  <a:pt x="9713548" y="158577"/>
                </a:cubicBezTo>
                <a:cubicBezTo>
                  <a:pt x="9718440" y="164307"/>
                  <a:pt x="9724408" y="161486"/>
                  <a:pt x="9730377" y="158665"/>
                </a:cubicBezTo>
                <a:cubicBezTo>
                  <a:pt x="9745962" y="148374"/>
                  <a:pt x="9763040" y="150537"/>
                  <a:pt x="9782191" y="152451"/>
                </a:cubicBezTo>
                <a:cubicBezTo>
                  <a:pt x="9840141" y="162344"/>
                  <a:pt x="9888141" y="141849"/>
                  <a:pt x="9932323" y="107075"/>
                </a:cubicBezTo>
                <a:cubicBezTo>
                  <a:pt x="9940116" y="101929"/>
                  <a:pt x="9943016" y="91054"/>
                  <a:pt x="9953130" y="87735"/>
                </a:cubicBezTo>
                <a:cubicBezTo>
                  <a:pt x="9952302" y="98362"/>
                  <a:pt x="9951225" y="106913"/>
                  <a:pt x="9950397" y="117539"/>
                </a:cubicBezTo>
                <a:cubicBezTo>
                  <a:pt x="9948742" y="138791"/>
                  <a:pt x="9958525" y="150250"/>
                  <a:pt x="9977676" y="152165"/>
                </a:cubicBezTo>
                <a:cubicBezTo>
                  <a:pt x="10041595" y="159237"/>
                  <a:pt x="10105514" y="166308"/>
                  <a:pt x="10169433" y="173380"/>
                </a:cubicBezTo>
                <a:cubicBezTo>
                  <a:pt x="10192729" y="174797"/>
                  <a:pt x="10215277" y="169987"/>
                  <a:pt x="10239072" y="175554"/>
                </a:cubicBezTo>
                <a:cubicBezTo>
                  <a:pt x="10254327" y="180042"/>
                  <a:pt x="10263365" y="185274"/>
                  <a:pt x="10261459" y="204451"/>
                </a:cubicBezTo>
                <a:cubicBezTo>
                  <a:pt x="10262125" y="227530"/>
                  <a:pt x="10280199" y="237995"/>
                  <a:pt x="10299679" y="225132"/>
                </a:cubicBezTo>
                <a:cubicBezTo>
                  <a:pt x="10315264" y="214842"/>
                  <a:pt x="10327948" y="215426"/>
                  <a:pt x="10343452" y="221988"/>
                </a:cubicBezTo>
                <a:cubicBezTo>
                  <a:pt x="10352738" y="229296"/>
                  <a:pt x="10361028" y="228301"/>
                  <a:pt x="10370395" y="218757"/>
                </a:cubicBezTo>
                <a:cubicBezTo>
                  <a:pt x="10379513" y="207136"/>
                  <a:pt x="10391700" y="203569"/>
                  <a:pt x="10404882" y="208304"/>
                </a:cubicBezTo>
                <a:cubicBezTo>
                  <a:pt x="10413421" y="209385"/>
                  <a:pt x="10424530" y="214369"/>
                  <a:pt x="10432820" y="213375"/>
                </a:cubicBezTo>
                <a:cubicBezTo>
                  <a:pt x="10445256" y="211884"/>
                  <a:pt x="10450148" y="217612"/>
                  <a:pt x="10453465" y="227742"/>
                </a:cubicBezTo>
                <a:cubicBezTo>
                  <a:pt x="10462172" y="247751"/>
                  <a:pt x="10466566" y="249330"/>
                  <a:pt x="10485798" y="234392"/>
                </a:cubicBezTo>
                <a:cubicBezTo>
                  <a:pt x="10497237" y="224598"/>
                  <a:pt x="10508428" y="212728"/>
                  <a:pt x="10522438" y="206837"/>
                </a:cubicBezTo>
                <a:cubicBezTo>
                  <a:pt x="10522687" y="208913"/>
                  <a:pt x="10524759" y="208664"/>
                  <a:pt x="10525008" y="210740"/>
                </a:cubicBezTo>
                <a:cubicBezTo>
                  <a:pt x="10509592" y="239959"/>
                  <a:pt x="10509592" y="239959"/>
                  <a:pt x="10529657" y="267028"/>
                </a:cubicBezTo>
                <a:cubicBezTo>
                  <a:pt x="10532227" y="270930"/>
                  <a:pt x="10534798" y="274834"/>
                  <a:pt x="10537119" y="276660"/>
                </a:cubicBezTo>
                <a:cubicBezTo>
                  <a:pt x="10557932" y="309956"/>
                  <a:pt x="10583549" y="313200"/>
                  <a:pt x="10616791" y="292370"/>
                </a:cubicBezTo>
                <a:cubicBezTo>
                  <a:pt x="10634199" y="279755"/>
                  <a:pt x="10647381" y="284490"/>
                  <a:pt x="10651943" y="304998"/>
                </a:cubicBezTo>
                <a:cubicBezTo>
                  <a:pt x="10655260" y="315126"/>
                  <a:pt x="10656505" y="325504"/>
                  <a:pt x="10655677" y="336130"/>
                </a:cubicBezTo>
                <a:cubicBezTo>
                  <a:pt x="10652944" y="365934"/>
                  <a:pt x="10626997" y="377468"/>
                  <a:pt x="10604031" y="361274"/>
                </a:cubicBezTo>
                <a:cubicBezTo>
                  <a:pt x="10585708" y="348733"/>
                  <a:pt x="10568381" y="344495"/>
                  <a:pt x="10549230" y="342581"/>
                </a:cubicBezTo>
                <a:cubicBezTo>
                  <a:pt x="10530328" y="342743"/>
                  <a:pt x="10513001" y="338504"/>
                  <a:pt x="10498823" y="325468"/>
                </a:cubicBezTo>
                <a:cubicBezTo>
                  <a:pt x="10477183" y="302797"/>
                  <a:pt x="10466572" y="301965"/>
                  <a:pt x="10446263" y="325455"/>
                </a:cubicBezTo>
                <a:cubicBezTo>
                  <a:pt x="10431176" y="339897"/>
                  <a:pt x="10417166" y="345788"/>
                  <a:pt x="10395943" y="344122"/>
                </a:cubicBezTo>
                <a:cubicBezTo>
                  <a:pt x="10357890" y="342370"/>
                  <a:pt x="10320665" y="329991"/>
                  <a:pt x="10284436" y="325915"/>
                </a:cubicBezTo>
                <a:cubicBezTo>
                  <a:pt x="10252352" y="321341"/>
                  <a:pt x="10221264" y="325070"/>
                  <a:pt x="10196561" y="346981"/>
                </a:cubicBezTo>
                <a:cubicBezTo>
                  <a:pt x="10183547" y="361174"/>
                  <a:pt x="10174759" y="358017"/>
                  <a:pt x="10160830" y="347056"/>
                </a:cubicBezTo>
                <a:cubicBezTo>
                  <a:pt x="10095828" y="295900"/>
                  <a:pt x="10026022" y="274797"/>
                  <a:pt x="9949424" y="319776"/>
                </a:cubicBezTo>
                <a:cubicBezTo>
                  <a:pt x="9937736" y="327493"/>
                  <a:pt x="9926875" y="324585"/>
                  <a:pt x="9916014" y="321677"/>
                </a:cubicBezTo>
                <a:cubicBezTo>
                  <a:pt x="9909299" y="318272"/>
                  <a:pt x="9900013" y="310964"/>
                  <a:pt x="9892469" y="318184"/>
                </a:cubicBezTo>
                <a:cubicBezTo>
                  <a:pt x="9885175" y="327481"/>
                  <a:pt x="9892388" y="335037"/>
                  <a:pt x="9895457" y="343091"/>
                </a:cubicBezTo>
                <a:cubicBezTo>
                  <a:pt x="9903168" y="354799"/>
                  <a:pt x="9897448" y="359696"/>
                  <a:pt x="9885013" y="361187"/>
                </a:cubicBezTo>
                <a:cubicBezTo>
                  <a:pt x="9872578" y="362678"/>
                  <a:pt x="9859644" y="360019"/>
                  <a:pt x="9846960" y="359435"/>
                </a:cubicBezTo>
                <a:cubicBezTo>
                  <a:pt x="9819021" y="354364"/>
                  <a:pt x="9794979" y="346720"/>
                  <a:pt x="9766710" y="356427"/>
                </a:cubicBezTo>
                <a:cubicBezTo>
                  <a:pt x="9760492" y="357173"/>
                  <a:pt x="9759994" y="353022"/>
                  <a:pt x="9757424" y="349119"/>
                </a:cubicBezTo>
                <a:cubicBezTo>
                  <a:pt x="9748966" y="331185"/>
                  <a:pt x="9733961" y="328774"/>
                  <a:pt x="9717380" y="330763"/>
                </a:cubicBezTo>
                <a:cubicBezTo>
                  <a:pt x="9654954" y="336143"/>
                  <a:pt x="9592031" y="337374"/>
                  <a:pt x="9529438" y="323827"/>
                </a:cubicBezTo>
                <a:cubicBezTo>
                  <a:pt x="9525044" y="322249"/>
                  <a:pt x="9518826" y="322994"/>
                  <a:pt x="9512857" y="325816"/>
                </a:cubicBezTo>
                <a:cubicBezTo>
                  <a:pt x="9495449" y="338430"/>
                  <a:pt x="9482267" y="333695"/>
                  <a:pt x="9469415" y="314182"/>
                </a:cubicBezTo>
                <a:cubicBezTo>
                  <a:pt x="9456563" y="294670"/>
                  <a:pt x="9443878" y="294085"/>
                  <a:pt x="9427217" y="312927"/>
                </a:cubicBezTo>
                <a:cubicBezTo>
                  <a:pt x="9419674" y="320148"/>
                  <a:pt x="9414203" y="327121"/>
                  <a:pt x="9406909" y="336417"/>
                </a:cubicBezTo>
                <a:cubicBezTo>
                  <a:pt x="9397124" y="324959"/>
                  <a:pt x="9387341" y="313499"/>
                  <a:pt x="9372833" y="315239"/>
                </a:cubicBezTo>
                <a:cubicBezTo>
                  <a:pt x="9356252" y="317228"/>
                  <a:pt x="9339423" y="317141"/>
                  <a:pt x="9324915" y="318881"/>
                </a:cubicBezTo>
                <a:cubicBezTo>
                  <a:pt x="9270780" y="323268"/>
                  <a:pt x="9264064" y="319863"/>
                  <a:pt x="9260672" y="379222"/>
                </a:cubicBezTo>
                <a:cubicBezTo>
                  <a:pt x="9260672" y="379222"/>
                  <a:pt x="9258599" y="379469"/>
                  <a:pt x="9258848" y="381546"/>
                </a:cubicBezTo>
                <a:cubicBezTo>
                  <a:pt x="9255120" y="403046"/>
                  <a:pt x="9247576" y="410268"/>
                  <a:pt x="9226104" y="406526"/>
                </a:cubicBezTo>
                <a:cubicBezTo>
                  <a:pt x="9132672" y="398783"/>
                  <a:pt x="9037913" y="397516"/>
                  <a:pt x="8944979" y="393924"/>
                </a:cubicBezTo>
                <a:cubicBezTo>
                  <a:pt x="8885951" y="392583"/>
                  <a:pt x="8825101" y="393564"/>
                  <a:pt x="8766323" y="394297"/>
                </a:cubicBezTo>
                <a:cubicBezTo>
                  <a:pt x="8694860" y="394446"/>
                  <a:pt x="8626049" y="381645"/>
                  <a:pt x="8555415" y="371168"/>
                </a:cubicBezTo>
                <a:cubicBezTo>
                  <a:pt x="8502107" y="364929"/>
                  <a:pt x="8451370" y="362593"/>
                  <a:pt x="8401797" y="387487"/>
                </a:cubicBezTo>
                <a:cubicBezTo>
                  <a:pt x="8382067" y="398275"/>
                  <a:pt x="8362916" y="396361"/>
                  <a:pt x="8340946" y="388469"/>
                </a:cubicBezTo>
                <a:cubicBezTo>
                  <a:pt x="8299327" y="374511"/>
                  <a:pt x="8254808" y="371429"/>
                  <a:pt x="8209461" y="378973"/>
                </a:cubicBezTo>
                <a:cubicBezTo>
                  <a:pt x="8170580" y="387847"/>
                  <a:pt x="8128880" y="390743"/>
                  <a:pt x="8088257" y="385088"/>
                </a:cubicBezTo>
                <a:cubicBezTo>
                  <a:pt x="8026660" y="379843"/>
                  <a:pt x="7965809" y="380825"/>
                  <a:pt x="7903633" y="388283"/>
                </a:cubicBezTo>
                <a:cubicBezTo>
                  <a:pt x="7864254" y="393005"/>
                  <a:pt x="7826450" y="393329"/>
                  <a:pt x="7788647" y="393652"/>
                </a:cubicBezTo>
                <a:cubicBezTo>
                  <a:pt x="7706324" y="390893"/>
                  <a:pt x="7622675" y="394608"/>
                  <a:pt x="7539524" y="402476"/>
                </a:cubicBezTo>
                <a:cubicBezTo>
                  <a:pt x="7456373" y="410343"/>
                  <a:pt x="7373720" y="422362"/>
                  <a:pt x="7292144" y="425829"/>
                </a:cubicBezTo>
                <a:cubicBezTo>
                  <a:pt x="7235438" y="426314"/>
                  <a:pt x="7178235" y="422647"/>
                  <a:pt x="7123023" y="435586"/>
                </a:cubicBezTo>
                <a:cubicBezTo>
                  <a:pt x="7035397" y="458728"/>
                  <a:pt x="6947354" y="460866"/>
                  <a:pt x="6859809" y="467155"/>
                </a:cubicBezTo>
                <a:cubicBezTo>
                  <a:pt x="6815788" y="468224"/>
                  <a:pt x="6771516" y="467216"/>
                  <a:pt x="6726169" y="474761"/>
                </a:cubicBezTo>
                <a:cubicBezTo>
                  <a:pt x="6674854" y="485126"/>
                  <a:pt x="6619971" y="483286"/>
                  <a:pt x="6569652" y="501955"/>
                </a:cubicBezTo>
                <a:cubicBezTo>
                  <a:pt x="6537486" y="514234"/>
                  <a:pt x="6504077" y="516136"/>
                  <a:pt x="6472242" y="513638"/>
                </a:cubicBezTo>
                <a:cubicBezTo>
                  <a:pt x="6436012" y="509561"/>
                  <a:pt x="6402603" y="511462"/>
                  <a:pt x="6368116" y="521914"/>
                </a:cubicBezTo>
                <a:cubicBezTo>
                  <a:pt x="6327910" y="537264"/>
                  <a:pt x="6284885" y="546635"/>
                  <a:pt x="6241610" y="553931"/>
                </a:cubicBezTo>
                <a:cubicBezTo>
                  <a:pt x="6182004" y="565290"/>
                  <a:pt x="6124221" y="574326"/>
                  <a:pt x="6066688" y="585437"/>
                </a:cubicBezTo>
                <a:cubicBezTo>
                  <a:pt x="5988677" y="601109"/>
                  <a:pt x="5910667" y="616781"/>
                  <a:pt x="5832657" y="632454"/>
                </a:cubicBezTo>
                <a:cubicBezTo>
                  <a:pt x="5785238" y="640247"/>
                  <a:pt x="5740139" y="649867"/>
                  <a:pt x="5695041" y="659486"/>
                </a:cubicBezTo>
                <a:cubicBezTo>
                  <a:pt x="5623248" y="674413"/>
                  <a:pt x="5554773" y="699469"/>
                  <a:pt x="5479994" y="689488"/>
                </a:cubicBezTo>
                <a:cubicBezTo>
                  <a:pt x="5469383" y="688656"/>
                  <a:pt x="5465737" y="693305"/>
                  <a:pt x="5466979" y="703682"/>
                </a:cubicBezTo>
                <a:cubicBezTo>
                  <a:pt x="5468723" y="718211"/>
                  <a:pt x="5475936" y="725768"/>
                  <a:pt x="5490444" y="724028"/>
                </a:cubicBezTo>
                <a:cubicBezTo>
                  <a:pt x="5504953" y="722288"/>
                  <a:pt x="5519210" y="718471"/>
                  <a:pt x="5533718" y="716731"/>
                </a:cubicBezTo>
                <a:cubicBezTo>
                  <a:pt x="5843605" y="671144"/>
                  <a:pt x="6155066" y="621156"/>
                  <a:pt x="6465451" y="579719"/>
                </a:cubicBezTo>
                <a:cubicBezTo>
                  <a:pt x="6751214" y="543342"/>
                  <a:pt x="7037226" y="509038"/>
                  <a:pt x="7324731" y="487189"/>
                </a:cubicBezTo>
                <a:cubicBezTo>
                  <a:pt x="7510184" y="473368"/>
                  <a:pt x="7694062" y="463948"/>
                  <a:pt x="7878437" y="458677"/>
                </a:cubicBezTo>
                <a:cubicBezTo>
                  <a:pt x="8039517" y="451990"/>
                  <a:pt x="8201344" y="451531"/>
                  <a:pt x="8363420" y="453146"/>
                </a:cubicBezTo>
                <a:cubicBezTo>
                  <a:pt x="8563548" y="456515"/>
                  <a:pt x="8761275" y="474909"/>
                  <a:pt x="8960574" y="488902"/>
                </a:cubicBezTo>
                <a:cubicBezTo>
                  <a:pt x="9023996" y="491823"/>
                  <a:pt x="9088661" y="505122"/>
                  <a:pt x="9150589" y="495589"/>
                </a:cubicBezTo>
                <a:cubicBezTo>
                  <a:pt x="9221056" y="487138"/>
                  <a:pt x="9288124" y="485410"/>
                  <a:pt x="9351383" y="522036"/>
                </a:cubicBezTo>
                <a:cubicBezTo>
                  <a:pt x="9376173" y="535907"/>
                  <a:pt x="9405437" y="534503"/>
                  <a:pt x="9433457" y="522720"/>
                </a:cubicBezTo>
                <a:cubicBezTo>
                  <a:pt x="9451363" y="514256"/>
                  <a:pt x="9470265" y="514094"/>
                  <a:pt x="9491489" y="515760"/>
                </a:cubicBezTo>
                <a:cubicBezTo>
                  <a:pt x="9523324" y="518259"/>
                  <a:pt x="9555905" y="526983"/>
                  <a:pt x="9588070" y="514704"/>
                </a:cubicBezTo>
                <a:cubicBezTo>
                  <a:pt x="9616339" y="504997"/>
                  <a:pt x="9638061" y="510813"/>
                  <a:pt x="9659452" y="531408"/>
                </a:cubicBezTo>
                <a:cubicBezTo>
                  <a:pt x="9666665" y="538965"/>
                  <a:pt x="9675204" y="540045"/>
                  <a:pt x="9685069" y="534652"/>
                </a:cubicBezTo>
                <a:cubicBezTo>
                  <a:pt x="9698830" y="526685"/>
                  <a:pt x="9715162" y="522620"/>
                  <a:pt x="9732489" y="526859"/>
                </a:cubicBezTo>
                <a:cubicBezTo>
                  <a:pt x="9784222" y="537498"/>
                  <a:pt x="9840678" y="534938"/>
                  <a:pt x="9892909" y="549727"/>
                </a:cubicBezTo>
                <a:cubicBezTo>
                  <a:pt x="9910485" y="556041"/>
                  <a:pt x="9927314" y="556128"/>
                  <a:pt x="9942899" y="545838"/>
                </a:cubicBezTo>
                <a:cubicBezTo>
                  <a:pt x="9976390" y="527083"/>
                  <a:pt x="9987002" y="527915"/>
                  <a:pt x="10013534" y="556314"/>
                </a:cubicBezTo>
                <a:cubicBezTo>
                  <a:pt x="10023317" y="567773"/>
                  <a:pt x="10034676" y="574832"/>
                  <a:pt x="10047111" y="573341"/>
                </a:cubicBezTo>
                <a:cubicBezTo>
                  <a:pt x="10090884" y="570197"/>
                  <a:pt x="10132254" y="582079"/>
                  <a:pt x="10173126" y="589809"/>
                </a:cubicBezTo>
                <a:cubicBezTo>
                  <a:pt x="10209853" y="598037"/>
                  <a:pt x="10246331" y="604189"/>
                  <a:pt x="10282890" y="593488"/>
                </a:cubicBezTo>
                <a:cubicBezTo>
                  <a:pt x="10297149" y="589672"/>
                  <a:pt x="10305937" y="592828"/>
                  <a:pt x="10313399" y="602461"/>
                </a:cubicBezTo>
                <a:cubicBezTo>
                  <a:pt x="10323184" y="613920"/>
                  <a:pt x="10335288" y="627206"/>
                  <a:pt x="10351371" y="621066"/>
                </a:cubicBezTo>
                <a:cubicBezTo>
                  <a:pt x="10385608" y="608539"/>
                  <a:pt x="10416366" y="619587"/>
                  <a:pt x="10444224" y="641511"/>
                </a:cubicBezTo>
                <a:cubicBezTo>
                  <a:pt x="10485762" y="672322"/>
                  <a:pt x="10532852" y="679306"/>
                  <a:pt x="10580851" y="658812"/>
                </a:cubicBezTo>
                <a:cubicBezTo>
                  <a:pt x="10599005" y="652424"/>
                  <a:pt x="10605721" y="655828"/>
                  <a:pt x="10607961" y="674508"/>
                </a:cubicBezTo>
                <a:cubicBezTo>
                  <a:pt x="10608708" y="680736"/>
                  <a:pt x="10609455" y="686962"/>
                  <a:pt x="10612026" y="690865"/>
                </a:cubicBezTo>
                <a:cubicBezTo>
                  <a:pt x="10644196" y="731220"/>
                  <a:pt x="10676118" y="769500"/>
                  <a:pt x="10733321" y="773166"/>
                </a:cubicBezTo>
                <a:cubicBezTo>
                  <a:pt x="10746006" y="773750"/>
                  <a:pt x="10744680" y="780225"/>
                  <a:pt x="10741530" y="789025"/>
                </a:cubicBezTo>
                <a:cubicBezTo>
                  <a:pt x="10739956" y="793424"/>
                  <a:pt x="10736308" y="798073"/>
                  <a:pt x="10732661" y="802721"/>
                </a:cubicBezTo>
                <a:cubicBezTo>
                  <a:pt x="10725367" y="812017"/>
                  <a:pt x="10717823" y="819239"/>
                  <a:pt x="10727607" y="830697"/>
                </a:cubicBezTo>
                <a:cubicBezTo>
                  <a:pt x="10735318" y="842405"/>
                  <a:pt x="10744685" y="832860"/>
                  <a:pt x="10754799" y="829542"/>
                </a:cubicBezTo>
                <a:cubicBezTo>
                  <a:pt x="10774778" y="820829"/>
                  <a:pt x="10796829" y="811868"/>
                  <a:pt x="10814903" y="822333"/>
                </a:cubicBezTo>
                <a:cubicBezTo>
                  <a:pt x="10837372" y="834376"/>
                  <a:pt x="10846987" y="826906"/>
                  <a:pt x="10859504" y="808562"/>
                </a:cubicBezTo>
                <a:cubicBezTo>
                  <a:pt x="10863151" y="803914"/>
                  <a:pt x="10866798" y="799266"/>
                  <a:pt x="10872767" y="796445"/>
                </a:cubicBezTo>
                <a:cubicBezTo>
                  <a:pt x="10878238" y="789472"/>
                  <a:pt x="10884206" y="786651"/>
                  <a:pt x="10893492" y="793959"/>
                </a:cubicBezTo>
                <a:cubicBezTo>
                  <a:pt x="10900457" y="799440"/>
                  <a:pt x="10901452" y="807742"/>
                  <a:pt x="10895982" y="814714"/>
                </a:cubicBezTo>
                <a:cubicBezTo>
                  <a:pt x="10890760" y="823762"/>
                  <a:pt x="10889684" y="832313"/>
                  <a:pt x="10882139" y="839534"/>
                </a:cubicBezTo>
                <a:cubicBezTo>
                  <a:pt x="10878243" y="842106"/>
                  <a:pt x="10874347" y="844679"/>
                  <a:pt x="10877166" y="850658"/>
                </a:cubicBezTo>
                <a:cubicBezTo>
                  <a:pt x="10879737" y="854560"/>
                  <a:pt x="10885706" y="851739"/>
                  <a:pt x="10889851" y="851241"/>
                </a:cubicBezTo>
                <a:cubicBezTo>
                  <a:pt x="10896068" y="850496"/>
                  <a:pt x="10900213" y="849999"/>
                  <a:pt x="10903861" y="845350"/>
                </a:cubicBezTo>
                <a:cubicBezTo>
                  <a:pt x="10907508" y="840702"/>
                  <a:pt x="10911653" y="840206"/>
                  <a:pt x="10916296" y="843859"/>
                </a:cubicBezTo>
                <a:cubicBezTo>
                  <a:pt x="10941832" y="863956"/>
                  <a:pt x="10970020" y="871102"/>
                  <a:pt x="11000859" y="865298"/>
                </a:cubicBezTo>
                <a:cubicBezTo>
                  <a:pt x="11015118" y="861483"/>
                  <a:pt x="11029626" y="859743"/>
                  <a:pt x="11044383" y="860078"/>
                </a:cubicBezTo>
                <a:cubicBezTo>
                  <a:pt x="11052673" y="859084"/>
                  <a:pt x="11065108" y="857592"/>
                  <a:pt x="11070498" y="867473"/>
                </a:cubicBezTo>
                <a:cubicBezTo>
                  <a:pt x="11073566" y="875527"/>
                  <a:pt x="11063951" y="882996"/>
                  <a:pt x="11058480" y="889969"/>
                </a:cubicBezTo>
                <a:cubicBezTo>
                  <a:pt x="11054832" y="894617"/>
                  <a:pt x="11050936" y="897190"/>
                  <a:pt x="11047289" y="901838"/>
                </a:cubicBezTo>
                <a:cubicBezTo>
                  <a:pt x="11043642" y="906486"/>
                  <a:pt x="11033777" y="911881"/>
                  <a:pt x="11038918" y="919685"/>
                </a:cubicBezTo>
                <a:cubicBezTo>
                  <a:pt x="11041986" y="927739"/>
                  <a:pt x="11052349" y="926496"/>
                  <a:pt x="11060390" y="923426"/>
                </a:cubicBezTo>
                <a:cubicBezTo>
                  <a:pt x="11079043" y="921189"/>
                  <a:pt x="11094049" y="923600"/>
                  <a:pt x="11113697" y="929665"/>
                </a:cubicBezTo>
                <a:cubicBezTo>
                  <a:pt x="11157638" y="945450"/>
                  <a:pt x="11179191" y="932338"/>
                  <a:pt x="11190793" y="888837"/>
                </a:cubicBezTo>
                <a:cubicBezTo>
                  <a:pt x="11195019" y="871487"/>
                  <a:pt x="11204386" y="861942"/>
                  <a:pt x="11221215" y="862029"/>
                </a:cubicBezTo>
                <a:cubicBezTo>
                  <a:pt x="11225945" y="901465"/>
                  <a:pt x="11230426" y="938825"/>
                  <a:pt x="11235156" y="978261"/>
                </a:cubicBezTo>
                <a:cubicBezTo>
                  <a:pt x="11206389" y="983816"/>
                  <a:pt x="11201416" y="994940"/>
                  <a:pt x="11211946" y="1012626"/>
                </a:cubicBezTo>
                <a:cubicBezTo>
                  <a:pt x="11214766" y="1018603"/>
                  <a:pt x="11223554" y="1021760"/>
                  <a:pt x="11220155" y="1028484"/>
                </a:cubicBezTo>
                <a:cubicBezTo>
                  <a:pt x="11214685" y="1035456"/>
                  <a:pt x="11206145" y="1034375"/>
                  <a:pt x="11199679" y="1033045"/>
                </a:cubicBezTo>
                <a:cubicBezTo>
                  <a:pt x="11193461" y="1033791"/>
                  <a:pt x="11189067" y="1032213"/>
                  <a:pt x="11184673" y="1030635"/>
                </a:cubicBezTo>
                <a:cubicBezTo>
                  <a:pt x="11171740" y="1027975"/>
                  <a:pt x="11165771" y="1030796"/>
                  <a:pt x="11165441" y="1045573"/>
                </a:cubicBezTo>
                <a:cubicBezTo>
                  <a:pt x="11164364" y="1054124"/>
                  <a:pt x="11159640" y="1067324"/>
                  <a:pt x="11148531" y="1062340"/>
                </a:cubicBezTo>
                <a:cubicBezTo>
                  <a:pt x="11133276" y="1057852"/>
                  <a:pt x="11118768" y="1059592"/>
                  <a:pt x="11104012" y="1059257"/>
                </a:cubicBezTo>
                <a:cubicBezTo>
                  <a:pt x="11091327" y="1058673"/>
                  <a:pt x="11076322" y="1056262"/>
                  <a:pt x="11062312" y="1062152"/>
                </a:cubicBezTo>
                <a:cubicBezTo>
                  <a:pt x="11050374" y="1067796"/>
                  <a:pt x="11036364" y="1073687"/>
                  <a:pt x="11049216" y="1093200"/>
                </a:cubicBezTo>
                <a:cubicBezTo>
                  <a:pt x="11054109" y="1098929"/>
                  <a:pt x="11050461" y="1103578"/>
                  <a:pt x="11042420" y="1106647"/>
                </a:cubicBezTo>
                <a:cubicBezTo>
                  <a:pt x="11011331" y="1110376"/>
                  <a:pt x="10999973" y="1103316"/>
                  <a:pt x="10994166" y="1072431"/>
                </a:cubicBezTo>
                <a:cubicBezTo>
                  <a:pt x="10992922" y="1062054"/>
                  <a:pt x="10989853" y="1054000"/>
                  <a:pt x="10981065" y="1050843"/>
                </a:cubicBezTo>
                <a:cubicBezTo>
                  <a:pt x="10965811" y="1046357"/>
                  <a:pt x="10950805" y="1043946"/>
                  <a:pt x="10934723" y="1050085"/>
                </a:cubicBezTo>
                <a:cubicBezTo>
                  <a:pt x="10930577" y="1050583"/>
                  <a:pt x="10929502" y="1059133"/>
                  <a:pt x="10932071" y="1063035"/>
                </a:cubicBezTo>
                <a:cubicBezTo>
                  <a:pt x="10932818" y="1069263"/>
                  <a:pt x="10933815" y="1077564"/>
                  <a:pt x="10930166" y="1082213"/>
                </a:cubicBezTo>
                <a:cubicBezTo>
                  <a:pt x="10924695" y="1089185"/>
                  <a:pt x="10918148" y="1104708"/>
                  <a:pt x="10910437" y="1093000"/>
                </a:cubicBezTo>
                <a:cubicBezTo>
                  <a:pt x="10891118" y="1072158"/>
                  <a:pt x="10870392" y="1074643"/>
                  <a:pt x="10847594" y="1077378"/>
                </a:cubicBezTo>
                <a:cubicBezTo>
                  <a:pt x="10834910" y="1076794"/>
                  <a:pt x="10822226" y="1076210"/>
                  <a:pt x="10810619" y="1067075"/>
                </a:cubicBezTo>
                <a:cubicBezTo>
                  <a:pt x="10766759" y="1034438"/>
                  <a:pt x="10735920" y="1040242"/>
                  <a:pt x="10712381" y="1089384"/>
                </a:cubicBezTo>
                <a:cubicBezTo>
                  <a:pt x="10705584" y="1102832"/>
                  <a:pt x="10695719" y="1108226"/>
                  <a:pt x="10683863" y="1097015"/>
                </a:cubicBezTo>
                <a:cubicBezTo>
                  <a:pt x="10656005" y="1075091"/>
                  <a:pt x="10623921" y="1070518"/>
                  <a:pt x="10590511" y="1072419"/>
                </a:cubicBezTo>
                <a:cubicBezTo>
                  <a:pt x="10573682" y="1072332"/>
                  <a:pt x="10557351" y="1076396"/>
                  <a:pt x="10538449" y="1076558"/>
                </a:cubicBezTo>
                <a:cubicBezTo>
                  <a:pt x="10506863" y="1076136"/>
                  <a:pt x="10479919" y="1079367"/>
                  <a:pt x="10471965" y="1118218"/>
                </a:cubicBezTo>
                <a:cubicBezTo>
                  <a:pt x="10470222" y="1103690"/>
                  <a:pt x="10471050" y="1093063"/>
                  <a:pt x="10463339" y="1081355"/>
                </a:cubicBezTo>
                <a:cubicBezTo>
                  <a:pt x="10455131" y="1065497"/>
                  <a:pt x="10439875" y="1061010"/>
                  <a:pt x="10425367" y="1062750"/>
                </a:cubicBezTo>
                <a:cubicBezTo>
                  <a:pt x="10409036" y="1066814"/>
                  <a:pt x="10421141" y="1080100"/>
                  <a:pt x="10420064" y="1088651"/>
                </a:cubicBezTo>
                <a:cubicBezTo>
                  <a:pt x="10419485" y="1101353"/>
                  <a:pt x="10412191" y="1110650"/>
                  <a:pt x="10399009" y="1105915"/>
                </a:cubicBezTo>
                <a:cubicBezTo>
                  <a:pt x="10381433" y="1099600"/>
                  <a:pt x="10366925" y="1101340"/>
                  <a:pt x="10348521" y="1105653"/>
                </a:cubicBezTo>
                <a:cubicBezTo>
                  <a:pt x="10326470" y="1114614"/>
                  <a:pt x="10303672" y="1117348"/>
                  <a:pt x="10280955" y="1103230"/>
                </a:cubicBezTo>
                <a:cubicBezTo>
                  <a:pt x="10267275" y="1094344"/>
                  <a:pt x="10255088" y="1097910"/>
                  <a:pt x="10245970" y="1109531"/>
                </a:cubicBezTo>
                <a:cubicBezTo>
                  <a:pt x="10240499" y="1116504"/>
                  <a:pt x="10235029" y="1123476"/>
                  <a:pt x="10231381" y="1128124"/>
                </a:cubicBezTo>
                <a:cubicBezTo>
                  <a:pt x="10222014" y="1137669"/>
                  <a:pt x="10217539" y="1152944"/>
                  <a:pt x="10204606" y="1150284"/>
                </a:cubicBezTo>
                <a:cubicBezTo>
                  <a:pt x="10191673" y="1147624"/>
                  <a:pt x="10192003" y="1132847"/>
                  <a:pt x="10190758" y="1122469"/>
                </a:cubicBezTo>
                <a:cubicBezTo>
                  <a:pt x="10189514" y="1112091"/>
                  <a:pt x="10181721" y="1117237"/>
                  <a:pt x="10175255" y="1115907"/>
                </a:cubicBezTo>
                <a:cubicBezTo>
                  <a:pt x="10169037" y="1116653"/>
                  <a:pt x="10162819" y="1117398"/>
                  <a:pt x="10165888" y="1125452"/>
                </a:cubicBezTo>
                <a:cubicBezTo>
                  <a:pt x="10172771" y="1147785"/>
                  <a:pt x="10161082" y="1155504"/>
                  <a:pt x="10142678" y="1159817"/>
                </a:cubicBezTo>
                <a:cubicBezTo>
                  <a:pt x="10124274" y="1164130"/>
                  <a:pt x="10123198" y="1172680"/>
                  <a:pt x="10137375" y="1185718"/>
                </a:cubicBezTo>
                <a:cubicBezTo>
                  <a:pt x="10139946" y="1189620"/>
                  <a:pt x="10146412" y="1190950"/>
                  <a:pt x="10152879" y="1192280"/>
                </a:cubicBezTo>
                <a:cubicBezTo>
                  <a:pt x="10209752" y="1210724"/>
                  <a:pt x="10269277" y="1216217"/>
                  <a:pt x="10330128" y="1215236"/>
                </a:cubicBezTo>
                <a:cubicBezTo>
                  <a:pt x="10378544" y="1215745"/>
                  <a:pt x="10423312" y="1220903"/>
                  <a:pt x="10466424" y="1247313"/>
                </a:cubicBezTo>
                <a:cubicBezTo>
                  <a:pt x="10491463" y="1263258"/>
                  <a:pt x="10511030" y="1286177"/>
                  <a:pt x="10528774" y="1311419"/>
                </a:cubicBezTo>
                <a:cubicBezTo>
                  <a:pt x="10540296" y="1284773"/>
                  <a:pt x="10550409" y="1281454"/>
                  <a:pt x="10573624" y="1299724"/>
                </a:cubicBezTo>
                <a:cubicBezTo>
                  <a:pt x="10580588" y="1305205"/>
                  <a:pt x="10585978" y="1315085"/>
                  <a:pt x="10585150" y="1325712"/>
                </a:cubicBezTo>
                <a:cubicBezTo>
                  <a:pt x="10585318" y="1344641"/>
                  <a:pt x="10600572" y="1349127"/>
                  <a:pt x="10615329" y="1349463"/>
                </a:cubicBezTo>
                <a:cubicBezTo>
                  <a:pt x="10630335" y="1351874"/>
                  <a:pt x="10635308" y="1340750"/>
                  <a:pt x="10640281" y="1329627"/>
                </a:cubicBezTo>
                <a:cubicBezTo>
                  <a:pt x="10643181" y="1318751"/>
                  <a:pt x="10641688" y="1306299"/>
                  <a:pt x="10652629" y="1292354"/>
                </a:cubicBezTo>
                <a:cubicBezTo>
                  <a:pt x="10649399" y="1318006"/>
                  <a:pt x="10662581" y="1322741"/>
                  <a:pt x="10679659" y="1324905"/>
                </a:cubicBezTo>
                <a:cubicBezTo>
                  <a:pt x="10694416" y="1325240"/>
                  <a:pt x="10712241" y="1333628"/>
                  <a:pt x="10711663" y="1346331"/>
                </a:cubicBezTo>
                <a:cubicBezTo>
                  <a:pt x="10710256" y="1369659"/>
                  <a:pt x="10710921" y="1392739"/>
                  <a:pt x="10698654" y="1413159"/>
                </a:cubicBezTo>
                <a:cubicBezTo>
                  <a:pt x="10691608" y="1424531"/>
                  <a:pt x="10683567" y="1427600"/>
                  <a:pt x="10668810" y="1427265"/>
                </a:cubicBezTo>
                <a:cubicBezTo>
                  <a:pt x="10657949" y="1424356"/>
                  <a:pt x="10653306" y="1420703"/>
                  <a:pt x="10653885" y="1408001"/>
                </a:cubicBezTo>
                <a:cubicBezTo>
                  <a:pt x="10652890" y="1399699"/>
                  <a:pt x="10646174" y="1396293"/>
                  <a:pt x="10639956" y="1397039"/>
                </a:cubicBezTo>
                <a:cubicBezTo>
                  <a:pt x="10615335" y="1402098"/>
                  <a:pt x="10599333" y="1391384"/>
                  <a:pt x="10583083" y="1378595"/>
                </a:cubicBezTo>
                <a:cubicBezTo>
                  <a:pt x="10567082" y="1367882"/>
                  <a:pt x="10550003" y="1365719"/>
                  <a:pt x="10537238" y="1381988"/>
                </a:cubicBezTo>
                <a:cubicBezTo>
                  <a:pt x="10528120" y="1393609"/>
                  <a:pt x="10523476" y="1389954"/>
                  <a:pt x="10524056" y="1377253"/>
                </a:cubicBezTo>
                <a:cubicBezTo>
                  <a:pt x="10523060" y="1368950"/>
                  <a:pt x="10518666" y="1367372"/>
                  <a:pt x="10509878" y="1364215"/>
                </a:cubicBezTo>
                <a:cubicBezTo>
                  <a:pt x="10473151" y="1355987"/>
                  <a:pt x="10435845" y="1360462"/>
                  <a:pt x="10402105" y="1377141"/>
                </a:cubicBezTo>
                <a:cubicBezTo>
                  <a:pt x="10384448" y="1387681"/>
                  <a:pt x="10365795" y="1389917"/>
                  <a:pt x="10346644" y="1388004"/>
                </a:cubicBezTo>
                <a:cubicBezTo>
                  <a:pt x="10329566" y="1385842"/>
                  <a:pt x="10313814" y="1377203"/>
                  <a:pt x="10300134" y="1368317"/>
                </a:cubicBezTo>
                <a:cubicBezTo>
                  <a:pt x="10293169" y="1362836"/>
                  <a:pt x="10288028" y="1355031"/>
                  <a:pt x="10278413" y="1362501"/>
                </a:cubicBezTo>
                <a:cubicBezTo>
                  <a:pt x="10268797" y="1369970"/>
                  <a:pt x="10269792" y="1378272"/>
                  <a:pt x="10273109" y="1388401"/>
                </a:cubicBezTo>
                <a:cubicBezTo>
                  <a:pt x="10276178" y="1396455"/>
                  <a:pt x="10281070" y="1402185"/>
                  <a:pt x="10279993" y="1410735"/>
                </a:cubicBezTo>
                <a:cubicBezTo>
                  <a:pt x="10282731" y="1433566"/>
                  <a:pt x="10294338" y="1442701"/>
                  <a:pt x="10315562" y="1444367"/>
                </a:cubicBezTo>
                <a:cubicBezTo>
                  <a:pt x="10353863" y="1448195"/>
                  <a:pt x="10388269" y="1454596"/>
                  <a:pt x="10424996" y="1462823"/>
                </a:cubicBezTo>
                <a:cubicBezTo>
                  <a:pt x="10446967" y="1470715"/>
                  <a:pt x="10450283" y="1480844"/>
                  <a:pt x="10437767" y="1499188"/>
                </a:cubicBezTo>
                <a:cubicBezTo>
                  <a:pt x="10435694" y="1499437"/>
                  <a:pt x="10435943" y="1501513"/>
                  <a:pt x="10436192" y="1503588"/>
                </a:cubicBezTo>
                <a:cubicBezTo>
                  <a:pt x="10434536" y="1524841"/>
                  <a:pt x="10421522" y="1539034"/>
                  <a:pt x="10408259" y="1551153"/>
                </a:cubicBezTo>
                <a:cubicBezTo>
                  <a:pt x="10398892" y="1560697"/>
                  <a:pt x="10394249" y="1557043"/>
                  <a:pt x="10391181" y="1548989"/>
                </a:cubicBezTo>
                <a:cubicBezTo>
                  <a:pt x="10384796" y="1530807"/>
                  <a:pt x="10394162" y="1521262"/>
                  <a:pt x="10410494" y="1517197"/>
                </a:cubicBezTo>
                <a:cubicBezTo>
                  <a:pt x="10405104" y="1507317"/>
                  <a:pt x="10397890" y="1499760"/>
                  <a:pt x="10387528" y="1501003"/>
                </a:cubicBezTo>
                <a:cubicBezTo>
                  <a:pt x="10381310" y="1501749"/>
                  <a:pt x="10380233" y="1510300"/>
                  <a:pt x="10378908" y="1516775"/>
                </a:cubicBezTo>
                <a:cubicBezTo>
                  <a:pt x="10374351" y="1548903"/>
                  <a:pt x="10366808" y="1556124"/>
                  <a:pt x="10335471" y="1557777"/>
                </a:cubicBezTo>
                <a:cubicBezTo>
                  <a:pt x="10305957" y="1557106"/>
                  <a:pt x="10274869" y="1560834"/>
                  <a:pt x="10246351" y="1568465"/>
                </a:cubicBezTo>
                <a:cubicBezTo>
                  <a:pt x="10207719" y="1579415"/>
                  <a:pt x="10198433" y="1572107"/>
                  <a:pt x="10199921" y="1531926"/>
                </a:cubicBezTo>
                <a:cubicBezTo>
                  <a:pt x="10199673" y="1529850"/>
                  <a:pt x="10199424" y="1527775"/>
                  <a:pt x="10199175" y="1525699"/>
                </a:cubicBezTo>
                <a:cubicBezTo>
                  <a:pt x="10200500" y="1519223"/>
                  <a:pt x="10205722" y="1510175"/>
                  <a:pt x="10194862" y="1507268"/>
                </a:cubicBezTo>
                <a:cubicBezTo>
                  <a:pt x="10184250" y="1506435"/>
                  <a:pt x="10173389" y="1503527"/>
                  <a:pt x="10168665" y="1516726"/>
                </a:cubicBezTo>
                <a:cubicBezTo>
                  <a:pt x="10165516" y="1525525"/>
                  <a:pt x="10162118" y="1532248"/>
                  <a:pt x="10161042" y="1540800"/>
                </a:cubicBezTo>
                <a:cubicBezTo>
                  <a:pt x="10154244" y="1554247"/>
                  <a:pt x="10146203" y="1557317"/>
                  <a:pt x="10132772" y="1550506"/>
                </a:cubicBezTo>
                <a:cubicBezTo>
                  <a:pt x="10119590" y="1545771"/>
                  <a:pt x="10120418" y="1535145"/>
                  <a:pt x="10127712" y="1525848"/>
                </a:cubicBezTo>
                <a:cubicBezTo>
                  <a:pt x="10129287" y="1521448"/>
                  <a:pt x="10131110" y="1519124"/>
                  <a:pt x="10132685" y="1514724"/>
                </a:cubicBezTo>
                <a:cubicBezTo>
                  <a:pt x="10136332" y="1510077"/>
                  <a:pt x="10135586" y="1503849"/>
                  <a:pt x="10130943" y="1500196"/>
                </a:cubicBezTo>
                <a:cubicBezTo>
                  <a:pt x="10124227" y="1496790"/>
                  <a:pt x="10122901" y="1503265"/>
                  <a:pt x="10119005" y="1505838"/>
                </a:cubicBezTo>
                <a:cubicBezTo>
                  <a:pt x="10111462" y="1513059"/>
                  <a:pt x="10106240" y="1522107"/>
                  <a:pt x="10103339" y="1532982"/>
                </a:cubicBezTo>
                <a:cubicBezTo>
                  <a:pt x="10092068" y="1561705"/>
                  <a:pt x="10080130" y="1567347"/>
                  <a:pt x="10051445" y="1556050"/>
                </a:cubicBezTo>
                <a:cubicBezTo>
                  <a:pt x="10038263" y="1551315"/>
                  <a:pt x="10024832" y="1544503"/>
                  <a:pt x="10011649" y="1539768"/>
                </a:cubicBezTo>
                <a:cubicBezTo>
                  <a:pt x="10002861" y="1536611"/>
                  <a:pt x="9992250" y="1535779"/>
                  <a:pt x="9985204" y="1547151"/>
                </a:cubicBezTo>
                <a:cubicBezTo>
                  <a:pt x="9976335" y="1560847"/>
                  <a:pt x="9971860" y="1576122"/>
                  <a:pt x="9950885" y="1576531"/>
                </a:cubicBezTo>
                <a:cubicBezTo>
                  <a:pt x="9938201" y="1575948"/>
                  <a:pt x="9930409" y="1581093"/>
                  <a:pt x="9919050" y="1574034"/>
                </a:cubicBezTo>
                <a:cubicBezTo>
                  <a:pt x="9862009" y="1536661"/>
                  <a:pt x="9802733" y="1533243"/>
                  <a:pt x="9739977" y="1553402"/>
                </a:cubicBezTo>
                <a:cubicBezTo>
                  <a:pt x="9729864" y="1556721"/>
                  <a:pt x="9721325" y="1555639"/>
                  <a:pt x="9712288" y="1550406"/>
                </a:cubicBezTo>
                <a:cubicBezTo>
                  <a:pt x="9691394" y="1533964"/>
                  <a:pt x="9668347" y="1534622"/>
                  <a:pt x="9643974" y="1541757"/>
                </a:cubicBezTo>
                <a:cubicBezTo>
                  <a:pt x="9609737" y="1554285"/>
                  <a:pt x="9579893" y="1568391"/>
                  <a:pt x="9550797" y="1588724"/>
                </a:cubicBezTo>
                <a:cubicBezTo>
                  <a:pt x="9537284" y="1598766"/>
                  <a:pt x="9523772" y="1608809"/>
                  <a:pt x="9506944" y="1608722"/>
                </a:cubicBezTo>
                <a:cubicBezTo>
                  <a:pt x="9451563" y="1602731"/>
                  <a:pt x="9393532" y="1609692"/>
                  <a:pt x="9340554" y="1588675"/>
                </a:cubicBezTo>
                <a:cubicBezTo>
                  <a:pt x="9329445" y="1583691"/>
                  <a:pt x="9321403" y="1586760"/>
                  <a:pt x="9312036" y="1596306"/>
                </a:cubicBezTo>
                <a:cubicBezTo>
                  <a:pt x="9308389" y="1600954"/>
                  <a:pt x="9304742" y="1605602"/>
                  <a:pt x="9300846" y="1608175"/>
                </a:cubicBezTo>
                <a:cubicBezTo>
                  <a:pt x="9290732" y="1611493"/>
                  <a:pt x="9293302" y="1615396"/>
                  <a:pt x="9296122" y="1621374"/>
                </a:cubicBezTo>
                <a:cubicBezTo>
                  <a:pt x="9301761" y="1633330"/>
                  <a:pt x="9310797" y="1638563"/>
                  <a:pt x="9323233" y="1637071"/>
                </a:cubicBezTo>
                <a:cubicBezTo>
                  <a:pt x="9337741" y="1635331"/>
                  <a:pt x="9345452" y="1647039"/>
                  <a:pt x="9344873" y="1659740"/>
                </a:cubicBezTo>
                <a:cubicBezTo>
                  <a:pt x="9344045" y="1670367"/>
                  <a:pt x="9331112" y="1667708"/>
                  <a:pt x="9322573" y="1666626"/>
                </a:cubicBezTo>
                <a:cubicBezTo>
                  <a:pt x="9299277" y="1665210"/>
                  <a:pt x="9290819" y="1647275"/>
                  <a:pt x="9282610" y="1631417"/>
                </a:cubicBezTo>
                <a:cubicBezTo>
                  <a:pt x="9246624" y="1576781"/>
                  <a:pt x="9194642" y="1564066"/>
                  <a:pt x="9140096" y="1600084"/>
                </a:cubicBezTo>
                <a:cubicBezTo>
                  <a:pt x="9126335" y="1608051"/>
                  <a:pt x="9112325" y="1613942"/>
                  <a:pt x="9097568" y="1613607"/>
                </a:cubicBezTo>
                <a:cubicBezTo>
                  <a:pt x="9087205" y="1614849"/>
                  <a:pt x="9082811" y="1613271"/>
                  <a:pt x="9081567" y="1602893"/>
                </a:cubicBezTo>
                <a:cubicBezTo>
                  <a:pt x="9077254" y="1584462"/>
                  <a:pt x="9070289" y="1578980"/>
                  <a:pt x="9052383" y="1587444"/>
                </a:cubicBezTo>
                <a:cubicBezTo>
                  <a:pt x="9018394" y="1602048"/>
                  <a:pt x="8985234" y="1606026"/>
                  <a:pt x="8950000" y="1610251"/>
                </a:cubicBezTo>
                <a:cubicBezTo>
                  <a:pt x="8893792" y="1614886"/>
                  <a:pt x="8843472" y="1633555"/>
                  <a:pt x="8804927" y="1680285"/>
                </a:cubicBezTo>
                <a:cubicBezTo>
                  <a:pt x="8804927" y="1680285"/>
                  <a:pt x="8802606" y="1678459"/>
                  <a:pt x="8802357" y="1676383"/>
                </a:cubicBezTo>
                <a:cubicBezTo>
                  <a:pt x="8803683" y="1669908"/>
                  <a:pt x="8807081" y="1663183"/>
                  <a:pt x="8808158" y="1654633"/>
                </a:cubicBezTo>
                <a:cubicBezTo>
                  <a:pt x="8810063" y="1635456"/>
                  <a:pt x="8804922" y="1627651"/>
                  <a:pt x="8785771" y="1625737"/>
                </a:cubicBezTo>
                <a:cubicBezTo>
                  <a:pt x="8762475" y="1624320"/>
                  <a:pt x="8756755" y="1629217"/>
                  <a:pt x="8757421" y="1652297"/>
                </a:cubicBezTo>
                <a:cubicBezTo>
                  <a:pt x="8758168" y="1658523"/>
                  <a:pt x="8763806" y="1670480"/>
                  <a:pt x="8751371" y="1671971"/>
                </a:cubicBezTo>
                <a:cubicBezTo>
                  <a:pt x="8732967" y="1676284"/>
                  <a:pt x="8718540" y="1661170"/>
                  <a:pt x="8724839" y="1643572"/>
                </a:cubicBezTo>
                <a:cubicBezTo>
                  <a:pt x="8729812" y="1632449"/>
                  <a:pt x="8726993" y="1626470"/>
                  <a:pt x="8714059" y="1623810"/>
                </a:cubicBezTo>
                <a:cubicBezTo>
                  <a:pt x="8685872" y="1616664"/>
                  <a:pt x="8657435" y="1607442"/>
                  <a:pt x="8630574" y="1593821"/>
                </a:cubicBezTo>
                <a:cubicBezTo>
                  <a:pt x="8608354" y="1583853"/>
                  <a:pt x="8585307" y="1584512"/>
                  <a:pt x="8564251" y="1601775"/>
                </a:cubicBezTo>
                <a:cubicBezTo>
                  <a:pt x="8558781" y="1608748"/>
                  <a:pt x="8550739" y="1611817"/>
                  <a:pt x="8540376" y="1613060"/>
                </a:cubicBezTo>
                <a:cubicBezTo>
                  <a:pt x="8523547" y="1612973"/>
                  <a:pt x="8506718" y="1612886"/>
                  <a:pt x="8489889" y="1612799"/>
                </a:cubicBezTo>
                <a:cubicBezTo>
                  <a:pt x="8477453" y="1614290"/>
                  <a:pt x="8466344" y="1609307"/>
                  <a:pt x="8460456" y="1595275"/>
                </a:cubicBezTo>
                <a:cubicBezTo>
                  <a:pt x="8456641" y="1580995"/>
                  <a:pt x="8448102" y="1579913"/>
                  <a:pt x="8436164" y="1585556"/>
                </a:cubicBezTo>
                <a:cubicBezTo>
                  <a:pt x="8426051" y="1588874"/>
                  <a:pt x="8413864" y="1592441"/>
                  <a:pt x="8403750" y="1595760"/>
                </a:cubicBezTo>
                <a:cubicBezTo>
                  <a:pt x="8379627" y="1604969"/>
                  <a:pt x="8366861" y="1621237"/>
                  <a:pt x="8365703" y="1646641"/>
                </a:cubicBezTo>
                <a:cubicBezTo>
                  <a:pt x="8364627" y="1655193"/>
                  <a:pt x="8365622" y="1663495"/>
                  <a:pt x="8364545" y="1672045"/>
                </a:cubicBezTo>
                <a:cubicBezTo>
                  <a:pt x="8350860" y="1610525"/>
                  <a:pt x="8304019" y="1605615"/>
                  <a:pt x="8255356" y="1603030"/>
                </a:cubicBezTo>
                <a:cubicBezTo>
                  <a:pt x="8240349" y="1600620"/>
                  <a:pt x="8230733" y="1608089"/>
                  <a:pt x="8221366" y="1617634"/>
                </a:cubicBezTo>
                <a:cubicBezTo>
                  <a:pt x="8211999" y="1627179"/>
                  <a:pt x="8209099" y="1638054"/>
                  <a:pt x="8214737" y="1650010"/>
                </a:cubicBezTo>
                <a:cubicBezTo>
                  <a:pt x="8220127" y="1659891"/>
                  <a:pt x="8229743" y="1652421"/>
                  <a:pt x="8238033" y="1651427"/>
                </a:cubicBezTo>
                <a:cubicBezTo>
                  <a:pt x="8244251" y="1650681"/>
                  <a:pt x="8254365" y="1647363"/>
                  <a:pt x="8257682" y="1657493"/>
                </a:cubicBezTo>
                <a:cubicBezTo>
                  <a:pt x="8260750" y="1665546"/>
                  <a:pt x="8257850" y="1676420"/>
                  <a:pt x="8250057" y="1681566"/>
                </a:cubicBezTo>
                <a:cubicBezTo>
                  <a:pt x="8242514" y="1688787"/>
                  <a:pt x="8232151" y="1690030"/>
                  <a:pt x="8223861" y="1691024"/>
                </a:cubicBezTo>
                <a:cubicBezTo>
                  <a:pt x="8213498" y="1692267"/>
                  <a:pt x="8203135" y="1693510"/>
                  <a:pt x="8197913" y="1702558"/>
                </a:cubicBezTo>
                <a:cubicBezTo>
                  <a:pt x="8210019" y="1715844"/>
                  <a:pt x="8227346" y="1720082"/>
                  <a:pt x="8241854" y="1718342"/>
                </a:cubicBezTo>
                <a:cubicBezTo>
                  <a:pt x="8285875" y="1717273"/>
                  <a:pt x="8326996" y="1727079"/>
                  <a:pt x="8368117" y="1736885"/>
                </a:cubicBezTo>
                <a:cubicBezTo>
                  <a:pt x="8396305" y="1744031"/>
                  <a:pt x="8423248" y="1740800"/>
                  <a:pt x="8448200" y="1720964"/>
                </a:cubicBezTo>
                <a:cubicBezTo>
                  <a:pt x="8455743" y="1713743"/>
                  <a:pt x="8464283" y="1714825"/>
                  <a:pt x="8473568" y="1722133"/>
                </a:cubicBezTo>
                <a:cubicBezTo>
                  <a:pt x="8490068" y="1736997"/>
                  <a:pt x="8509965" y="1745137"/>
                  <a:pt x="8529863" y="1753278"/>
                </a:cubicBezTo>
                <a:cubicBezTo>
                  <a:pt x="8540723" y="1756187"/>
                  <a:pt x="8551086" y="1754944"/>
                  <a:pt x="8560702" y="1747474"/>
                </a:cubicBezTo>
                <a:cubicBezTo>
                  <a:pt x="8579934" y="1732534"/>
                  <a:pt x="8602234" y="1725650"/>
                  <a:pt x="8625779" y="1729142"/>
                </a:cubicBezTo>
                <a:cubicBezTo>
                  <a:pt x="8647251" y="1732883"/>
                  <a:pt x="8668724" y="1736624"/>
                  <a:pt x="8688123" y="1740614"/>
                </a:cubicBezTo>
                <a:cubicBezTo>
                  <a:pt x="8703378" y="1745100"/>
                  <a:pt x="8711418" y="1742030"/>
                  <a:pt x="8711500" y="1725178"/>
                </a:cubicBezTo>
                <a:cubicBezTo>
                  <a:pt x="8712328" y="1714551"/>
                  <a:pt x="8715727" y="1707827"/>
                  <a:pt x="8726089" y="1706584"/>
                </a:cubicBezTo>
                <a:cubicBezTo>
                  <a:pt x="8748639" y="1701774"/>
                  <a:pt x="8756101" y="1711406"/>
                  <a:pt x="8752373" y="1732908"/>
                </a:cubicBezTo>
                <a:cubicBezTo>
                  <a:pt x="8747567" y="1762960"/>
                  <a:pt x="8754532" y="1768441"/>
                  <a:pt x="8783549" y="1764961"/>
                </a:cubicBezTo>
                <a:cubicBezTo>
                  <a:pt x="8802200" y="1762724"/>
                  <a:pt x="8820605" y="1758411"/>
                  <a:pt x="8836936" y="1754347"/>
                </a:cubicBezTo>
                <a:cubicBezTo>
                  <a:pt x="8863879" y="1751116"/>
                  <a:pt x="8888252" y="1743981"/>
                  <a:pt x="8914367" y="1751376"/>
                </a:cubicBezTo>
                <a:cubicBezTo>
                  <a:pt x="8929373" y="1753787"/>
                  <a:pt x="8940482" y="1758771"/>
                  <a:pt x="8938826" y="1780024"/>
                </a:cubicBezTo>
                <a:cubicBezTo>
                  <a:pt x="8936424" y="1795050"/>
                  <a:pt x="8946208" y="1806509"/>
                  <a:pt x="8962788" y="1804520"/>
                </a:cubicBezTo>
                <a:cubicBezTo>
                  <a:pt x="9014851" y="1800381"/>
                  <a:pt x="9062687" y="1813593"/>
                  <a:pt x="9110773" y="1828881"/>
                </a:cubicBezTo>
                <a:cubicBezTo>
                  <a:pt x="9147749" y="1839184"/>
                  <a:pt x="9168723" y="1838773"/>
                  <a:pt x="9187289" y="1800755"/>
                </a:cubicBezTo>
                <a:cubicBezTo>
                  <a:pt x="9189362" y="1800506"/>
                  <a:pt x="9191435" y="1800257"/>
                  <a:pt x="9191435" y="1800257"/>
                </a:cubicBezTo>
                <a:cubicBezTo>
                  <a:pt x="9200471" y="1805490"/>
                  <a:pt x="9192349" y="1825412"/>
                  <a:pt x="9204784" y="1823921"/>
                </a:cubicBezTo>
                <a:cubicBezTo>
                  <a:pt x="9215147" y="1822679"/>
                  <a:pt x="9221944" y="1809231"/>
                  <a:pt x="9226917" y="1798107"/>
                </a:cubicBezTo>
                <a:cubicBezTo>
                  <a:pt x="9228740" y="1795783"/>
                  <a:pt x="9230315" y="1791383"/>
                  <a:pt x="9232139" y="1789059"/>
                </a:cubicBezTo>
                <a:cubicBezTo>
                  <a:pt x="9238686" y="1773536"/>
                  <a:pt x="9243161" y="1758262"/>
                  <a:pt x="9245564" y="1743235"/>
                </a:cubicBezTo>
                <a:cubicBezTo>
                  <a:pt x="9248464" y="1732361"/>
                  <a:pt x="9256506" y="1729290"/>
                  <a:pt x="9267366" y="1732199"/>
                </a:cubicBezTo>
                <a:cubicBezTo>
                  <a:pt x="9274082" y="1735604"/>
                  <a:pt x="9283119" y="1740837"/>
                  <a:pt x="9279969" y="1749636"/>
                </a:cubicBezTo>
                <a:cubicBezTo>
                  <a:pt x="9264553" y="1778855"/>
                  <a:pt x="9277903" y="1802519"/>
                  <a:pt x="9289180" y="1826431"/>
                </a:cubicBezTo>
                <a:cubicBezTo>
                  <a:pt x="9295068" y="1840463"/>
                  <a:pt x="9299959" y="1846193"/>
                  <a:pt x="9310901" y="1832248"/>
                </a:cubicBezTo>
                <a:cubicBezTo>
                  <a:pt x="9329635" y="1813158"/>
                  <a:pt x="9354258" y="1808100"/>
                  <a:pt x="9376557" y="1801214"/>
                </a:cubicBezTo>
                <a:cubicBezTo>
                  <a:pt x="9384598" y="1798144"/>
                  <a:pt x="9390816" y="1797399"/>
                  <a:pt x="9393635" y="1803376"/>
                </a:cubicBezTo>
                <a:cubicBezTo>
                  <a:pt x="9409058" y="1826792"/>
                  <a:pt x="9432354" y="1828209"/>
                  <a:pt x="9455650" y="1829626"/>
                </a:cubicBezTo>
                <a:cubicBezTo>
                  <a:pt x="9477122" y="1833367"/>
                  <a:pt x="9498345" y="1835032"/>
                  <a:pt x="9510948" y="1852469"/>
                </a:cubicBezTo>
                <a:cubicBezTo>
                  <a:pt x="9516338" y="1862350"/>
                  <a:pt x="9520483" y="1861853"/>
                  <a:pt x="9530597" y="1858535"/>
                </a:cubicBezTo>
                <a:cubicBezTo>
                  <a:pt x="9566658" y="1843682"/>
                  <a:pt x="9601892" y="1839457"/>
                  <a:pt x="9635718" y="1858559"/>
                </a:cubicBezTo>
                <a:cubicBezTo>
                  <a:pt x="9649149" y="1865369"/>
                  <a:pt x="9657439" y="1864376"/>
                  <a:pt x="9669128" y="1856657"/>
                </a:cubicBezTo>
                <a:cubicBezTo>
                  <a:pt x="9694578" y="1840973"/>
                  <a:pt x="9721521" y="1837741"/>
                  <a:pt x="9750704" y="1853190"/>
                </a:cubicBezTo>
                <a:cubicBezTo>
                  <a:pt x="9757669" y="1858671"/>
                  <a:pt x="9764135" y="1860000"/>
                  <a:pt x="9771929" y="1854856"/>
                </a:cubicBezTo>
                <a:cubicBezTo>
                  <a:pt x="9805667" y="1838176"/>
                  <a:pt x="9868261" y="1851723"/>
                  <a:pt x="9890647" y="1880619"/>
                </a:cubicBezTo>
                <a:cubicBezTo>
                  <a:pt x="9905236" y="1862026"/>
                  <a:pt x="9925713" y="1857466"/>
                  <a:pt x="9945113" y="1861454"/>
                </a:cubicBezTo>
                <a:cubicBezTo>
                  <a:pt x="9973301" y="1868602"/>
                  <a:pt x="10002565" y="1867196"/>
                  <a:pt x="10031830" y="1865793"/>
                </a:cubicBezTo>
                <a:cubicBezTo>
                  <a:pt x="10071706" y="1865220"/>
                  <a:pt x="10095998" y="1874940"/>
                  <a:pt x="10111588" y="1917283"/>
                </a:cubicBezTo>
                <a:cubicBezTo>
                  <a:pt x="10112086" y="1921435"/>
                  <a:pt x="10114407" y="1923261"/>
                  <a:pt x="10114905" y="1927412"/>
                </a:cubicBezTo>
                <a:cubicBezTo>
                  <a:pt x="10120793" y="1941444"/>
                  <a:pt x="10129332" y="1942526"/>
                  <a:pt x="10138450" y="1930905"/>
                </a:cubicBezTo>
                <a:cubicBezTo>
                  <a:pt x="10145745" y="1921608"/>
                  <a:pt x="10153039" y="1912312"/>
                  <a:pt x="10162406" y="1902766"/>
                </a:cubicBezTo>
                <a:cubicBezTo>
                  <a:pt x="10195978" y="1867159"/>
                  <a:pt x="10238674" y="1872565"/>
                  <a:pt x="10266699" y="1913418"/>
                </a:cubicBezTo>
                <a:cubicBezTo>
                  <a:pt x="10277230" y="1931104"/>
                  <a:pt x="10291658" y="1946217"/>
                  <a:pt x="10311803" y="1956433"/>
                </a:cubicBezTo>
                <a:cubicBezTo>
                  <a:pt x="10329877" y="1966897"/>
                  <a:pt x="10347951" y="1977363"/>
                  <a:pt x="10360554" y="1994800"/>
                </a:cubicBezTo>
                <a:cubicBezTo>
                  <a:pt x="10370500" y="1972553"/>
                  <a:pt x="10355078" y="1949137"/>
                  <a:pt x="10365024" y="1926890"/>
                </a:cubicBezTo>
                <a:cubicBezTo>
                  <a:pt x="10386913" y="1951635"/>
                  <a:pt x="10386913" y="1951635"/>
                  <a:pt x="10414186" y="1933626"/>
                </a:cubicBezTo>
                <a:cubicBezTo>
                  <a:pt x="10426123" y="1927984"/>
                  <a:pt x="10434165" y="1924915"/>
                  <a:pt x="10447347" y="1929650"/>
                </a:cubicBezTo>
                <a:cubicBezTo>
                  <a:pt x="10482250" y="1940202"/>
                  <a:pt x="10516656" y="1946602"/>
                  <a:pt x="10551061" y="1953003"/>
                </a:cubicBezTo>
                <a:cubicBezTo>
                  <a:pt x="10656599" y="1974032"/>
                  <a:pt x="10762716" y="1982359"/>
                  <a:pt x="10866928" y="2009862"/>
                </a:cubicBezTo>
                <a:cubicBezTo>
                  <a:pt x="10875467" y="2010944"/>
                  <a:pt x="10887902" y="2009453"/>
                  <a:pt x="10889147" y="2019830"/>
                </a:cubicBezTo>
                <a:cubicBezTo>
                  <a:pt x="10892464" y="2029960"/>
                  <a:pt x="10882599" y="2035353"/>
                  <a:pt x="10877128" y="2042325"/>
                </a:cubicBezTo>
                <a:cubicBezTo>
                  <a:pt x="10871409" y="2047222"/>
                  <a:pt x="10863616" y="2052368"/>
                  <a:pt x="10868757" y="2060174"/>
                </a:cubicBezTo>
                <a:cubicBezTo>
                  <a:pt x="10872074" y="2070302"/>
                  <a:pt x="10880862" y="2073459"/>
                  <a:pt x="10889402" y="2074541"/>
                </a:cubicBezTo>
                <a:cubicBezTo>
                  <a:pt x="10895619" y="2073795"/>
                  <a:pt x="10901837" y="2073049"/>
                  <a:pt x="10908054" y="2072303"/>
                </a:cubicBezTo>
                <a:cubicBezTo>
                  <a:pt x="10937319" y="2070899"/>
                  <a:pt x="10955892" y="2085515"/>
                  <a:pt x="10959376" y="2114572"/>
                </a:cubicBezTo>
                <a:cubicBezTo>
                  <a:pt x="10960621" y="2124950"/>
                  <a:pt x="10961865" y="2135329"/>
                  <a:pt x="10958965" y="2146203"/>
                </a:cubicBezTo>
                <a:cubicBezTo>
                  <a:pt x="10958386" y="2158904"/>
                  <a:pt x="10967423" y="2164137"/>
                  <a:pt x="10979360" y="2158495"/>
                </a:cubicBezTo>
                <a:cubicBezTo>
                  <a:pt x="11001412" y="2149534"/>
                  <a:pt x="11009783" y="2131687"/>
                  <a:pt x="11004225" y="2102877"/>
                </a:cubicBezTo>
                <a:cubicBezTo>
                  <a:pt x="11020725" y="2117742"/>
                  <a:pt x="11032830" y="2131027"/>
                  <a:pt x="11041039" y="2146887"/>
                </a:cubicBezTo>
                <a:cubicBezTo>
                  <a:pt x="11049248" y="2162745"/>
                  <a:pt x="11047511" y="2200852"/>
                  <a:pt x="11034497" y="2215044"/>
                </a:cubicBezTo>
                <a:cubicBezTo>
                  <a:pt x="11017587" y="2231810"/>
                  <a:pt x="10997689" y="2223670"/>
                  <a:pt x="10982185" y="2217108"/>
                </a:cubicBezTo>
                <a:cubicBezTo>
                  <a:pt x="10959966" y="2207140"/>
                  <a:pt x="10936173" y="2201572"/>
                  <a:pt x="10911302" y="2204555"/>
                </a:cubicBezTo>
                <a:cubicBezTo>
                  <a:pt x="10896794" y="2206295"/>
                  <a:pt x="10880214" y="2208283"/>
                  <a:pt x="10863633" y="2210272"/>
                </a:cubicBezTo>
                <a:cubicBezTo>
                  <a:pt x="10795239" y="2218475"/>
                  <a:pt x="10727673" y="2216051"/>
                  <a:pt x="10667812" y="2172700"/>
                </a:cubicBezTo>
                <a:cubicBezTo>
                  <a:pt x="10644846" y="2156506"/>
                  <a:pt x="10633158" y="2164225"/>
                  <a:pt x="10625782" y="2190374"/>
                </a:cubicBezTo>
                <a:cubicBezTo>
                  <a:pt x="10624208" y="2194773"/>
                  <a:pt x="10629099" y="2200504"/>
                  <a:pt x="10623131" y="2203325"/>
                </a:cubicBezTo>
                <a:cubicBezTo>
                  <a:pt x="10616913" y="2204070"/>
                  <a:pt x="10612270" y="2200416"/>
                  <a:pt x="10609700" y="2196513"/>
                </a:cubicBezTo>
                <a:cubicBezTo>
                  <a:pt x="10607129" y="2192611"/>
                  <a:pt x="10604559" y="2188709"/>
                  <a:pt x="10602237" y="2186881"/>
                </a:cubicBezTo>
                <a:cubicBezTo>
                  <a:pt x="10594776" y="2177250"/>
                  <a:pt x="10585489" y="2169942"/>
                  <a:pt x="10576371" y="2181562"/>
                </a:cubicBezTo>
                <a:cubicBezTo>
                  <a:pt x="10565180" y="2193431"/>
                  <a:pt x="10582010" y="2193518"/>
                  <a:pt x="10586902" y="2199248"/>
                </a:cubicBezTo>
                <a:cubicBezTo>
                  <a:pt x="10587151" y="2201323"/>
                  <a:pt x="10589223" y="2201075"/>
                  <a:pt x="10589472" y="2203150"/>
                </a:cubicBezTo>
                <a:cubicBezTo>
                  <a:pt x="10594115" y="2206805"/>
                  <a:pt x="10596934" y="2212782"/>
                  <a:pt x="10593287" y="2217431"/>
                </a:cubicBezTo>
                <a:cubicBezTo>
                  <a:pt x="10589889" y="2224154"/>
                  <a:pt x="10585744" y="2224652"/>
                  <a:pt x="10579028" y="2221246"/>
                </a:cubicBezTo>
                <a:cubicBezTo>
                  <a:pt x="10552664" y="2211776"/>
                  <a:pt x="10530862" y="2222812"/>
                  <a:pt x="10517020" y="2247632"/>
                </a:cubicBezTo>
                <a:cubicBezTo>
                  <a:pt x="10513372" y="2252280"/>
                  <a:pt x="10505580" y="2257426"/>
                  <a:pt x="10506327" y="2263652"/>
                </a:cubicBezTo>
                <a:cubicBezTo>
                  <a:pt x="10509065" y="2286484"/>
                  <a:pt x="10534601" y="2306581"/>
                  <a:pt x="10554829" y="2299943"/>
                </a:cubicBezTo>
                <a:cubicBezTo>
                  <a:pt x="10595284" y="2286669"/>
                  <a:pt x="10635409" y="2288174"/>
                  <a:pt x="10677028" y="2302131"/>
                </a:cubicBezTo>
                <a:cubicBezTo>
                  <a:pt x="10692034" y="2304542"/>
                  <a:pt x="10707040" y="2306953"/>
                  <a:pt x="10718230" y="2295085"/>
                </a:cubicBezTo>
                <a:cubicBezTo>
                  <a:pt x="10727846" y="2287615"/>
                  <a:pt x="10732240" y="2289193"/>
                  <a:pt x="10735807" y="2301397"/>
                </a:cubicBezTo>
                <a:cubicBezTo>
                  <a:pt x="10739871" y="2317753"/>
                  <a:pt x="10751478" y="2326888"/>
                  <a:pt x="10768556" y="2329051"/>
                </a:cubicBezTo>
                <a:cubicBezTo>
                  <a:pt x="10785883" y="2333289"/>
                  <a:pt x="10805283" y="2337279"/>
                  <a:pt x="10824683" y="2341268"/>
                </a:cubicBezTo>
                <a:cubicBezTo>
                  <a:pt x="10841761" y="2343431"/>
                  <a:pt x="10849472" y="2355139"/>
                  <a:pt x="10849391" y="2371991"/>
                </a:cubicBezTo>
                <a:cubicBezTo>
                  <a:pt x="10849640" y="2374067"/>
                  <a:pt x="10850138" y="2378219"/>
                  <a:pt x="10848563" y="2382618"/>
                </a:cubicBezTo>
                <a:cubicBezTo>
                  <a:pt x="10849809" y="2392996"/>
                  <a:pt x="10857021" y="2400552"/>
                  <a:pt x="10867384" y="2399309"/>
                </a:cubicBezTo>
                <a:cubicBezTo>
                  <a:pt x="10875923" y="2400391"/>
                  <a:pt x="10874679" y="2390012"/>
                  <a:pt x="10873683" y="2381711"/>
                </a:cubicBezTo>
                <a:cubicBezTo>
                  <a:pt x="10874760" y="2373159"/>
                  <a:pt x="10873764" y="2364857"/>
                  <a:pt x="10885950" y="2361290"/>
                </a:cubicBezTo>
                <a:cubicBezTo>
                  <a:pt x="10904603" y="2359053"/>
                  <a:pt x="10923673" y="2377820"/>
                  <a:pt x="10921768" y="2396998"/>
                </a:cubicBezTo>
                <a:cubicBezTo>
                  <a:pt x="10922515" y="2403224"/>
                  <a:pt x="10918868" y="2407872"/>
                  <a:pt x="10923760" y="2413602"/>
                </a:cubicBezTo>
                <a:cubicBezTo>
                  <a:pt x="10929977" y="2412856"/>
                  <a:pt x="10929231" y="2406630"/>
                  <a:pt x="10933127" y="2404057"/>
                </a:cubicBezTo>
                <a:cubicBezTo>
                  <a:pt x="10941996" y="2390361"/>
                  <a:pt x="10950286" y="2389366"/>
                  <a:pt x="10960320" y="2402901"/>
                </a:cubicBezTo>
                <a:cubicBezTo>
                  <a:pt x="10973420" y="2424490"/>
                  <a:pt x="10991992" y="2439106"/>
                  <a:pt x="11010315" y="2451646"/>
                </a:cubicBezTo>
                <a:cubicBezTo>
                  <a:pt x="11031209" y="2468089"/>
                  <a:pt x="11050278" y="2486855"/>
                  <a:pt x="11055835" y="2515665"/>
                </a:cubicBezTo>
                <a:cubicBezTo>
                  <a:pt x="11059153" y="2525794"/>
                  <a:pt x="11064791" y="2537750"/>
                  <a:pt x="11075652" y="2540658"/>
                </a:cubicBezTo>
                <a:cubicBezTo>
                  <a:pt x="11119592" y="2556442"/>
                  <a:pt x="11138002" y="2604765"/>
                  <a:pt x="11180367" y="2624948"/>
                </a:cubicBezTo>
                <a:cubicBezTo>
                  <a:pt x="11191726" y="2632008"/>
                  <a:pt x="11190898" y="2642634"/>
                  <a:pt x="11187998" y="2653510"/>
                </a:cubicBezTo>
                <a:cubicBezTo>
                  <a:pt x="11183025" y="2664633"/>
                  <a:pt x="11171915" y="2659648"/>
                  <a:pt x="11164951" y="2654168"/>
                </a:cubicBezTo>
                <a:cubicBezTo>
                  <a:pt x="11151271" y="2645281"/>
                  <a:pt x="11139084" y="2648849"/>
                  <a:pt x="11127645" y="2658641"/>
                </a:cubicBezTo>
                <a:cubicBezTo>
                  <a:pt x="11114382" y="2670760"/>
                  <a:pt x="11098299" y="2676899"/>
                  <a:pt x="11079646" y="2679137"/>
                </a:cubicBezTo>
                <a:cubicBezTo>
                  <a:pt x="11048310" y="2680790"/>
                  <a:pt x="11028990" y="2659946"/>
                  <a:pt x="11033795" y="2629895"/>
                </a:cubicBezTo>
                <a:cubicBezTo>
                  <a:pt x="11035121" y="2623419"/>
                  <a:pt x="11036198" y="2614869"/>
                  <a:pt x="11035452" y="2608643"/>
                </a:cubicBezTo>
                <a:cubicBezTo>
                  <a:pt x="11035202" y="2606566"/>
                  <a:pt x="11037025" y="2604242"/>
                  <a:pt x="11037025" y="2604242"/>
                </a:cubicBezTo>
                <a:cubicBezTo>
                  <a:pt x="11034953" y="2604491"/>
                  <a:pt x="11034953" y="2604491"/>
                  <a:pt x="11033130" y="2606815"/>
                </a:cubicBezTo>
                <a:cubicBezTo>
                  <a:pt x="11024839" y="2607810"/>
                  <a:pt x="11018621" y="2608555"/>
                  <a:pt x="11010084" y="2607474"/>
                </a:cubicBezTo>
                <a:cubicBezTo>
                  <a:pt x="10969460" y="2601819"/>
                  <a:pt x="10957771" y="2609537"/>
                  <a:pt x="10950065" y="2650464"/>
                </a:cubicBezTo>
                <a:cubicBezTo>
                  <a:pt x="10948161" y="2669641"/>
                  <a:pt x="10936223" y="2675283"/>
                  <a:pt x="10917073" y="2673370"/>
                </a:cubicBezTo>
                <a:cubicBezTo>
                  <a:pt x="10902316" y="2673034"/>
                  <a:pt x="10893030" y="2665726"/>
                  <a:pt x="10882997" y="2652192"/>
                </a:cubicBezTo>
                <a:cubicBezTo>
                  <a:pt x="10855220" y="2613415"/>
                  <a:pt x="10816751" y="2590658"/>
                  <a:pt x="10767838" y="2585998"/>
                </a:cubicBezTo>
                <a:cubicBezTo>
                  <a:pt x="10726966" y="2578267"/>
                  <a:pt x="10726966" y="2578267"/>
                  <a:pt x="10740234" y="2618784"/>
                </a:cubicBezTo>
                <a:cubicBezTo>
                  <a:pt x="10747118" y="2641119"/>
                  <a:pt x="10744217" y="2651993"/>
                  <a:pt x="10726560" y="2662532"/>
                </a:cubicBezTo>
                <a:cubicBezTo>
                  <a:pt x="10716608" y="2632145"/>
                  <a:pt x="10709644" y="2626663"/>
                  <a:pt x="10678307" y="2628317"/>
                </a:cubicBezTo>
                <a:cubicBezTo>
                  <a:pt x="10657581" y="2630803"/>
                  <a:pt x="10635530" y="2639764"/>
                  <a:pt x="10618533" y="2620748"/>
                </a:cubicBezTo>
                <a:cubicBezTo>
                  <a:pt x="10618284" y="2618672"/>
                  <a:pt x="10616211" y="2618921"/>
                  <a:pt x="10614139" y="2619169"/>
                </a:cubicBezTo>
                <a:cubicBezTo>
                  <a:pt x="10590264" y="2630454"/>
                  <a:pt x="10580069" y="2650626"/>
                  <a:pt x="10581233" y="2677857"/>
                </a:cubicBezTo>
                <a:cubicBezTo>
                  <a:pt x="10582975" y="2692385"/>
                  <a:pt x="10584718" y="2706914"/>
                  <a:pt x="10568884" y="2715129"/>
                </a:cubicBezTo>
                <a:cubicBezTo>
                  <a:pt x="10567060" y="2717454"/>
                  <a:pt x="10561341" y="2722350"/>
                  <a:pt x="10560594" y="2716124"/>
                </a:cubicBezTo>
                <a:cubicBezTo>
                  <a:pt x="10556530" y="2699768"/>
                  <a:pt x="10541773" y="2699433"/>
                  <a:pt x="10528591" y="2694698"/>
                </a:cubicBezTo>
                <a:cubicBezTo>
                  <a:pt x="10513336" y="2690210"/>
                  <a:pt x="10503801" y="2680827"/>
                  <a:pt x="10503883" y="2663975"/>
                </a:cubicBezTo>
                <a:cubicBezTo>
                  <a:pt x="10503715" y="2645046"/>
                  <a:pt x="10493682" y="2631511"/>
                  <a:pt x="10476106" y="2625198"/>
                </a:cubicBezTo>
                <a:cubicBezTo>
                  <a:pt x="10460353" y="2616559"/>
                  <a:pt x="10446593" y="2624527"/>
                  <a:pt x="10433329" y="2636644"/>
                </a:cubicBezTo>
                <a:cubicBezTo>
                  <a:pt x="10422387" y="2650589"/>
                  <a:pt x="10417247" y="2642783"/>
                  <a:pt x="10415753" y="2630331"/>
                </a:cubicBezTo>
                <a:cubicBezTo>
                  <a:pt x="10413513" y="2611650"/>
                  <a:pt x="10402403" y="2606667"/>
                  <a:pt x="10386321" y="2612806"/>
                </a:cubicBezTo>
                <a:cubicBezTo>
                  <a:pt x="10382175" y="2613303"/>
                  <a:pt x="10378030" y="2613800"/>
                  <a:pt x="10374134" y="2616373"/>
                </a:cubicBezTo>
                <a:cubicBezTo>
                  <a:pt x="10355979" y="2622762"/>
                  <a:pt x="10341222" y="2622426"/>
                  <a:pt x="10330443" y="2602664"/>
                </a:cubicBezTo>
                <a:cubicBezTo>
                  <a:pt x="10317840" y="2585228"/>
                  <a:pt x="10297942" y="2577087"/>
                  <a:pt x="10279040" y="2577249"/>
                </a:cubicBezTo>
                <a:cubicBezTo>
                  <a:pt x="10264034" y="2574837"/>
                  <a:pt x="10247454" y="2576825"/>
                  <a:pt x="10254337" y="2599160"/>
                </a:cubicBezTo>
                <a:cubicBezTo>
                  <a:pt x="10255084" y="2605386"/>
                  <a:pt x="10254007" y="2613937"/>
                  <a:pt x="10252682" y="2620413"/>
                </a:cubicBezTo>
                <a:cubicBezTo>
                  <a:pt x="10254424" y="2634942"/>
                  <a:pt x="10249949" y="2650216"/>
                  <a:pt x="10259734" y="2661675"/>
                </a:cubicBezTo>
                <a:cubicBezTo>
                  <a:pt x="10285518" y="2683848"/>
                  <a:pt x="10286931" y="2713154"/>
                  <a:pt x="10290665" y="2744287"/>
                </a:cubicBezTo>
                <a:cubicBezTo>
                  <a:pt x="10275161" y="2737725"/>
                  <a:pt x="10259657" y="2731162"/>
                  <a:pt x="10243077" y="2733151"/>
                </a:cubicBezTo>
                <a:cubicBezTo>
                  <a:pt x="10222600" y="2737713"/>
                  <a:pt x="10203201" y="2733723"/>
                  <a:pt x="10185127" y="2723259"/>
                </a:cubicBezTo>
                <a:cubicBezTo>
                  <a:pt x="10169374" y="2714621"/>
                  <a:pt x="10151798" y="2708307"/>
                  <a:pt x="10134222" y="2701993"/>
                </a:cubicBezTo>
                <a:cubicBezTo>
                  <a:pt x="10083317" y="2680728"/>
                  <a:pt x="10028765" y="2664111"/>
                  <a:pt x="9980762" y="2631971"/>
                </a:cubicBezTo>
                <a:cubicBezTo>
                  <a:pt x="9969403" y="2624912"/>
                  <a:pt x="9963683" y="2629809"/>
                  <a:pt x="9960782" y="2640683"/>
                </a:cubicBezTo>
                <a:cubicBezTo>
                  <a:pt x="9959207" y="2645083"/>
                  <a:pt x="9958131" y="2653633"/>
                  <a:pt x="9949592" y="2652553"/>
                </a:cubicBezTo>
                <a:cubicBezTo>
                  <a:pt x="9943125" y="2651223"/>
                  <a:pt x="9942129" y="2642921"/>
                  <a:pt x="9941631" y="2638770"/>
                </a:cubicBezTo>
                <a:cubicBezTo>
                  <a:pt x="9938314" y="2628641"/>
                  <a:pt x="9935246" y="2620587"/>
                  <a:pt x="9926707" y="2619506"/>
                </a:cubicBezTo>
                <a:cubicBezTo>
                  <a:pt x="9916095" y="2618673"/>
                  <a:pt x="9906809" y="2611365"/>
                  <a:pt x="9896197" y="2610532"/>
                </a:cubicBezTo>
                <a:cubicBezTo>
                  <a:pt x="9881192" y="2608121"/>
                  <a:pt x="9878123" y="2600067"/>
                  <a:pt x="9882847" y="2586868"/>
                </a:cubicBezTo>
                <a:cubicBezTo>
                  <a:pt x="9895115" y="2566448"/>
                  <a:pt x="9878037" y="2564286"/>
                  <a:pt x="9864605" y="2557474"/>
                </a:cubicBezTo>
                <a:cubicBezTo>
                  <a:pt x="9846781" y="2549086"/>
                  <a:pt x="9848772" y="2565691"/>
                  <a:pt x="9845623" y="2574490"/>
                </a:cubicBezTo>
                <a:cubicBezTo>
                  <a:pt x="9844048" y="2578889"/>
                  <a:pt x="9844546" y="2583040"/>
                  <a:pt x="9838328" y="2583786"/>
                </a:cubicBezTo>
                <a:cubicBezTo>
                  <a:pt x="9832938" y="2573906"/>
                  <a:pt x="9825476" y="2564273"/>
                  <a:pt x="9821910" y="2552068"/>
                </a:cubicBezTo>
                <a:cubicBezTo>
                  <a:pt x="9816769" y="2544263"/>
                  <a:pt x="9809805" y="2538783"/>
                  <a:pt x="9801514" y="2539777"/>
                </a:cubicBezTo>
                <a:cubicBezTo>
                  <a:pt x="9791152" y="2541020"/>
                  <a:pt x="9792397" y="2551397"/>
                  <a:pt x="9791071" y="2557872"/>
                </a:cubicBezTo>
                <a:cubicBezTo>
                  <a:pt x="9779469" y="2601372"/>
                  <a:pt x="9755843" y="2614733"/>
                  <a:pt x="9712401" y="2603100"/>
                </a:cubicBezTo>
                <a:cubicBezTo>
                  <a:pt x="9703612" y="2599943"/>
                  <a:pt x="9695073" y="2598862"/>
                  <a:pt x="9688109" y="2593381"/>
                </a:cubicBezTo>
                <a:cubicBezTo>
                  <a:pt x="9650635" y="2578926"/>
                  <a:pt x="9618800" y="2576429"/>
                  <a:pt x="9594016" y="2615193"/>
                </a:cubicBezTo>
                <a:cubicBezTo>
                  <a:pt x="9594016" y="2615193"/>
                  <a:pt x="9591944" y="2615442"/>
                  <a:pt x="9592193" y="2617517"/>
                </a:cubicBezTo>
                <a:cubicBezTo>
                  <a:pt x="9582328" y="2622911"/>
                  <a:pt x="9574286" y="2625981"/>
                  <a:pt x="9563177" y="2620997"/>
                </a:cubicBezTo>
                <a:cubicBezTo>
                  <a:pt x="9558784" y="2619419"/>
                  <a:pt x="9554140" y="2615765"/>
                  <a:pt x="9555466" y="2609289"/>
                </a:cubicBezTo>
                <a:cubicBezTo>
                  <a:pt x="9556294" y="2598664"/>
                  <a:pt x="9566407" y="2595345"/>
                  <a:pt x="9574449" y="2592275"/>
                </a:cubicBezTo>
                <a:cubicBezTo>
                  <a:pt x="9580666" y="2591530"/>
                  <a:pt x="9588708" y="2588459"/>
                  <a:pt x="9587961" y="2582233"/>
                </a:cubicBezTo>
                <a:cubicBezTo>
                  <a:pt x="9589038" y="2573682"/>
                  <a:pt x="9578924" y="2577000"/>
                  <a:pt x="9574282" y="2573347"/>
                </a:cubicBezTo>
                <a:cubicBezTo>
                  <a:pt x="9563420" y="2570439"/>
                  <a:pt x="9552808" y="2569606"/>
                  <a:pt x="9541948" y="2566697"/>
                </a:cubicBezTo>
                <a:cubicBezTo>
                  <a:pt x="9526942" y="2564286"/>
                  <a:pt x="9513760" y="2559551"/>
                  <a:pt x="9503976" y="2548091"/>
                </a:cubicBezTo>
                <a:cubicBezTo>
                  <a:pt x="9496763" y="2540535"/>
                  <a:pt x="9490545" y="2541281"/>
                  <a:pt x="9480680" y="2546675"/>
                </a:cubicBezTo>
                <a:cubicBezTo>
                  <a:pt x="9452909" y="2560532"/>
                  <a:pt x="9433510" y="2556543"/>
                  <a:pt x="9411869" y="2533873"/>
                </a:cubicBezTo>
                <a:cubicBezTo>
                  <a:pt x="9400013" y="2522663"/>
                  <a:pt x="9392053" y="2508880"/>
                  <a:pt x="9382020" y="2495345"/>
                </a:cubicBezTo>
                <a:cubicBezTo>
                  <a:pt x="9369666" y="2479984"/>
                  <a:pt x="9353913" y="2471346"/>
                  <a:pt x="9334514" y="2467356"/>
                </a:cubicBezTo>
                <a:cubicBezTo>
                  <a:pt x="9313041" y="2463615"/>
                  <a:pt x="9303177" y="2469010"/>
                  <a:pt x="9295552" y="2493083"/>
                </a:cubicBezTo>
                <a:cubicBezTo>
                  <a:pt x="9288176" y="2519233"/>
                  <a:pt x="9273918" y="2523048"/>
                  <a:pt x="9249377" y="2511254"/>
                </a:cubicBezTo>
                <a:cubicBezTo>
                  <a:pt x="9240589" y="2508097"/>
                  <a:pt x="9235945" y="2504443"/>
                  <a:pt x="9225832" y="2507761"/>
                </a:cubicBezTo>
                <a:cubicBezTo>
                  <a:pt x="9201958" y="2519047"/>
                  <a:pt x="9201958" y="2519047"/>
                  <a:pt x="9198721" y="2492064"/>
                </a:cubicBezTo>
                <a:cubicBezTo>
                  <a:pt x="9200296" y="2487664"/>
                  <a:pt x="9200047" y="2485589"/>
                  <a:pt x="9197476" y="2481687"/>
                </a:cubicBezTo>
                <a:cubicBezTo>
                  <a:pt x="9195485" y="2465082"/>
                  <a:pt x="9186448" y="2459850"/>
                  <a:pt x="9170614" y="2468065"/>
                </a:cubicBezTo>
                <a:cubicBezTo>
                  <a:pt x="9158677" y="2473708"/>
                  <a:pt x="9147238" y="2483501"/>
                  <a:pt x="9135051" y="2487067"/>
                </a:cubicBezTo>
                <a:cubicBezTo>
                  <a:pt x="9083156" y="2510135"/>
                  <a:pt x="9023464" y="2485714"/>
                  <a:pt x="9005055" y="2437391"/>
                </a:cubicBezTo>
                <a:cubicBezTo>
                  <a:pt x="8998668" y="2419209"/>
                  <a:pt x="9004968" y="2401611"/>
                  <a:pt x="9002727" y="2382930"/>
                </a:cubicBezTo>
                <a:cubicBezTo>
                  <a:pt x="9001563" y="2355699"/>
                  <a:pt x="8989707" y="2344489"/>
                  <a:pt x="8963841" y="2339169"/>
                </a:cubicBezTo>
                <a:cubicBezTo>
                  <a:pt x="8950907" y="2336510"/>
                  <a:pt x="8938223" y="2335926"/>
                  <a:pt x="8925290" y="2333266"/>
                </a:cubicBezTo>
                <a:cubicBezTo>
                  <a:pt x="8899424" y="2327947"/>
                  <a:pt x="8885414" y="2333837"/>
                  <a:pt x="8878038" y="2359987"/>
                </a:cubicBezTo>
                <a:cubicBezTo>
                  <a:pt x="8871490" y="2375511"/>
                  <a:pt x="8865024" y="2374180"/>
                  <a:pt x="8853416" y="2365045"/>
                </a:cubicBezTo>
                <a:cubicBezTo>
                  <a:pt x="8828129" y="2347024"/>
                  <a:pt x="8812046" y="2353163"/>
                  <a:pt x="8803096" y="2383713"/>
                </a:cubicBezTo>
                <a:cubicBezTo>
                  <a:pt x="8802019" y="2392264"/>
                  <a:pt x="8803015" y="2400566"/>
                  <a:pt x="8811803" y="2403723"/>
                </a:cubicBezTo>
                <a:cubicBezTo>
                  <a:pt x="8822664" y="2406631"/>
                  <a:pt x="8823740" y="2398080"/>
                  <a:pt x="8824817" y="2389529"/>
                </a:cubicBezTo>
                <a:cubicBezTo>
                  <a:pt x="8824071" y="2383303"/>
                  <a:pt x="8827469" y="2376579"/>
                  <a:pt x="8836008" y="2377660"/>
                </a:cubicBezTo>
                <a:cubicBezTo>
                  <a:pt x="8844298" y="2376666"/>
                  <a:pt x="8851263" y="2382147"/>
                  <a:pt x="8850186" y="2390698"/>
                </a:cubicBezTo>
                <a:cubicBezTo>
                  <a:pt x="8850852" y="2413778"/>
                  <a:pt x="8855662" y="2436360"/>
                  <a:pt x="8856577" y="2461516"/>
                </a:cubicBezTo>
                <a:cubicBezTo>
                  <a:pt x="8849613" y="2456034"/>
                  <a:pt x="8847291" y="2454208"/>
                  <a:pt x="8844721" y="2450305"/>
                </a:cubicBezTo>
                <a:cubicBezTo>
                  <a:pt x="8830792" y="2439343"/>
                  <a:pt x="8814211" y="2441332"/>
                  <a:pt x="8799206" y="2438921"/>
                </a:cubicBezTo>
                <a:cubicBezTo>
                  <a:pt x="8790666" y="2437839"/>
                  <a:pt x="8790088" y="2450541"/>
                  <a:pt x="8784368" y="2455438"/>
                </a:cubicBezTo>
                <a:cubicBezTo>
                  <a:pt x="8774752" y="2462907"/>
                  <a:pt x="8764887" y="2468301"/>
                  <a:pt x="8749881" y="2465890"/>
                </a:cubicBezTo>
                <a:cubicBezTo>
                  <a:pt x="8737197" y="2465305"/>
                  <a:pt x="8722689" y="2467046"/>
                  <a:pt x="8707683" y="2464635"/>
                </a:cubicBezTo>
                <a:cubicBezTo>
                  <a:pt x="8715644" y="2478419"/>
                  <a:pt x="8735292" y="2484483"/>
                  <a:pt x="8724351" y="2498428"/>
                </a:cubicBezTo>
                <a:cubicBezTo>
                  <a:pt x="8717305" y="2509800"/>
                  <a:pt x="8709182" y="2529722"/>
                  <a:pt x="8688289" y="2513280"/>
                </a:cubicBezTo>
                <a:cubicBezTo>
                  <a:pt x="8688289" y="2513280"/>
                  <a:pt x="8684393" y="2515853"/>
                  <a:pt x="8684642" y="2517928"/>
                </a:cubicBezTo>
                <a:cubicBezTo>
                  <a:pt x="8683814" y="2528555"/>
                  <a:pt x="8680915" y="2539430"/>
                  <a:pt x="8695670" y="2539765"/>
                </a:cubicBezTo>
                <a:cubicBezTo>
                  <a:pt x="8712500" y="2539852"/>
                  <a:pt x="8728003" y="2546415"/>
                  <a:pt x="8741434" y="2553225"/>
                </a:cubicBezTo>
                <a:cubicBezTo>
                  <a:pt x="8759011" y="2559538"/>
                  <a:pt x="8773269" y="2555723"/>
                  <a:pt x="8779817" y="2540200"/>
                </a:cubicBezTo>
                <a:cubicBezTo>
                  <a:pt x="8788438" y="2524428"/>
                  <a:pt x="8795153" y="2527833"/>
                  <a:pt x="8804439" y="2535141"/>
                </a:cubicBezTo>
                <a:cubicBezTo>
                  <a:pt x="8823011" y="2549757"/>
                  <a:pt x="8837686" y="2566946"/>
                  <a:pt x="8858082" y="2579238"/>
                </a:cubicBezTo>
                <a:cubicBezTo>
                  <a:pt x="8869440" y="2586297"/>
                  <a:pt x="8877980" y="2587378"/>
                  <a:pt x="8889668" y="2579660"/>
                </a:cubicBezTo>
                <a:cubicBezTo>
                  <a:pt x="8899284" y="2572191"/>
                  <a:pt x="8906578" y="2562895"/>
                  <a:pt x="8919511" y="2565554"/>
                </a:cubicBezTo>
                <a:cubicBezTo>
                  <a:pt x="8932196" y="2566139"/>
                  <a:pt x="8935763" y="2578343"/>
                  <a:pt x="8942975" y="2585899"/>
                </a:cubicBezTo>
                <a:cubicBezTo>
                  <a:pt x="8958641" y="2558756"/>
                  <a:pt x="8958641" y="2558756"/>
                  <a:pt x="8985752" y="2574453"/>
                </a:cubicBezTo>
                <a:cubicBezTo>
                  <a:pt x="8996861" y="2579437"/>
                  <a:pt x="9008220" y="2586496"/>
                  <a:pt x="9021732" y="2576454"/>
                </a:cubicBezTo>
                <a:cubicBezTo>
                  <a:pt x="9051327" y="2560272"/>
                  <a:pt x="9057793" y="2561601"/>
                  <a:pt x="9077859" y="2588671"/>
                </a:cubicBezTo>
                <a:cubicBezTo>
                  <a:pt x="9087643" y="2600130"/>
                  <a:pt x="9097427" y="2611590"/>
                  <a:pt x="9109283" y="2622799"/>
                </a:cubicBezTo>
                <a:cubicBezTo>
                  <a:pt x="9135815" y="2651199"/>
                  <a:pt x="9146177" y="2649956"/>
                  <a:pt x="9167563" y="2617915"/>
                </a:cubicBezTo>
                <a:cubicBezTo>
                  <a:pt x="9173034" y="2610943"/>
                  <a:pt x="9176183" y="2602144"/>
                  <a:pt x="9183478" y="2592847"/>
                </a:cubicBezTo>
                <a:cubicBezTo>
                  <a:pt x="9189614" y="2608954"/>
                  <a:pt x="9195253" y="2620910"/>
                  <a:pt x="9201390" y="2637017"/>
                </a:cubicBezTo>
                <a:cubicBezTo>
                  <a:pt x="9205037" y="2632369"/>
                  <a:pt x="9204788" y="2630294"/>
                  <a:pt x="9206612" y="2627970"/>
                </a:cubicBezTo>
                <a:cubicBezTo>
                  <a:pt x="9220784" y="2588372"/>
                  <a:pt x="9241509" y="2585887"/>
                  <a:pt x="9268290" y="2616361"/>
                </a:cubicBezTo>
                <a:cubicBezTo>
                  <a:pt x="9273182" y="2622091"/>
                  <a:pt x="9278074" y="2627820"/>
                  <a:pt x="9283215" y="2635626"/>
                </a:cubicBezTo>
                <a:cubicBezTo>
                  <a:pt x="9285785" y="2639528"/>
                  <a:pt x="9288357" y="2643431"/>
                  <a:pt x="9284957" y="2650154"/>
                </a:cubicBezTo>
                <a:cubicBezTo>
                  <a:pt x="9270119" y="2666672"/>
                  <a:pt x="9283799" y="2675559"/>
                  <a:pt x="9295407" y="2684693"/>
                </a:cubicBezTo>
                <a:cubicBezTo>
                  <a:pt x="9329482" y="2705871"/>
                  <a:pt x="9368033" y="2711775"/>
                  <a:pt x="9406583" y="2717678"/>
                </a:cubicBezTo>
                <a:cubicBezTo>
                  <a:pt x="9468430" y="2724999"/>
                  <a:pt x="9531851" y="2727920"/>
                  <a:pt x="9588395" y="2761140"/>
                </a:cubicBezTo>
                <a:cubicBezTo>
                  <a:pt x="9606468" y="2771606"/>
                  <a:pt x="9625619" y="2773519"/>
                  <a:pt x="9646096" y="2768959"/>
                </a:cubicBezTo>
                <a:cubicBezTo>
                  <a:pt x="9662427" y="2764894"/>
                  <a:pt x="9677682" y="2769381"/>
                  <a:pt x="9689289" y="2778516"/>
                </a:cubicBezTo>
                <a:cubicBezTo>
                  <a:pt x="9712006" y="2792634"/>
                  <a:pt x="9736049" y="2800277"/>
                  <a:pt x="9763739" y="2803274"/>
                </a:cubicBezTo>
                <a:cubicBezTo>
                  <a:pt x="9789356" y="2806517"/>
                  <a:pt x="9816299" y="2803285"/>
                  <a:pt x="9841089" y="2817156"/>
                </a:cubicBezTo>
                <a:cubicBezTo>
                  <a:pt x="9863309" y="2827124"/>
                  <a:pt x="9884780" y="2830864"/>
                  <a:pt x="9905089" y="2807375"/>
                </a:cubicBezTo>
                <a:cubicBezTo>
                  <a:pt x="9911394" y="2842410"/>
                  <a:pt x="9934440" y="2841751"/>
                  <a:pt x="9959560" y="2840844"/>
                </a:cubicBezTo>
                <a:cubicBezTo>
                  <a:pt x="9978213" y="2838607"/>
                  <a:pt x="9997115" y="2838446"/>
                  <a:pt x="10013365" y="2851234"/>
                </a:cubicBezTo>
                <a:cubicBezTo>
                  <a:pt x="10036829" y="2871580"/>
                  <a:pt x="10062944" y="2878975"/>
                  <a:pt x="10091132" y="2886121"/>
                </a:cubicBezTo>
                <a:cubicBezTo>
                  <a:pt x="10140792" y="2897008"/>
                  <a:pt x="10192027" y="2903496"/>
                  <a:pt x="10238787" y="2925259"/>
                </a:cubicBezTo>
                <a:cubicBezTo>
                  <a:pt x="10276509" y="2941788"/>
                  <a:pt x="10315558" y="2951842"/>
                  <a:pt x="10357507" y="2951022"/>
                </a:cubicBezTo>
                <a:cubicBezTo>
                  <a:pt x="10369942" y="2949531"/>
                  <a:pt x="10378979" y="2954764"/>
                  <a:pt x="10384618" y="2966720"/>
                </a:cubicBezTo>
                <a:cubicBezTo>
                  <a:pt x="10405928" y="3004167"/>
                  <a:pt x="10408000" y="3003918"/>
                  <a:pt x="10451275" y="2996623"/>
                </a:cubicBezTo>
                <a:cubicBezTo>
                  <a:pt x="10455420" y="2996125"/>
                  <a:pt x="10459566" y="2995629"/>
                  <a:pt x="10465783" y="2994883"/>
                </a:cubicBezTo>
                <a:cubicBezTo>
                  <a:pt x="10461059" y="3008081"/>
                  <a:pt x="10456335" y="3021281"/>
                  <a:pt x="10451362" y="3032404"/>
                </a:cubicBezTo>
                <a:cubicBezTo>
                  <a:pt x="10445561" y="3054154"/>
                  <a:pt x="10429976" y="3064445"/>
                  <a:pt x="10409002" y="3064855"/>
                </a:cubicBezTo>
                <a:cubicBezTo>
                  <a:pt x="10396566" y="3066346"/>
                  <a:pt x="10385706" y="3063438"/>
                  <a:pt x="10373519" y="3067005"/>
                </a:cubicBezTo>
                <a:cubicBezTo>
                  <a:pt x="10353292" y="3073642"/>
                  <a:pt x="10346576" y="3070237"/>
                  <a:pt x="10339942" y="3049978"/>
                </a:cubicBezTo>
                <a:cubicBezTo>
                  <a:pt x="10338946" y="3041676"/>
                  <a:pt x="10337950" y="3033374"/>
                  <a:pt x="10336955" y="3025071"/>
                </a:cubicBezTo>
                <a:cubicBezTo>
                  <a:pt x="10337534" y="3012370"/>
                  <a:pt x="10331067" y="3011040"/>
                  <a:pt x="10320704" y="3012283"/>
                </a:cubicBezTo>
                <a:cubicBezTo>
                  <a:pt x="10297657" y="3012941"/>
                  <a:pt x="10282321" y="3025307"/>
                  <a:pt x="10269556" y="3041576"/>
                </a:cubicBezTo>
                <a:cubicBezTo>
                  <a:pt x="10265660" y="3044149"/>
                  <a:pt x="10264334" y="3050624"/>
                  <a:pt x="10257868" y="3049295"/>
                </a:cubicBezTo>
                <a:cubicBezTo>
                  <a:pt x="10253474" y="3047716"/>
                  <a:pt x="10252727" y="3041489"/>
                  <a:pt x="10250156" y="3037587"/>
                </a:cubicBezTo>
                <a:cubicBezTo>
                  <a:pt x="10249659" y="3033436"/>
                  <a:pt x="10249410" y="3031360"/>
                  <a:pt x="10248912" y="3027209"/>
                </a:cubicBezTo>
                <a:cubicBezTo>
                  <a:pt x="10247169" y="3012680"/>
                  <a:pt x="10240454" y="3009275"/>
                  <a:pt x="10228516" y="3014918"/>
                </a:cubicBezTo>
                <a:cubicBezTo>
                  <a:pt x="10216828" y="3022636"/>
                  <a:pt x="10209863" y="3017155"/>
                  <a:pt x="10202401" y="3007523"/>
                </a:cubicBezTo>
                <a:cubicBezTo>
                  <a:pt x="10195188" y="2999966"/>
                  <a:pt x="10196265" y="2991415"/>
                  <a:pt x="10201735" y="2984443"/>
                </a:cubicBezTo>
                <a:cubicBezTo>
                  <a:pt x="10206957" y="2975395"/>
                  <a:pt x="10217818" y="2978303"/>
                  <a:pt x="10226855" y="2983536"/>
                </a:cubicBezTo>
                <a:cubicBezTo>
                  <a:pt x="10233321" y="2984865"/>
                  <a:pt x="10237964" y="2988520"/>
                  <a:pt x="10243186" y="2979471"/>
                </a:cubicBezTo>
                <a:cubicBezTo>
                  <a:pt x="10248408" y="2970423"/>
                  <a:pt x="10243765" y="2966770"/>
                  <a:pt x="10238873" y="2961040"/>
                </a:cubicBezTo>
                <a:cubicBezTo>
                  <a:pt x="10227266" y="2951905"/>
                  <a:pt x="10190956" y="2964681"/>
                  <a:pt x="10188802" y="2981783"/>
                </a:cubicBezTo>
                <a:cubicBezTo>
                  <a:pt x="10183748" y="3009760"/>
                  <a:pt x="10164597" y="3007845"/>
                  <a:pt x="10145446" y="3005932"/>
                </a:cubicBezTo>
                <a:cubicBezTo>
                  <a:pt x="10105321" y="3004428"/>
                  <a:pt x="10065775" y="2990222"/>
                  <a:pt x="10027224" y="2984318"/>
                </a:cubicBezTo>
                <a:cubicBezTo>
                  <a:pt x="10016365" y="2981411"/>
                  <a:pt x="10015368" y="2973108"/>
                  <a:pt x="10018517" y="2964309"/>
                </a:cubicBezTo>
                <a:cubicBezTo>
                  <a:pt x="10021418" y="2953434"/>
                  <a:pt x="10024318" y="2942559"/>
                  <a:pt x="10024898" y="2929857"/>
                </a:cubicBezTo>
                <a:cubicBezTo>
                  <a:pt x="10023404" y="2917403"/>
                  <a:pt x="10014616" y="2914246"/>
                  <a:pt x="10005827" y="2911090"/>
                </a:cubicBezTo>
                <a:cubicBezTo>
                  <a:pt x="9999112" y="2907685"/>
                  <a:pt x="9998284" y="2918312"/>
                  <a:pt x="9994388" y="2920883"/>
                </a:cubicBezTo>
                <a:cubicBezTo>
                  <a:pt x="9985768" y="2936655"/>
                  <a:pt x="9975075" y="2952675"/>
                  <a:pt x="9966455" y="2968448"/>
                </a:cubicBezTo>
                <a:cubicBezTo>
                  <a:pt x="9963884" y="2964545"/>
                  <a:pt x="9963635" y="2962470"/>
                  <a:pt x="9963386" y="2960394"/>
                </a:cubicBezTo>
                <a:cubicBezTo>
                  <a:pt x="9958328" y="2935736"/>
                  <a:pt x="9958328" y="2935736"/>
                  <a:pt x="9937023" y="2950924"/>
                </a:cubicBezTo>
                <a:cubicBezTo>
                  <a:pt x="9929479" y="2958144"/>
                  <a:pt x="9926908" y="2954242"/>
                  <a:pt x="9924089" y="2948263"/>
                </a:cubicBezTo>
                <a:cubicBezTo>
                  <a:pt x="9915880" y="2932405"/>
                  <a:pt x="9902698" y="2927670"/>
                  <a:pt x="9888688" y="2933561"/>
                </a:cubicBezTo>
                <a:cubicBezTo>
                  <a:pt x="9867134" y="2946673"/>
                  <a:pt x="9844087" y="2947332"/>
                  <a:pt x="9821289" y="2950066"/>
                </a:cubicBezTo>
                <a:cubicBezTo>
                  <a:pt x="9808854" y="2951558"/>
                  <a:pt x="9802885" y="2954378"/>
                  <a:pt x="9812669" y="2965837"/>
                </a:cubicBezTo>
                <a:cubicBezTo>
                  <a:pt x="9820381" y="2977546"/>
                  <a:pt x="9819304" y="2986096"/>
                  <a:pt x="9805792" y="2996138"/>
                </a:cubicBezTo>
                <a:cubicBezTo>
                  <a:pt x="9825191" y="3000128"/>
                  <a:pt x="9844342" y="3002041"/>
                  <a:pt x="9861918" y="3008356"/>
                </a:cubicBezTo>
                <a:cubicBezTo>
                  <a:pt x="9879245" y="3012593"/>
                  <a:pt x="9896822" y="3018907"/>
                  <a:pt x="9910999" y="3031944"/>
                </a:cubicBezTo>
                <a:cubicBezTo>
                  <a:pt x="9884804" y="3041403"/>
                  <a:pt x="9884804" y="3041403"/>
                  <a:pt x="9843184" y="3027445"/>
                </a:cubicBezTo>
                <a:cubicBezTo>
                  <a:pt x="9816820" y="3017975"/>
                  <a:pt x="9804634" y="3021542"/>
                  <a:pt x="9792366" y="3041962"/>
                </a:cubicBezTo>
                <a:cubicBezTo>
                  <a:pt x="9780348" y="3064458"/>
                  <a:pt x="9780348" y="3064458"/>
                  <a:pt x="9765174" y="3043118"/>
                </a:cubicBezTo>
                <a:cubicBezTo>
                  <a:pt x="9764925" y="3041042"/>
                  <a:pt x="9762604" y="3039215"/>
                  <a:pt x="9762355" y="3037140"/>
                </a:cubicBezTo>
                <a:cubicBezTo>
                  <a:pt x="9726867" y="2986655"/>
                  <a:pt x="9697602" y="2988060"/>
                  <a:pt x="9663700" y="3038445"/>
                </a:cubicBezTo>
                <a:cubicBezTo>
                  <a:pt x="9651433" y="3058865"/>
                  <a:pt x="9632201" y="3073804"/>
                  <a:pt x="9609901" y="3080689"/>
                </a:cubicBezTo>
                <a:cubicBezTo>
                  <a:pt x="9585279" y="3085748"/>
                  <a:pt x="9563558" y="3079931"/>
                  <a:pt x="9539764" y="3074363"/>
                </a:cubicBezTo>
                <a:cubicBezTo>
                  <a:pt x="9511327" y="3065142"/>
                  <a:pt x="9480818" y="3056168"/>
                  <a:pt x="9451304" y="3055497"/>
                </a:cubicBezTo>
                <a:cubicBezTo>
                  <a:pt x="9428257" y="3056155"/>
                  <a:pt x="9404713" y="3052664"/>
                  <a:pt x="9384815" y="3044523"/>
                </a:cubicBezTo>
                <a:cubicBezTo>
                  <a:pt x="9369311" y="3037960"/>
                  <a:pt x="9349663" y="3031896"/>
                  <a:pt x="9333829" y="3040111"/>
                </a:cubicBezTo>
                <a:cubicBezTo>
                  <a:pt x="9314099" y="3050898"/>
                  <a:pt x="9302492" y="3041764"/>
                  <a:pt x="9290387" y="3028477"/>
                </a:cubicBezTo>
                <a:cubicBezTo>
                  <a:pt x="9268498" y="3003733"/>
                  <a:pt x="9254401" y="2973842"/>
                  <a:pt x="9250169" y="2938558"/>
                </a:cubicBezTo>
                <a:cubicBezTo>
                  <a:pt x="9249173" y="2930255"/>
                  <a:pt x="9248178" y="2921953"/>
                  <a:pt x="9235244" y="2919293"/>
                </a:cubicBezTo>
                <a:cubicBezTo>
                  <a:pt x="9222062" y="2914558"/>
                  <a:pt x="9219163" y="2925433"/>
                  <a:pt x="9213691" y="2932405"/>
                </a:cubicBezTo>
                <a:cubicBezTo>
                  <a:pt x="9210293" y="2939130"/>
                  <a:pt x="9206894" y="2945853"/>
                  <a:pt x="9203247" y="2950502"/>
                </a:cubicBezTo>
                <a:cubicBezTo>
                  <a:pt x="9188907" y="2971170"/>
                  <a:pt x="9166607" y="2978055"/>
                  <a:pt x="9144058" y="2982865"/>
                </a:cubicBezTo>
                <a:cubicBezTo>
                  <a:pt x="9125405" y="2985103"/>
                  <a:pt x="9123413" y="2968498"/>
                  <a:pt x="9113878" y="2959115"/>
                </a:cubicBezTo>
                <a:cubicBezTo>
                  <a:pt x="9105756" y="2979037"/>
                  <a:pt x="9090171" y="2989328"/>
                  <a:pt x="9071021" y="2987414"/>
                </a:cubicBezTo>
                <a:cubicBezTo>
                  <a:pt x="9047476" y="2983921"/>
                  <a:pt x="9024927" y="2988732"/>
                  <a:pt x="9002378" y="2993542"/>
                </a:cubicBezTo>
                <a:cubicBezTo>
                  <a:pt x="8954958" y="3001335"/>
                  <a:pt x="8908117" y="2996425"/>
                  <a:pt x="8868403" y="2963290"/>
                </a:cubicBezTo>
                <a:cubicBezTo>
                  <a:pt x="8861439" y="2957810"/>
                  <a:pt x="8854474" y="2952329"/>
                  <a:pt x="8846682" y="2957474"/>
                </a:cubicBezTo>
                <a:cubicBezTo>
                  <a:pt x="8831346" y="2969840"/>
                  <a:pt x="8814517" y="2969754"/>
                  <a:pt x="8797687" y="2969667"/>
                </a:cubicBezTo>
                <a:cubicBezTo>
                  <a:pt x="8791470" y="2970413"/>
                  <a:pt x="8787574" y="2972984"/>
                  <a:pt x="8784175" y="2979708"/>
                </a:cubicBezTo>
                <a:cubicBezTo>
                  <a:pt x="8781275" y="2990584"/>
                  <a:pt x="8772736" y="2989502"/>
                  <a:pt x="8763948" y="2986345"/>
                </a:cubicBezTo>
                <a:cubicBezTo>
                  <a:pt x="8753087" y="2983437"/>
                  <a:pt x="8738828" y="2987252"/>
                  <a:pt x="8734764" y="2970896"/>
                </a:cubicBezTo>
                <a:cubicBezTo>
                  <a:pt x="8732772" y="2954292"/>
                  <a:pt x="8721663" y="2949309"/>
                  <a:pt x="8708730" y="2946649"/>
                </a:cubicBezTo>
                <a:cubicBezTo>
                  <a:pt x="8697869" y="2943741"/>
                  <a:pt x="8685435" y="2945232"/>
                  <a:pt x="8680293" y="2937427"/>
                </a:cubicBezTo>
                <a:cubicBezTo>
                  <a:pt x="8669762" y="2919741"/>
                  <a:pt x="8655753" y="2925633"/>
                  <a:pt x="8639172" y="2927621"/>
                </a:cubicBezTo>
                <a:cubicBezTo>
                  <a:pt x="8633203" y="2930442"/>
                  <a:pt x="8626737" y="2929113"/>
                  <a:pt x="8620519" y="2929859"/>
                </a:cubicBezTo>
                <a:cubicBezTo>
                  <a:pt x="8591255" y="2931262"/>
                  <a:pt x="8561492" y="2928516"/>
                  <a:pt x="8532725" y="2934071"/>
                </a:cubicBezTo>
                <a:cubicBezTo>
                  <a:pt x="8520539" y="2937639"/>
                  <a:pt x="8503958" y="2939627"/>
                  <a:pt x="8500809" y="2948426"/>
                </a:cubicBezTo>
                <a:cubicBezTo>
                  <a:pt x="8498158" y="2961377"/>
                  <a:pt x="8515485" y="2965615"/>
                  <a:pt x="8526594" y="2970599"/>
                </a:cubicBezTo>
                <a:cubicBezTo>
                  <a:pt x="8528916" y="2972426"/>
                  <a:pt x="8531237" y="2974253"/>
                  <a:pt x="8533310" y="2974004"/>
                </a:cubicBezTo>
                <a:cubicBezTo>
                  <a:pt x="8567136" y="2993107"/>
                  <a:pt x="8574020" y="3015441"/>
                  <a:pt x="8552883" y="3049557"/>
                </a:cubicBezTo>
                <a:cubicBezTo>
                  <a:pt x="8543099" y="3038098"/>
                  <a:pt x="8534641" y="3020163"/>
                  <a:pt x="8517065" y="3013850"/>
                </a:cubicBezTo>
                <a:cubicBezTo>
                  <a:pt x="8497417" y="3007785"/>
                  <a:pt x="8484402" y="3021978"/>
                  <a:pt x="8468569" y="3030193"/>
                </a:cubicBezTo>
                <a:cubicBezTo>
                  <a:pt x="8462849" y="3035090"/>
                  <a:pt x="8456382" y="3033761"/>
                  <a:pt x="8457210" y="3023134"/>
                </a:cubicBezTo>
                <a:cubicBezTo>
                  <a:pt x="8458785" y="3018734"/>
                  <a:pt x="8458287" y="3014583"/>
                  <a:pt x="8459862" y="3010184"/>
                </a:cubicBezTo>
                <a:cubicBezTo>
                  <a:pt x="8461188" y="3003709"/>
                  <a:pt x="8462513" y="2997233"/>
                  <a:pt x="8457621" y="2991504"/>
                </a:cubicBezTo>
                <a:cubicBezTo>
                  <a:pt x="8455051" y="2987601"/>
                  <a:pt x="8449580" y="2994573"/>
                  <a:pt x="8445435" y="2995071"/>
                </a:cubicBezTo>
                <a:cubicBezTo>
                  <a:pt x="8431674" y="3003038"/>
                  <a:pt x="8426782" y="2997308"/>
                  <a:pt x="8427361" y="2984605"/>
                </a:cubicBezTo>
                <a:cubicBezTo>
                  <a:pt x="8426863" y="2980454"/>
                  <a:pt x="8430510" y="2975806"/>
                  <a:pt x="8423795" y="2972401"/>
                </a:cubicBezTo>
                <a:cubicBezTo>
                  <a:pt x="8394038" y="3022289"/>
                  <a:pt x="8377956" y="3028429"/>
                  <a:pt x="8319009" y="3010234"/>
                </a:cubicBezTo>
                <a:cubicBezTo>
                  <a:pt x="8316937" y="3010482"/>
                  <a:pt x="8316937" y="3010482"/>
                  <a:pt x="8314614" y="3008655"/>
                </a:cubicBezTo>
                <a:cubicBezTo>
                  <a:pt x="8268603" y="2993120"/>
                  <a:pt x="8221513" y="2986135"/>
                  <a:pt x="8174591" y="2998078"/>
                </a:cubicBezTo>
                <a:cubicBezTo>
                  <a:pt x="8158259" y="3002142"/>
                  <a:pt x="8147150" y="2997159"/>
                  <a:pt x="8139439" y="2985451"/>
                </a:cubicBezTo>
                <a:cubicBezTo>
                  <a:pt x="8129406" y="2971917"/>
                  <a:pt x="8113902" y="2965354"/>
                  <a:pt x="8099146" y="2965018"/>
                </a:cubicBezTo>
                <a:cubicBezTo>
                  <a:pt x="8073528" y="2961775"/>
                  <a:pt x="8046087" y="2960855"/>
                  <a:pt x="8019144" y="2964087"/>
                </a:cubicBezTo>
                <a:cubicBezTo>
                  <a:pt x="7996346" y="2966821"/>
                  <a:pt x="7993197" y="2975620"/>
                  <a:pt x="8003976" y="2995382"/>
                </a:cubicBezTo>
                <a:cubicBezTo>
                  <a:pt x="8006795" y="3001360"/>
                  <a:pt x="8013511" y="3004765"/>
                  <a:pt x="8008040" y="3011737"/>
                </a:cubicBezTo>
                <a:cubicBezTo>
                  <a:pt x="7998673" y="3021283"/>
                  <a:pt x="8002239" y="3033487"/>
                  <a:pt x="8003733" y="3045940"/>
                </a:cubicBezTo>
                <a:cubicBezTo>
                  <a:pt x="8004480" y="3052167"/>
                  <a:pt x="8007548" y="3060221"/>
                  <a:pt x="7999507" y="3063291"/>
                </a:cubicBezTo>
                <a:cubicBezTo>
                  <a:pt x="7991465" y="3066360"/>
                  <a:pt x="7986324" y="3058556"/>
                  <a:pt x="7983505" y="3052577"/>
                </a:cubicBezTo>
                <a:cubicBezTo>
                  <a:pt x="7975296" y="3036719"/>
                  <a:pt x="7967336" y="3022935"/>
                  <a:pt x="7959376" y="3009153"/>
                </a:cubicBezTo>
                <a:cubicBezTo>
                  <a:pt x="7938812" y="2977932"/>
                  <a:pt x="7911950" y="2964310"/>
                  <a:pt x="7874893" y="2970861"/>
                </a:cubicBezTo>
                <a:cubicBezTo>
                  <a:pt x="7856241" y="2973098"/>
                  <a:pt x="7837836" y="2977410"/>
                  <a:pt x="7819184" y="2979647"/>
                </a:cubicBezTo>
                <a:cubicBezTo>
                  <a:pt x="7796635" y="2984457"/>
                  <a:pt x="7782954" y="2975570"/>
                  <a:pt x="7774248" y="2955561"/>
                </a:cubicBezTo>
                <a:cubicBezTo>
                  <a:pt x="7771677" y="2951658"/>
                  <a:pt x="7773002" y="2945183"/>
                  <a:pt x="7766537" y="2943853"/>
                </a:cubicBezTo>
                <a:cubicBezTo>
                  <a:pt x="7759989" y="2959377"/>
                  <a:pt x="7751618" y="2977224"/>
                  <a:pt x="7745319" y="2994823"/>
                </a:cubicBezTo>
                <a:cubicBezTo>
                  <a:pt x="7735124" y="3014994"/>
                  <a:pt x="7735124" y="3014994"/>
                  <a:pt x="7722521" y="2997557"/>
                </a:cubicBezTo>
                <a:cubicBezTo>
                  <a:pt x="7712238" y="2981946"/>
                  <a:pt x="7701379" y="2979038"/>
                  <a:pt x="7686292" y="2993480"/>
                </a:cubicBezTo>
                <a:cubicBezTo>
                  <a:pt x="7673029" y="3005598"/>
                  <a:pt x="7656697" y="3009662"/>
                  <a:pt x="7637547" y="3007749"/>
                </a:cubicBezTo>
                <a:cubicBezTo>
                  <a:pt x="7610105" y="3006829"/>
                  <a:pt x="7583741" y="2997358"/>
                  <a:pt x="7557377" y="2987887"/>
                </a:cubicBezTo>
                <a:cubicBezTo>
                  <a:pt x="7531012" y="2978417"/>
                  <a:pt x="7520899" y="2981735"/>
                  <a:pt x="7504487" y="3002653"/>
                </a:cubicBezTo>
                <a:cubicBezTo>
                  <a:pt x="7486499" y="3027970"/>
                  <a:pt x="7463452" y="3028628"/>
                  <a:pt x="7445708" y="3003386"/>
                </a:cubicBezTo>
                <a:cubicBezTo>
                  <a:pt x="7428462" y="2982295"/>
                  <a:pt x="7428462" y="2982295"/>
                  <a:pt x="7412298" y="3005287"/>
                </a:cubicBezTo>
                <a:cubicBezTo>
                  <a:pt x="7410226" y="3005536"/>
                  <a:pt x="7410475" y="3007611"/>
                  <a:pt x="7408403" y="3007860"/>
                </a:cubicBezTo>
                <a:cubicBezTo>
                  <a:pt x="7401357" y="3019232"/>
                  <a:pt x="7392818" y="3018151"/>
                  <a:pt x="7385106" y="3006443"/>
                </a:cubicBezTo>
                <a:cubicBezTo>
                  <a:pt x="7382286" y="3000465"/>
                  <a:pt x="7379467" y="2994488"/>
                  <a:pt x="7376648" y="2988509"/>
                </a:cubicBezTo>
                <a:cubicBezTo>
                  <a:pt x="7365869" y="2968748"/>
                  <a:pt x="7350117" y="2960110"/>
                  <a:pt x="7330138" y="2968822"/>
                </a:cubicBezTo>
                <a:cubicBezTo>
                  <a:pt x="7313144" y="2976124"/>
                  <a:pt x="7295899" y="2981350"/>
                  <a:pt x="7279040" y="2987583"/>
                </a:cubicBezTo>
                <a:lnTo>
                  <a:pt x="7276910" y="2988666"/>
                </a:lnTo>
                <a:lnTo>
                  <a:pt x="7279854" y="3007526"/>
                </a:lnTo>
                <a:cubicBezTo>
                  <a:pt x="7260852" y="3011902"/>
                  <a:pt x="7257808" y="3019417"/>
                  <a:pt x="7265230" y="3030931"/>
                </a:cubicBezTo>
                <a:cubicBezTo>
                  <a:pt x="7267246" y="3034841"/>
                  <a:pt x="7273166" y="3036733"/>
                  <a:pt x="7271065" y="3041285"/>
                </a:cubicBezTo>
                <a:cubicBezTo>
                  <a:pt x="7267591" y="3046052"/>
                  <a:pt x="7261886" y="3045535"/>
                  <a:pt x="7257553" y="3044803"/>
                </a:cubicBezTo>
                <a:cubicBezTo>
                  <a:pt x="7253435" y="3045446"/>
                  <a:pt x="7250476" y="3044500"/>
                  <a:pt x="7247516" y="3043554"/>
                </a:cubicBezTo>
                <a:cubicBezTo>
                  <a:pt x="7238851" y="3042091"/>
                  <a:pt x="7234947" y="3044108"/>
                  <a:pt x="7235077" y="3053945"/>
                </a:cubicBezTo>
                <a:cubicBezTo>
                  <a:pt x="7234564" y="3059658"/>
                  <a:pt x="7231733" y="3068548"/>
                  <a:pt x="7224226" y="3065495"/>
                </a:cubicBezTo>
                <a:cubicBezTo>
                  <a:pt x="7213974" y="3062873"/>
                  <a:pt x="7204365" y="3064373"/>
                  <a:pt x="7194543" y="3064498"/>
                </a:cubicBezTo>
                <a:cubicBezTo>
                  <a:pt x="7186092" y="3064409"/>
                  <a:pt x="7176055" y="3063161"/>
                  <a:pt x="7166876" y="3067410"/>
                </a:cubicBezTo>
                <a:cubicBezTo>
                  <a:pt x="7159069" y="3071445"/>
                  <a:pt x="7149890" y="3075694"/>
                  <a:pt x="7158900" y="3088369"/>
                </a:cubicBezTo>
                <a:cubicBezTo>
                  <a:pt x="7162289" y="3092065"/>
                  <a:pt x="7159973" y="3095242"/>
                  <a:pt x="7154697" y="3097473"/>
                </a:cubicBezTo>
                <a:cubicBezTo>
                  <a:pt x="7134108" y="3100688"/>
                  <a:pt x="7126386" y="3096261"/>
                  <a:pt x="7121795" y="3075857"/>
                </a:cubicBezTo>
                <a:cubicBezTo>
                  <a:pt x="7120720" y="3068984"/>
                  <a:pt x="7118490" y="3063700"/>
                  <a:pt x="7112570" y="3061808"/>
                </a:cubicBezTo>
                <a:cubicBezTo>
                  <a:pt x="7107444" y="3060496"/>
                  <a:pt x="7102371" y="3059528"/>
                  <a:pt x="7097262" y="3059446"/>
                </a:cubicBezTo>
                <a:lnTo>
                  <a:pt x="7088766" y="3061061"/>
                </a:lnTo>
                <a:lnTo>
                  <a:pt x="7087097" y="3065608"/>
                </a:lnTo>
                <a:lnTo>
                  <a:pt x="7079589" y="3067494"/>
                </a:lnTo>
                <a:lnTo>
                  <a:pt x="7080271" y="3071075"/>
                </a:lnTo>
                <a:cubicBezTo>
                  <a:pt x="7080916" y="3075199"/>
                  <a:pt x="7081774" y="3080697"/>
                  <a:pt x="7079458" y="3083876"/>
                </a:cubicBezTo>
                <a:cubicBezTo>
                  <a:pt x="7075983" y="3088642"/>
                  <a:pt x="7071995" y="3099121"/>
                  <a:pt x="7066591" y="3091517"/>
                </a:cubicBezTo>
                <a:cubicBezTo>
                  <a:pt x="7059920" y="3084814"/>
                  <a:pt x="7053152" y="3081998"/>
                  <a:pt x="7046166" y="3081153"/>
                </a:cubicBezTo>
                <a:lnTo>
                  <a:pt x="7027259" y="3082421"/>
                </a:lnTo>
                <a:lnTo>
                  <a:pt x="7023450" y="3095875"/>
                </a:lnTo>
                <a:cubicBezTo>
                  <a:pt x="7023639" y="3104010"/>
                  <a:pt x="7024696" y="3112831"/>
                  <a:pt x="7022583" y="3121506"/>
                </a:cubicBezTo>
                <a:cubicBezTo>
                  <a:pt x="7010478" y="3108221"/>
                  <a:pt x="7004840" y="3096264"/>
                  <a:pt x="7005169" y="3081487"/>
                </a:cubicBezTo>
                <a:lnTo>
                  <a:pt x="7005789" y="3079236"/>
                </a:lnTo>
                <a:lnTo>
                  <a:pt x="6999586" y="3076633"/>
                </a:lnTo>
                <a:cubicBezTo>
                  <a:pt x="6992100" y="3071465"/>
                  <a:pt x="6985213" y="3067876"/>
                  <a:pt x="6978865" y="3065919"/>
                </a:cubicBezTo>
                <a:lnTo>
                  <a:pt x="6966128" y="3065246"/>
                </a:lnTo>
                <a:lnTo>
                  <a:pt x="6963800" y="3069605"/>
                </a:lnTo>
                <a:cubicBezTo>
                  <a:pt x="6955428" y="3087453"/>
                  <a:pt x="6946808" y="3103224"/>
                  <a:pt x="6926580" y="3109861"/>
                </a:cubicBezTo>
                <a:cubicBezTo>
                  <a:pt x="6918540" y="3112931"/>
                  <a:pt x="6919286" y="3119158"/>
                  <a:pt x="6918209" y="3127708"/>
                </a:cubicBezTo>
                <a:cubicBezTo>
                  <a:pt x="6915558" y="3140659"/>
                  <a:pt x="6919621" y="3157014"/>
                  <a:pt x="6908680" y="3170960"/>
                </a:cubicBezTo>
                <a:cubicBezTo>
                  <a:pt x="6905861" y="3164981"/>
                  <a:pt x="6903290" y="3161079"/>
                  <a:pt x="6900471" y="3155101"/>
                </a:cubicBezTo>
                <a:cubicBezTo>
                  <a:pt x="6885546" y="3135836"/>
                  <a:pt x="6872613" y="3133177"/>
                  <a:pt x="6853381" y="3148116"/>
                </a:cubicBezTo>
                <a:cubicBezTo>
                  <a:pt x="6836222" y="3162806"/>
                  <a:pt x="6815745" y="3167368"/>
                  <a:pt x="6794522" y="3165702"/>
                </a:cubicBezTo>
                <a:cubicBezTo>
                  <a:pt x="6779516" y="3163291"/>
                  <a:pt x="6764759" y="3162956"/>
                  <a:pt x="6747681" y="3160793"/>
                </a:cubicBezTo>
                <a:cubicBezTo>
                  <a:pt x="6724260" y="3158338"/>
                  <a:pt x="6700778" y="3155365"/>
                  <a:pt x="6677627" y="3150773"/>
                </a:cubicBezTo>
                <a:lnTo>
                  <a:pt x="6614638" y="3132511"/>
                </a:lnTo>
                <a:lnTo>
                  <a:pt x="6608124" y="3141627"/>
                </a:lnTo>
                <a:cubicBezTo>
                  <a:pt x="6605636" y="3144833"/>
                  <a:pt x="6602816" y="3147032"/>
                  <a:pt x="6598484" y="3146300"/>
                </a:cubicBezTo>
                <a:cubicBezTo>
                  <a:pt x="6589819" y="3144838"/>
                  <a:pt x="6589689" y="3135001"/>
                  <a:pt x="6588616" y="3128128"/>
                </a:cubicBezTo>
                <a:cubicBezTo>
                  <a:pt x="6587543" y="3121256"/>
                  <a:pt x="6582481" y="3124862"/>
                  <a:pt x="6578150" y="3124130"/>
                </a:cubicBezTo>
                <a:cubicBezTo>
                  <a:pt x="6574031" y="3124773"/>
                  <a:pt x="6569913" y="3125416"/>
                  <a:pt x="6572144" y="3130700"/>
                </a:cubicBezTo>
                <a:cubicBezTo>
                  <a:pt x="6577251" y="3145392"/>
                  <a:pt x="6569658" y="3150801"/>
                  <a:pt x="6557520" y="3154105"/>
                </a:cubicBezTo>
                <a:cubicBezTo>
                  <a:pt x="6545381" y="3157409"/>
                  <a:pt x="6544866" y="3163121"/>
                  <a:pt x="6554605" y="3171458"/>
                </a:cubicBezTo>
                <a:cubicBezTo>
                  <a:pt x="6556406" y="3173992"/>
                  <a:pt x="6560739" y="3174725"/>
                  <a:pt x="6565072" y="3175456"/>
                </a:cubicBezTo>
                <a:cubicBezTo>
                  <a:pt x="6603335" y="3186379"/>
                  <a:pt x="6643056" y="3188626"/>
                  <a:pt x="6683506" y="3186534"/>
                </a:cubicBezTo>
                <a:cubicBezTo>
                  <a:pt x="6715720" y="3185729"/>
                  <a:pt x="6745618" y="3188102"/>
                  <a:pt x="6774918" y="3204648"/>
                </a:cubicBezTo>
                <a:cubicBezTo>
                  <a:pt x="6791947" y="3214662"/>
                  <a:pt x="6805505" y="3229443"/>
                  <a:pt x="6817903" y="3245812"/>
                </a:cubicBezTo>
                <a:cubicBezTo>
                  <a:pt x="6824936" y="3227817"/>
                  <a:pt x="6831584" y="3225371"/>
                  <a:pt x="6847457" y="3236973"/>
                </a:cubicBezTo>
                <a:cubicBezTo>
                  <a:pt x="6852218" y="3240454"/>
                  <a:pt x="6856037" y="3246898"/>
                  <a:pt x="6855736" y="3253986"/>
                </a:cubicBezTo>
                <a:cubicBezTo>
                  <a:pt x="6856296" y="3266572"/>
                  <a:pt x="6866548" y="3269196"/>
                  <a:pt x="6876370" y="3269070"/>
                </a:cubicBezTo>
                <a:cubicBezTo>
                  <a:pt x="6886408" y="3270319"/>
                  <a:pt x="6889453" y="3262803"/>
                  <a:pt x="6892498" y="3255287"/>
                </a:cubicBezTo>
                <a:cubicBezTo>
                  <a:pt x="6894170" y="3247986"/>
                  <a:pt x="6892882" y="3239737"/>
                  <a:pt x="6899830" y="3230204"/>
                </a:cubicBezTo>
                <a:cubicBezTo>
                  <a:pt x="6898288" y="3247343"/>
                  <a:pt x="6907167" y="3250181"/>
                  <a:pt x="6918578" y="3251215"/>
                </a:cubicBezTo>
                <a:cubicBezTo>
                  <a:pt x="6928400" y="3251089"/>
                  <a:pt x="6940455" y="3256248"/>
                  <a:pt x="6940370" y="3264710"/>
                </a:cubicBezTo>
                <a:cubicBezTo>
                  <a:pt x="6939985" y="3280259"/>
                  <a:pt x="6940974" y="3295594"/>
                  <a:pt x="6933298" y="3309465"/>
                </a:cubicBezTo>
                <a:cubicBezTo>
                  <a:pt x="6928879" y="3317196"/>
                  <a:pt x="6923604" y="3319428"/>
                  <a:pt x="6913780" y="3319554"/>
                </a:cubicBezTo>
                <a:cubicBezTo>
                  <a:pt x="6906489" y="3317876"/>
                  <a:pt x="6903314" y="3315556"/>
                  <a:pt x="6903399" y="3307093"/>
                </a:cubicBezTo>
                <a:cubicBezTo>
                  <a:pt x="6902541" y="3301595"/>
                  <a:pt x="6897993" y="3299488"/>
                  <a:pt x="6893876" y="3300131"/>
                </a:cubicBezTo>
                <a:cubicBezTo>
                  <a:pt x="6877619" y="3304078"/>
                  <a:pt x="6866723" y="3297331"/>
                  <a:pt x="6855613" y="3289208"/>
                </a:cubicBezTo>
                <a:cubicBezTo>
                  <a:pt x="6844715" y="3282462"/>
                  <a:pt x="6833306" y="3281426"/>
                  <a:pt x="6825200" y="3292549"/>
                </a:cubicBezTo>
                <a:cubicBezTo>
                  <a:pt x="6819410" y="3300493"/>
                  <a:pt x="6816235" y="3298173"/>
                  <a:pt x="6816320" y="3289711"/>
                </a:cubicBezTo>
                <a:cubicBezTo>
                  <a:pt x="6815461" y="3284213"/>
                  <a:pt x="6812502" y="3283267"/>
                  <a:pt x="6806582" y="3281375"/>
                </a:cubicBezTo>
                <a:cubicBezTo>
                  <a:pt x="6781960" y="3276771"/>
                  <a:pt x="6757253" y="3280628"/>
                  <a:pt x="6735206" y="3292520"/>
                </a:cubicBezTo>
                <a:cubicBezTo>
                  <a:pt x="6723711" y="3299947"/>
                  <a:pt x="6711358" y="3301875"/>
                  <a:pt x="6698574" y="3301055"/>
                </a:cubicBezTo>
                <a:cubicBezTo>
                  <a:pt x="6687165" y="3300020"/>
                  <a:pt x="6676483" y="3294647"/>
                  <a:pt x="6667175" y="3289061"/>
                </a:cubicBezTo>
                <a:cubicBezTo>
                  <a:pt x="6662413" y="3285580"/>
                  <a:pt x="6658810" y="3280510"/>
                  <a:pt x="6652590" y="3285705"/>
                </a:cubicBezTo>
                <a:cubicBezTo>
                  <a:pt x="6646371" y="3290901"/>
                  <a:pt x="6647229" y="3296399"/>
                  <a:pt x="6649675" y="3303058"/>
                </a:cubicBezTo>
                <a:cubicBezTo>
                  <a:pt x="6651907" y="3308342"/>
                  <a:pt x="6655295" y="3312037"/>
                  <a:pt x="6654782" y="3317750"/>
                </a:cubicBezTo>
                <a:cubicBezTo>
                  <a:pt x="6657142" y="3332871"/>
                  <a:pt x="6665078" y="3338672"/>
                  <a:pt x="6679233" y="3339278"/>
                </a:cubicBezTo>
                <a:cubicBezTo>
                  <a:pt x="6704800" y="3340919"/>
                  <a:pt x="6727835" y="3344363"/>
                  <a:pt x="6752457" y="3348966"/>
                </a:cubicBezTo>
                <a:cubicBezTo>
                  <a:pt x="6767256" y="3353697"/>
                  <a:pt x="6769701" y="3360355"/>
                  <a:pt x="6761810" y="3372852"/>
                </a:cubicBezTo>
                <a:cubicBezTo>
                  <a:pt x="6760438" y="3373067"/>
                  <a:pt x="6760653" y="3374441"/>
                  <a:pt x="6760866" y="3375816"/>
                </a:cubicBezTo>
                <a:cubicBezTo>
                  <a:pt x="6760268" y="3389990"/>
                  <a:pt x="6751947" y="3399739"/>
                  <a:pt x="6743413" y="3408112"/>
                </a:cubicBezTo>
                <a:cubicBezTo>
                  <a:pt x="6737408" y="3414682"/>
                  <a:pt x="6734233" y="3412362"/>
                  <a:pt x="6732001" y="3407078"/>
                </a:cubicBezTo>
                <a:cubicBezTo>
                  <a:pt x="6727325" y="3395134"/>
                  <a:pt x="6733329" y="3388564"/>
                  <a:pt x="6744096" y="3385475"/>
                </a:cubicBezTo>
                <a:cubicBezTo>
                  <a:pt x="6740278" y="3379031"/>
                  <a:pt x="6735301" y="3374176"/>
                  <a:pt x="6728438" y="3375247"/>
                </a:cubicBezTo>
                <a:cubicBezTo>
                  <a:pt x="6724320" y="3375890"/>
                  <a:pt x="6723806" y="3381603"/>
                  <a:pt x="6723078" y="3385941"/>
                </a:cubicBezTo>
                <a:cubicBezTo>
                  <a:pt x="6720806" y="3407417"/>
                  <a:pt x="6715960" y="3412398"/>
                  <a:pt x="6695156" y="3414238"/>
                </a:cubicBezTo>
                <a:cubicBezTo>
                  <a:pt x="6675511" y="3414489"/>
                  <a:pt x="6654921" y="3417704"/>
                  <a:pt x="6636134" y="3423454"/>
                </a:cubicBezTo>
                <a:cubicBezTo>
                  <a:pt x="6610698" y="3431650"/>
                  <a:pt x="6604349" y="3427008"/>
                  <a:pt x="6604389" y="3400249"/>
                </a:cubicBezTo>
                <a:cubicBezTo>
                  <a:pt x="6604175" y="3398873"/>
                  <a:pt x="6603960" y="3397499"/>
                  <a:pt x="6603744" y="3396125"/>
                </a:cubicBezTo>
                <a:cubicBezTo>
                  <a:pt x="6604474" y="3391786"/>
                  <a:pt x="6607732" y="3385645"/>
                  <a:pt x="6600440" y="3383968"/>
                </a:cubicBezTo>
                <a:cubicBezTo>
                  <a:pt x="6593363" y="3383664"/>
                  <a:pt x="6586071" y="3381987"/>
                  <a:pt x="6583240" y="3390877"/>
                </a:cubicBezTo>
                <a:cubicBezTo>
                  <a:pt x="6581354" y="3396804"/>
                  <a:pt x="6579252" y="3401357"/>
                  <a:pt x="6578738" y="3407069"/>
                </a:cubicBezTo>
                <a:cubicBezTo>
                  <a:pt x="6574536" y="3416175"/>
                  <a:pt x="6569260" y="3418406"/>
                  <a:pt x="6560166" y="3414194"/>
                </a:cubicBezTo>
                <a:cubicBezTo>
                  <a:pt x="6551286" y="3411356"/>
                  <a:pt x="6551585" y="3404269"/>
                  <a:pt x="6556217" y="3397913"/>
                </a:cubicBezTo>
                <a:cubicBezTo>
                  <a:pt x="6557160" y="3394949"/>
                  <a:pt x="6558319" y="3393360"/>
                  <a:pt x="6559262" y="3390397"/>
                </a:cubicBezTo>
                <a:cubicBezTo>
                  <a:pt x="6561579" y="3387219"/>
                  <a:pt x="6560934" y="3383095"/>
                  <a:pt x="6557760" y="3380775"/>
                </a:cubicBezTo>
                <a:cubicBezTo>
                  <a:pt x="6553212" y="3378668"/>
                  <a:pt x="6552484" y="3383007"/>
                  <a:pt x="6549953" y="3384810"/>
                </a:cubicBezTo>
                <a:cubicBezTo>
                  <a:pt x="6545106" y="3389791"/>
                  <a:pt x="6541848" y="3395932"/>
                  <a:pt x="6540175" y="3403234"/>
                </a:cubicBezTo>
                <a:cubicBezTo>
                  <a:pt x="6533358" y="3422604"/>
                  <a:pt x="6525551" y="3426639"/>
                  <a:pt x="6506204" y="3419803"/>
                </a:cubicBezTo>
                <a:cubicBezTo>
                  <a:pt x="6497325" y="3416965"/>
                  <a:pt x="6488231" y="3412752"/>
                  <a:pt x="6479352" y="3409915"/>
                </a:cubicBezTo>
                <a:cubicBezTo>
                  <a:pt x="6473431" y="3408022"/>
                  <a:pt x="6466353" y="3407720"/>
                  <a:pt x="6461936" y="3415450"/>
                </a:cubicBezTo>
                <a:cubicBezTo>
                  <a:pt x="6456361" y="3424769"/>
                  <a:pt x="6453745" y="3435035"/>
                  <a:pt x="6439805" y="3435802"/>
                </a:cubicBezTo>
                <a:cubicBezTo>
                  <a:pt x="6431355" y="3435714"/>
                  <a:pt x="6426293" y="3439321"/>
                  <a:pt x="6418572" y="3434894"/>
                </a:cubicBezTo>
                <a:cubicBezTo>
                  <a:pt x="6379749" y="3411385"/>
                  <a:pt x="6340243" y="3410513"/>
                  <a:pt x="6298980" y="3425405"/>
                </a:cubicBezTo>
                <a:cubicBezTo>
                  <a:pt x="6292332" y="3427851"/>
                  <a:pt x="6286627" y="3427334"/>
                  <a:pt x="6280492" y="3424067"/>
                </a:cubicBezTo>
                <a:cubicBezTo>
                  <a:pt x="6266206" y="3413624"/>
                  <a:pt x="6250894" y="3414607"/>
                  <a:pt x="6234851" y="3419928"/>
                </a:cubicBezTo>
                <a:cubicBezTo>
                  <a:pt x="6212376" y="3429070"/>
                  <a:pt x="6192859" y="3439158"/>
                  <a:pt x="6173987" y="3453369"/>
                </a:cubicBezTo>
                <a:cubicBezTo>
                  <a:pt x="6165238" y="3460368"/>
                  <a:pt x="6156488" y="3467366"/>
                  <a:pt x="6145292" y="3467707"/>
                </a:cubicBezTo>
                <a:cubicBezTo>
                  <a:pt x="6108317" y="3465031"/>
                  <a:pt x="6069882" y="3471032"/>
                  <a:pt x="6034149" y="3458306"/>
                </a:cubicBezTo>
                <a:cubicBezTo>
                  <a:pt x="6026643" y="3455254"/>
                  <a:pt x="6021368" y="3457485"/>
                  <a:pt x="6015362" y="3464055"/>
                </a:cubicBezTo>
                <a:cubicBezTo>
                  <a:pt x="6013047" y="3467233"/>
                  <a:pt x="6010730" y="3470411"/>
                  <a:pt x="6008201" y="3472215"/>
                </a:cubicBezTo>
                <a:cubicBezTo>
                  <a:pt x="6001552" y="3474661"/>
                  <a:pt x="6003354" y="3477196"/>
                  <a:pt x="6005370" y="3481105"/>
                </a:cubicBezTo>
                <a:cubicBezTo>
                  <a:pt x="6009403" y="3488924"/>
                  <a:pt x="6015537" y="3492191"/>
                  <a:pt x="6023774" y="3490905"/>
                </a:cubicBezTo>
                <a:cubicBezTo>
                  <a:pt x="6033382" y="3489405"/>
                  <a:pt x="6038787" y="3497009"/>
                  <a:pt x="6038702" y="3505471"/>
                </a:cubicBezTo>
                <a:cubicBezTo>
                  <a:pt x="6038403" y="3512558"/>
                  <a:pt x="6029738" y="3511095"/>
                  <a:pt x="6024033" y="3510578"/>
                </a:cubicBezTo>
                <a:cubicBezTo>
                  <a:pt x="6008505" y="3510186"/>
                  <a:pt x="6002455" y="3498458"/>
                  <a:pt x="5996620" y="3488103"/>
                </a:cubicBezTo>
                <a:cubicBezTo>
                  <a:pt x="5971394" y="3452615"/>
                  <a:pt x="5936520" y="3445388"/>
                  <a:pt x="5901092" y="3470633"/>
                </a:cubicBezTo>
                <a:cubicBezTo>
                  <a:pt x="5892126" y="3476257"/>
                  <a:pt x="5882948" y="3480506"/>
                  <a:pt x="5873125" y="3480631"/>
                </a:cubicBezTo>
                <a:cubicBezTo>
                  <a:pt x="5866262" y="3481703"/>
                  <a:pt x="5863302" y="3480757"/>
                  <a:pt x="5862229" y="3473885"/>
                </a:cubicBezTo>
                <a:cubicBezTo>
                  <a:pt x="5858925" y="3461728"/>
                  <a:pt x="5854163" y="3458247"/>
                  <a:pt x="5842453" y="3464300"/>
                </a:cubicBezTo>
                <a:cubicBezTo>
                  <a:pt x="5820192" y="3474816"/>
                  <a:pt x="5798231" y="3478245"/>
                  <a:pt x="5774896" y="3481888"/>
                </a:cubicBezTo>
                <a:cubicBezTo>
                  <a:pt x="5737620" y="3486299"/>
                  <a:pt x="5704593" y="3499905"/>
                  <a:pt x="5680060" y="3531898"/>
                </a:cubicBezTo>
                <a:cubicBezTo>
                  <a:pt x="5680060" y="3531898"/>
                  <a:pt x="5678474" y="3530738"/>
                  <a:pt x="5678258" y="3529364"/>
                </a:cubicBezTo>
                <a:cubicBezTo>
                  <a:pt x="5678988" y="3525025"/>
                  <a:pt x="5681089" y="3520473"/>
                  <a:pt x="5681603" y="3514760"/>
                </a:cubicBezTo>
                <a:cubicBezTo>
                  <a:pt x="5682416" y="3501960"/>
                  <a:pt x="5678812" y="3496891"/>
                  <a:pt x="5666029" y="3496070"/>
                </a:cubicBezTo>
                <a:cubicBezTo>
                  <a:pt x="5650502" y="3495678"/>
                  <a:pt x="5646813" y="3499070"/>
                  <a:pt x="5647802" y="3514405"/>
                </a:cubicBezTo>
                <a:cubicBezTo>
                  <a:pt x="5648446" y="3518529"/>
                  <a:pt x="5652478" y="3526348"/>
                  <a:pt x="5644243" y="3527635"/>
                </a:cubicBezTo>
                <a:cubicBezTo>
                  <a:pt x="5632104" y="3530938"/>
                  <a:pt x="5622151" y="3521227"/>
                  <a:pt x="5625924" y="3509372"/>
                </a:cubicBezTo>
                <a:cubicBezTo>
                  <a:pt x="5628969" y="3501856"/>
                  <a:pt x="5626954" y="3497946"/>
                  <a:pt x="5618288" y="3496484"/>
                </a:cubicBezTo>
                <a:cubicBezTo>
                  <a:pt x="5599371" y="3492397"/>
                  <a:pt x="5580240" y="3486935"/>
                  <a:pt x="5562051" y="3478510"/>
                </a:cubicBezTo>
                <a:cubicBezTo>
                  <a:pt x="5547037" y="3472405"/>
                  <a:pt x="5531723" y="3473388"/>
                  <a:pt x="5518127" y="3485368"/>
                </a:cubicBezTo>
                <a:cubicBezTo>
                  <a:pt x="5514653" y="3490135"/>
                  <a:pt x="5509377" y="3492367"/>
                  <a:pt x="5502514" y="3493439"/>
                </a:cubicBezTo>
                <a:cubicBezTo>
                  <a:pt x="5491318" y="3493779"/>
                  <a:pt x="5480123" y="3494118"/>
                  <a:pt x="5468927" y="3494458"/>
                </a:cubicBezTo>
                <a:cubicBezTo>
                  <a:pt x="5460692" y="3495744"/>
                  <a:pt x="5453186" y="3492692"/>
                  <a:pt x="5448937" y="3483499"/>
                </a:cubicBezTo>
                <a:cubicBezTo>
                  <a:pt x="5446063" y="3474091"/>
                  <a:pt x="5440357" y="3473573"/>
                  <a:pt x="5432550" y="3477608"/>
                </a:cubicBezTo>
                <a:cubicBezTo>
                  <a:pt x="5425902" y="3480054"/>
                  <a:pt x="5417882" y="3482716"/>
                  <a:pt x="5411233" y="3485161"/>
                </a:cubicBezTo>
                <a:cubicBezTo>
                  <a:pt x="5395407" y="3491857"/>
                  <a:pt x="5387299" y="3502979"/>
                  <a:pt x="5387129" y="3519904"/>
                </a:cubicBezTo>
                <a:cubicBezTo>
                  <a:pt x="5386616" y="3525616"/>
                  <a:pt x="5387474" y="3531115"/>
                  <a:pt x="5386960" y="3536827"/>
                </a:cubicBezTo>
                <a:cubicBezTo>
                  <a:pt x="5376403" y="3496232"/>
                  <a:pt x="5345133" y="3494074"/>
                  <a:pt x="5312704" y="3493505"/>
                </a:cubicBezTo>
                <a:cubicBezTo>
                  <a:pt x="5302666" y="3492256"/>
                  <a:pt x="5296447" y="3497451"/>
                  <a:pt x="5290443" y="3504021"/>
                </a:cubicBezTo>
                <a:cubicBezTo>
                  <a:pt x="5284438" y="3510591"/>
                  <a:pt x="5282766" y="3517893"/>
                  <a:pt x="5286798" y="3525712"/>
                </a:cubicBezTo>
                <a:cubicBezTo>
                  <a:pt x="5290618" y="3532156"/>
                  <a:pt x="5296836" y="3526961"/>
                  <a:pt x="5302328" y="3526103"/>
                </a:cubicBezTo>
                <a:cubicBezTo>
                  <a:pt x="5306445" y="3525460"/>
                  <a:pt x="5313093" y="3523014"/>
                  <a:pt x="5315539" y="3529673"/>
                </a:cubicBezTo>
                <a:cubicBezTo>
                  <a:pt x="5317769" y="3534957"/>
                  <a:pt x="5316098" y="3542259"/>
                  <a:pt x="5311037" y="3545865"/>
                </a:cubicBezTo>
                <a:cubicBezTo>
                  <a:pt x="5306190" y="3550847"/>
                  <a:pt x="5299328" y="3551918"/>
                  <a:pt x="5293837" y="3552775"/>
                </a:cubicBezTo>
                <a:cubicBezTo>
                  <a:pt x="5286974" y="3553847"/>
                  <a:pt x="5280111" y="3554919"/>
                  <a:pt x="5276851" y="3561060"/>
                </a:cubicBezTo>
                <a:cubicBezTo>
                  <a:pt x="5285217" y="3569611"/>
                  <a:pt x="5296842" y="3572020"/>
                  <a:pt x="5306451" y="3570520"/>
                </a:cubicBezTo>
                <a:cubicBezTo>
                  <a:pt x="5335704" y="3568768"/>
                  <a:pt x="5363285" y="3574318"/>
                  <a:pt x="5390868" y="3579869"/>
                </a:cubicBezTo>
                <a:cubicBezTo>
                  <a:pt x="5409785" y="3583955"/>
                  <a:pt x="5427630" y="3581169"/>
                  <a:pt x="5443756" y="3567386"/>
                </a:cubicBezTo>
                <a:cubicBezTo>
                  <a:pt x="5448603" y="3562405"/>
                  <a:pt x="5454308" y="3562922"/>
                  <a:pt x="5460659" y="3567564"/>
                </a:cubicBezTo>
                <a:cubicBezTo>
                  <a:pt x="5471983" y="3577061"/>
                  <a:pt x="5485409" y="3582005"/>
                  <a:pt x="5498836" y="3586948"/>
                </a:cubicBezTo>
                <a:cubicBezTo>
                  <a:pt x="5506128" y="3588627"/>
                  <a:pt x="5512991" y="3587555"/>
                  <a:pt x="5519211" y="3582359"/>
                </a:cubicBezTo>
                <a:cubicBezTo>
                  <a:pt x="5531649" y="3571968"/>
                  <a:pt x="5546318" y="3566862"/>
                  <a:pt x="5562061" y="3568628"/>
                </a:cubicBezTo>
                <a:cubicBezTo>
                  <a:pt x="5576431" y="3570608"/>
                  <a:pt x="5590800" y="3572589"/>
                  <a:pt x="5603799" y="3574784"/>
                </a:cubicBezTo>
                <a:cubicBezTo>
                  <a:pt x="5614050" y="3577408"/>
                  <a:pt x="5619326" y="3575177"/>
                  <a:pt x="5618983" y="3563964"/>
                </a:cubicBezTo>
                <a:cubicBezTo>
                  <a:pt x="5619282" y="3556877"/>
                  <a:pt x="5621382" y="3552325"/>
                  <a:pt x="5628245" y="3551253"/>
                </a:cubicBezTo>
                <a:cubicBezTo>
                  <a:pt x="5643130" y="3547521"/>
                  <a:pt x="5648321" y="3553752"/>
                  <a:pt x="5646350" y="3568141"/>
                </a:cubicBezTo>
                <a:cubicBezTo>
                  <a:pt x="5643863" y="3588243"/>
                  <a:pt x="5648625" y="3591723"/>
                  <a:pt x="5667841" y="3588722"/>
                </a:cubicBezTo>
                <a:cubicBezTo>
                  <a:pt x="5680195" y="3586793"/>
                  <a:pt x="5692334" y="3583490"/>
                  <a:pt x="5703100" y="3580401"/>
                </a:cubicBezTo>
                <a:cubicBezTo>
                  <a:pt x="5720945" y="3577615"/>
                  <a:pt x="5736987" y="3572294"/>
                  <a:pt x="5754531" y="3576596"/>
                </a:cubicBezTo>
                <a:cubicBezTo>
                  <a:pt x="5764570" y="3577844"/>
                  <a:pt x="5772076" y="3580896"/>
                  <a:pt x="5771477" y="3595072"/>
                </a:cubicBezTo>
                <a:cubicBezTo>
                  <a:pt x="5770234" y="3605122"/>
                  <a:pt x="5777013" y="3612512"/>
                  <a:pt x="5787992" y="3610798"/>
                </a:cubicBezTo>
                <a:cubicBezTo>
                  <a:pt x="5822523" y="3606814"/>
                  <a:pt x="5854652" y="3614471"/>
                  <a:pt x="5886995" y="3623502"/>
                </a:cubicBezTo>
                <a:cubicBezTo>
                  <a:pt x="5911833" y="3629481"/>
                  <a:pt x="5925773" y="3628712"/>
                  <a:pt x="5937224" y="3602987"/>
                </a:cubicBezTo>
                <a:cubicBezTo>
                  <a:pt x="5938596" y="3602772"/>
                  <a:pt x="5939969" y="3602558"/>
                  <a:pt x="5939969" y="3602558"/>
                </a:cubicBezTo>
                <a:cubicBezTo>
                  <a:pt x="5946103" y="3605825"/>
                  <a:pt x="5941172" y="3619268"/>
                  <a:pt x="5949407" y="3617982"/>
                </a:cubicBezTo>
                <a:cubicBezTo>
                  <a:pt x="5956271" y="3616910"/>
                  <a:pt x="5960473" y="3607805"/>
                  <a:pt x="5963518" y="3600289"/>
                </a:cubicBezTo>
                <a:cubicBezTo>
                  <a:pt x="5964676" y="3598700"/>
                  <a:pt x="5965619" y="3595736"/>
                  <a:pt x="5966778" y="3594148"/>
                </a:cubicBezTo>
                <a:cubicBezTo>
                  <a:pt x="5970766" y="3583668"/>
                  <a:pt x="5973381" y="3573404"/>
                  <a:pt x="5974623" y="3563353"/>
                </a:cubicBezTo>
                <a:cubicBezTo>
                  <a:pt x="5976296" y="3556050"/>
                  <a:pt x="5981572" y="3553819"/>
                  <a:pt x="5988864" y="3555497"/>
                </a:cubicBezTo>
                <a:cubicBezTo>
                  <a:pt x="5993411" y="3557602"/>
                  <a:pt x="5999546" y="3560869"/>
                  <a:pt x="5997658" y="3566796"/>
                </a:cubicBezTo>
                <a:cubicBezTo>
                  <a:pt x="5988095" y="3586595"/>
                  <a:pt x="5997534" y="3602019"/>
                  <a:pt x="6005600" y="3617657"/>
                </a:cubicBezTo>
                <a:cubicBezTo>
                  <a:pt x="6009848" y="3626850"/>
                  <a:pt x="6013236" y="3630545"/>
                  <a:pt x="6020185" y="3621012"/>
                </a:cubicBezTo>
                <a:cubicBezTo>
                  <a:pt x="6032193" y="3607872"/>
                  <a:pt x="6048450" y="3603925"/>
                  <a:pt x="6063120" y="3598819"/>
                </a:cubicBezTo>
                <a:cubicBezTo>
                  <a:pt x="6068396" y="3596587"/>
                  <a:pt x="6072513" y="3595944"/>
                  <a:pt x="6074530" y="3599853"/>
                </a:cubicBezTo>
                <a:cubicBezTo>
                  <a:pt x="6085341" y="3615062"/>
                  <a:pt x="6100870" y="3615454"/>
                  <a:pt x="6116397" y="3615846"/>
                </a:cubicBezTo>
                <a:cubicBezTo>
                  <a:pt x="6130767" y="3617827"/>
                  <a:pt x="6144923" y="3618433"/>
                  <a:pt x="6153718" y="3629733"/>
                </a:cubicBezTo>
                <a:cubicBezTo>
                  <a:pt x="6157536" y="3636177"/>
                  <a:pt x="6160282" y="3635748"/>
                  <a:pt x="6166929" y="3633302"/>
                </a:cubicBezTo>
                <a:cubicBezTo>
                  <a:pt x="6190563" y="3622572"/>
                  <a:pt x="6213898" y="3618928"/>
                  <a:pt x="6236848" y="3630834"/>
                </a:cubicBezTo>
                <a:cubicBezTo>
                  <a:pt x="6245942" y="3635047"/>
                  <a:pt x="6251433" y="3634189"/>
                  <a:pt x="6259024" y="3628780"/>
                </a:cubicBezTo>
                <a:cubicBezTo>
                  <a:pt x="6275581" y="3617745"/>
                  <a:pt x="6293424" y="3614959"/>
                  <a:pt x="6313200" y="3624545"/>
                </a:cubicBezTo>
                <a:cubicBezTo>
                  <a:pt x="6317962" y="3628026"/>
                  <a:pt x="6322294" y="3628758"/>
                  <a:pt x="6327355" y="3625151"/>
                </a:cubicBezTo>
                <a:cubicBezTo>
                  <a:pt x="6349402" y="3613260"/>
                  <a:pt x="6391354" y="3620790"/>
                  <a:pt x="6406928" y="3639481"/>
                </a:cubicBezTo>
                <a:cubicBezTo>
                  <a:pt x="6416192" y="3626769"/>
                  <a:pt x="6429703" y="3623252"/>
                  <a:pt x="6442700" y="3625447"/>
                </a:cubicBezTo>
                <a:cubicBezTo>
                  <a:pt x="6461618" y="3629534"/>
                  <a:pt x="6481049" y="3627908"/>
                  <a:pt x="6500479" y="3626282"/>
                </a:cubicBezTo>
                <a:cubicBezTo>
                  <a:pt x="6526989" y="3624959"/>
                  <a:pt x="6543376" y="3630850"/>
                  <a:pt x="6554746" y="3658644"/>
                </a:cubicBezTo>
                <a:cubicBezTo>
                  <a:pt x="6555175" y="3661394"/>
                  <a:pt x="6556762" y="3662554"/>
                  <a:pt x="6557191" y="3665303"/>
                </a:cubicBezTo>
                <a:cubicBezTo>
                  <a:pt x="6561439" y="3674496"/>
                  <a:pt x="6567144" y="3675014"/>
                  <a:pt x="6572934" y="3667069"/>
                </a:cubicBezTo>
                <a:cubicBezTo>
                  <a:pt x="6577566" y="3660714"/>
                  <a:pt x="6582198" y="3654358"/>
                  <a:pt x="6588202" y="3647788"/>
                </a:cubicBezTo>
                <a:cubicBezTo>
                  <a:pt x="6609689" y="3623311"/>
                  <a:pt x="6638215" y="3625898"/>
                  <a:pt x="6657821" y="3652407"/>
                </a:cubicBezTo>
                <a:cubicBezTo>
                  <a:pt x="6665243" y="3663921"/>
                  <a:pt x="6675197" y="3673632"/>
                  <a:pt x="6688838" y="3679951"/>
                </a:cubicBezTo>
                <a:cubicBezTo>
                  <a:pt x="6701106" y="3686484"/>
                  <a:pt x="6713375" y="3693017"/>
                  <a:pt x="6722170" y="3704317"/>
                </a:cubicBezTo>
                <a:cubicBezTo>
                  <a:pt x="6728259" y="3689285"/>
                  <a:pt x="6717448" y="3674076"/>
                  <a:pt x="6723538" y="3659044"/>
                </a:cubicBezTo>
                <a:cubicBezTo>
                  <a:pt x="6738681" y="3674984"/>
                  <a:pt x="6738681" y="3674984"/>
                  <a:pt x="6756395" y="3662363"/>
                </a:cubicBezTo>
                <a:cubicBezTo>
                  <a:pt x="6764201" y="3658327"/>
                  <a:pt x="6769477" y="3656095"/>
                  <a:pt x="6778357" y="3658933"/>
                </a:cubicBezTo>
                <a:cubicBezTo>
                  <a:pt x="6801821" y="3665126"/>
                  <a:pt x="6824856" y="3668570"/>
                  <a:pt x="6847890" y="3672014"/>
                </a:cubicBezTo>
                <a:cubicBezTo>
                  <a:pt x="6918583" y="3683506"/>
                  <a:pt x="6989360" y="3686537"/>
                  <a:pt x="7059324" y="3702367"/>
                </a:cubicBezTo>
                <a:cubicBezTo>
                  <a:pt x="7065029" y="3702884"/>
                  <a:pt x="7073264" y="3701598"/>
                  <a:pt x="7074337" y="3708471"/>
                </a:cubicBezTo>
                <a:cubicBezTo>
                  <a:pt x="7076783" y="3715130"/>
                  <a:pt x="7070349" y="3718950"/>
                  <a:pt x="7066875" y="3723717"/>
                </a:cubicBezTo>
                <a:cubicBezTo>
                  <a:pt x="7063187" y="3727110"/>
                  <a:pt x="7058126" y="3730716"/>
                  <a:pt x="7061729" y="3735786"/>
                </a:cubicBezTo>
                <a:cubicBezTo>
                  <a:pt x="7064176" y="3742444"/>
                  <a:pt x="7070095" y="3744337"/>
                  <a:pt x="7075800" y="3744854"/>
                </a:cubicBezTo>
                <a:cubicBezTo>
                  <a:pt x="7079918" y="3744211"/>
                  <a:pt x="7084036" y="3743568"/>
                  <a:pt x="7088153" y="3742925"/>
                </a:cubicBezTo>
                <a:cubicBezTo>
                  <a:pt x="7107585" y="3741299"/>
                  <a:pt x="7120283" y="3750581"/>
                  <a:pt x="7123287" y="3769826"/>
                </a:cubicBezTo>
                <a:cubicBezTo>
                  <a:pt x="7124361" y="3776698"/>
                  <a:pt x="7125434" y="3783572"/>
                  <a:pt x="7123762" y="3790874"/>
                </a:cubicBezTo>
                <a:cubicBezTo>
                  <a:pt x="7123677" y="3799336"/>
                  <a:pt x="7129811" y="3802602"/>
                  <a:pt x="7137618" y="3798567"/>
                </a:cubicBezTo>
                <a:cubicBezTo>
                  <a:pt x="7152072" y="3792086"/>
                  <a:pt x="7157218" y="3780017"/>
                  <a:pt x="7152842" y="3760987"/>
                </a:cubicBezTo>
                <a:cubicBezTo>
                  <a:pt x="7164166" y="3770483"/>
                  <a:pt x="7172532" y="3779034"/>
                  <a:pt x="7178367" y="3789388"/>
                </a:cubicBezTo>
                <a:cubicBezTo>
                  <a:pt x="7184202" y="3799742"/>
                  <a:pt x="7183947" y="3825128"/>
                  <a:pt x="7175627" y="3834876"/>
                </a:cubicBezTo>
                <a:cubicBezTo>
                  <a:pt x="7164775" y="3846426"/>
                  <a:pt x="7151349" y="3841483"/>
                  <a:pt x="7140882" y="3837484"/>
                </a:cubicBezTo>
                <a:cubicBezTo>
                  <a:pt x="7125868" y="3831380"/>
                  <a:pt x="7109911" y="3828239"/>
                  <a:pt x="7093439" y="3830811"/>
                </a:cubicBezTo>
                <a:cubicBezTo>
                  <a:pt x="7083832" y="3832312"/>
                  <a:pt x="7072850" y="3834026"/>
                  <a:pt x="7061869" y="3835741"/>
                </a:cubicBezTo>
                <a:cubicBezTo>
                  <a:pt x="7016573" y="3842813"/>
                  <a:pt x="6971577" y="3842798"/>
                  <a:pt x="6930737" y="3815380"/>
                </a:cubicBezTo>
                <a:cubicBezTo>
                  <a:pt x="6915080" y="3805152"/>
                  <a:pt x="6907487" y="3810561"/>
                  <a:pt x="6903200" y="3828128"/>
                </a:cubicBezTo>
                <a:cubicBezTo>
                  <a:pt x="6902257" y="3831091"/>
                  <a:pt x="6905646" y="3834787"/>
                  <a:pt x="6901743" y="3836804"/>
                </a:cubicBezTo>
                <a:cubicBezTo>
                  <a:pt x="6897625" y="3837447"/>
                  <a:pt x="6894450" y="3835127"/>
                  <a:pt x="6892648" y="3832592"/>
                </a:cubicBezTo>
                <a:cubicBezTo>
                  <a:pt x="6890847" y="3830057"/>
                  <a:pt x="6889045" y="3827522"/>
                  <a:pt x="6887457" y="3826362"/>
                </a:cubicBezTo>
                <a:cubicBezTo>
                  <a:pt x="6882266" y="3820131"/>
                  <a:pt x="6875917" y="3815490"/>
                  <a:pt x="6870127" y="3823435"/>
                </a:cubicBezTo>
                <a:cubicBezTo>
                  <a:pt x="6862965" y="3831594"/>
                  <a:pt x="6874161" y="3831254"/>
                  <a:pt x="6877549" y="3834949"/>
                </a:cubicBezTo>
                <a:cubicBezTo>
                  <a:pt x="6877764" y="3836324"/>
                  <a:pt x="6879137" y="3836109"/>
                  <a:pt x="6879351" y="3837485"/>
                </a:cubicBezTo>
                <a:cubicBezTo>
                  <a:pt x="6882526" y="3839805"/>
                  <a:pt x="6884542" y="3843714"/>
                  <a:pt x="6882227" y="3846892"/>
                </a:cubicBezTo>
                <a:cubicBezTo>
                  <a:pt x="6880125" y="3851444"/>
                  <a:pt x="6877380" y="3851873"/>
                  <a:pt x="6872833" y="3849767"/>
                </a:cubicBezTo>
                <a:cubicBezTo>
                  <a:pt x="6855073" y="3844091"/>
                  <a:pt x="6840833" y="3851947"/>
                  <a:pt x="6832213" y="3868782"/>
                </a:cubicBezTo>
                <a:cubicBezTo>
                  <a:pt x="6829898" y="3871960"/>
                  <a:pt x="6824836" y="3875566"/>
                  <a:pt x="6825480" y="3879690"/>
                </a:cubicBezTo>
                <a:cubicBezTo>
                  <a:pt x="6827841" y="3894811"/>
                  <a:pt x="6845301" y="3907575"/>
                  <a:pt x="6858597" y="3902682"/>
                </a:cubicBezTo>
                <a:cubicBezTo>
                  <a:pt x="6885191" y="3892897"/>
                  <a:pt x="6911915" y="3892949"/>
                  <a:pt x="6939926" y="3901248"/>
                </a:cubicBezTo>
                <a:cubicBezTo>
                  <a:pt x="6949964" y="3902498"/>
                  <a:pt x="6960002" y="3903746"/>
                  <a:pt x="6967164" y="3895587"/>
                </a:cubicBezTo>
                <a:cubicBezTo>
                  <a:pt x="6973384" y="3890392"/>
                  <a:pt x="6976343" y="3891337"/>
                  <a:pt x="6979003" y="3899371"/>
                </a:cubicBezTo>
                <a:cubicBezTo>
                  <a:pt x="6982093" y="3910154"/>
                  <a:pt x="6990029" y="3915955"/>
                  <a:pt x="7001440" y="3916990"/>
                </a:cubicBezTo>
                <a:cubicBezTo>
                  <a:pt x="7013065" y="3919399"/>
                  <a:pt x="7026062" y="3921595"/>
                  <a:pt x="7039059" y="3923789"/>
                </a:cubicBezTo>
                <a:cubicBezTo>
                  <a:pt x="7050469" y="3924824"/>
                  <a:pt x="7055875" y="3932428"/>
                  <a:pt x="7056220" y="3943640"/>
                </a:cubicBezTo>
                <a:cubicBezTo>
                  <a:pt x="7056433" y="3945015"/>
                  <a:pt x="7056864" y="3947763"/>
                  <a:pt x="7055920" y="3950727"/>
                </a:cubicBezTo>
                <a:cubicBezTo>
                  <a:pt x="7056993" y="3957600"/>
                  <a:pt x="7061969" y="3962455"/>
                  <a:pt x="7068832" y="3961384"/>
                </a:cubicBezTo>
                <a:cubicBezTo>
                  <a:pt x="7074537" y="3961901"/>
                  <a:pt x="7073464" y="3955028"/>
                  <a:pt x="7072606" y="3949530"/>
                </a:cubicBezTo>
                <a:cubicBezTo>
                  <a:pt x="7073119" y="3943817"/>
                  <a:pt x="7072261" y="3938319"/>
                  <a:pt x="7080283" y="3935658"/>
                </a:cubicBezTo>
                <a:cubicBezTo>
                  <a:pt x="7092636" y="3933729"/>
                  <a:pt x="7105763" y="3945760"/>
                  <a:pt x="7104950" y="3958561"/>
                </a:cubicBezTo>
                <a:cubicBezTo>
                  <a:pt x="7105593" y="3962684"/>
                  <a:pt x="7103277" y="3965862"/>
                  <a:pt x="7106667" y="3969558"/>
                </a:cubicBezTo>
                <a:cubicBezTo>
                  <a:pt x="7110784" y="3968915"/>
                  <a:pt x="7110141" y="3964791"/>
                  <a:pt x="7112671" y="3962988"/>
                </a:cubicBezTo>
                <a:cubicBezTo>
                  <a:pt x="7118246" y="3953668"/>
                  <a:pt x="7123737" y="3952811"/>
                  <a:pt x="7130730" y="3961576"/>
                </a:cubicBezTo>
                <a:cubicBezTo>
                  <a:pt x="7139954" y="3975625"/>
                  <a:pt x="7152652" y="3984908"/>
                  <a:pt x="7165135" y="3992816"/>
                </a:cubicBezTo>
                <a:cubicBezTo>
                  <a:pt x="7179420" y="4003258"/>
                  <a:pt x="7192547" y="4015290"/>
                  <a:pt x="7196925" y="4034320"/>
                </a:cubicBezTo>
                <a:cubicBezTo>
                  <a:pt x="7199371" y="4040979"/>
                  <a:pt x="7203404" y="4048797"/>
                  <a:pt x="7210695" y="4050475"/>
                </a:cubicBezTo>
                <a:cubicBezTo>
                  <a:pt x="7240294" y="4059934"/>
                  <a:pt x="7253681" y="4091640"/>
                  <a:pt x="7282336" y="4104062"/>
                </a:cubicBezTo>
                <a:cubicBezTo>
                  <a:pt x="7290058" y="4108489"/>
                  <a:pt x="7289759" y="4115576"/>
                  <a:pt x="7288086" y="4122878"/>
                </a:cubicBezTo>
                <a:cubicBezTo>
                  <a:pt x="7285042" y="4130395"/>
                  <a:pt x="7277535" y="4127342"/>
                  <a:pt x="7272774" y="4123861"/>
                </a:cubicBezTo>
                <a:cubicBezTo>
                  <a:pt x="7263464" y="4118274"/>
                  <a:pt x="7255443" y="4120935"/>
                  <a:pt x="7248066" y="4127719"/>
                </a:cubicBezTo>
                <a:cubicBezTo>
                  <a:pt x="7239531" y="4136092"/>
                  <a:pt x="7228979" y="4140556"/>
                  <a:pt x="7216626" y="4142485"/>
                </a:cubicBezTo>
                <a:cubicBezTo>
                  <a:pt x="7195821" y="4144324"/>
                  <a:pt x="7182481" y="4130919"/>
                  <a:pt x="7184965" y="4110817"/>
                </a:cubicBezTo>
                <a:cubicBezTo>
                  <a:pt x="7185695" y="4106478"/>
                  <a:pt x="7186209" y="4100766"/>
                  <a:pt x="7185565" y="4096642"/>
                </a:cubicBezTo>
                <a:cubicBezTo>
                  <a:pt x="7185350" y="4095267"/>
                  <a:pt x="7186508" y="4093679"/>
                  <a:pt x="7186508" y="4093679"/>
                </a:cubicBezTo>
                <a:cubicBezTo>
                  <a:pt x="7185135" y="4093893"/>
                  <a:pt x="7185135" y="4093893"/>
                  <a:pt x="7183978" y="4095482"/>
                </a:cubicBezTo>
                <a:cubicBezTo>
                  <a:pt x="7178487" y="4096339"/>
                  <a:pt x="7174369" y="4096982"/>
                  <a:pt x="7168664" y="4096465"/>
                </a:cubicBezTo>
                <a:cubicBezTo>
                  <a:pt x="7141511" y="4093664"/>
                  <a:pt x="7133920" y="4099074"/>
                  <a:pt x="7129761" y="4126478"/>
                </a:cubicBezTo>
                <a:cubicBezTo>
                  <a:pt x="7128948" y="4139277"/>
                  <a:pt x="7121142" y="4143312"/>
                  <a:pt x="7108359" y="4142492"/>
                </a:cubicBezTo>
                <a:cubicBezTo>
                  <a:pt x="7098536" y="4142618"/>
                  <a:pt x="7092186" y="4137976"/>
                  <a:pt x="7085194" y="4129211"/>
                </a:cubicBezTo>
                <a:cubicBezTo>
                  <a:pt x="7065803" y="4104076"/>
                  <a:pt x="7039679" y="4089850"/>
                  <a:pt x="7007035" y="4087907"/>
                </a:cubicBezTo>
                <a:cubicBezTo>
                  <a:pt x="6979667" y="4083731"/>
                  <a:pt x="6979667" y="4083731"/>
                  <a:pt x="6989450" y="4110366"/>
                </a:cubicBezTo>
                <a:cubicBezTo>
                  <a:pt x="6994557" y="4125058"/>
                  <a:pt x="6992885" y="4132360"/>
                  <a:pt x="6981389" y="4139787"/>
                </a:cubicBezTo>
                <a:cubicBezTo>
                  <a:pt x="6974052" y="4119811"/>
                  <a:pt x="6969291" y="4116330"/>
                  <a:pt x="6948487" y="4118169"/>
                </a:cubicBezTo>
                <a:cubicBezTo>
                  <a:pt x="6934761" y="4120313"/>
                  <a:pt x="6920306" y="4126794"/>
                  <a:pt x="6908551" y="4114549"/>
                </a:cubicBezTo>
                <a:cubicBezTo>
                  <a:pt x="6908336" y="4113175"/>
                  <a:pt x="6906964" y="4113388"/>
                  <a:pt x="6905592" y="4113603"/>
                </a:cubicBezTo>
                <a:cubicBezTo>
                  <a:pt x="6889979" y="4121672"/>
                  <a:pt x="6883674" y="4135330"/>
                  <a:pt x="6885092" y="4153414"/>
                </a:cubicBezTo>
                <a:cubicBezTo>
                  <a:pt x="6886594" y="4163037"/>
                  <a:pt x="6888097" y="4172659"/>
                  <a:pt x="6877760" y="4178498"/>
                </a:cubicBezTo>
                <a:cubicBezTo>
                  <a:pt x="6876602" y="4180086"/>
                  <a:pt x="6872913" y="4183478"/>
                  <a:pt x="6872269" y="4179355"/>
                </a:cubicBezTo>
                <a:cubicBezTo>
                  <a:pt x="6869180" y="4168572"/>
                  <a:pt x="6859357" y="4168697"/>
                  <a:pt x="6850478" y="4165860"/>
                </a:cubicBezTo>
                <a:cubicBezTo>
                  <a:pt x="6840225" y="4163236"/>
                  <a:pt x="6833661" y="4157220"/>
                  <a:pt x="6833317" y="4146009"/>
                </a:cubicBezTo>
                <a:cubicBezTo>
                  <a:pt x="6832757" y="4133423"/>
                  <a:pt x="6825765" y="4124658"/>
                  <a:pt x="6813926" y="4120874"/>
                </a:cubicBezTo>
                <a:cubicBezTo>
                  <a:pt x="6803244" y="4115502"/>
                  <a:pt x="6794280" y="4121126"/>
                  <a:pt x="6785745" y="4129499"/>
                </a:cubicBezTo>
                <a:cubicBezTo>
                  <a:pt x="6778797" y="4139033"/>
                  <a:pt x="6775192" y="4133962"/>
                  <a:pt x="6773906" y="4125715"/>
                </a:cubicBezTo>
                <a:cubicBezTo>
                  <a:pt x="6771973" y="4113344"/>
                  <a:pt x="6764466" y="4110292"/>
                  <a:pt x="6753915" y="4114755"/>
                </a:cubicBezTo>
                <a:cubicBezTo>
                  <a:pt x="6751170" y="4115184"/>
                  <a:pt x="6748424" y="4115613"/>
                  <a:pt x="6745894" y="4117416"/>
                </a:cubicBezTo>
                <a:cubicBezTo>
                  <a:pt x="6733969" y="4122094"/>
                  <a:pt x="6724147" y="4122220"/>
                  <a:pt x="6716510" y="4109330"/>
                </a:cubicBezTo>
                <a:cubicBezTo>
                  <a:pt x="6707716" y="4098031"/>
                  <a:pt x="6694288" y="4093087"/>
                  <a:pt x="6681720" y="4093641"/>
                </a:cubicBezTo>
                <a:cubicBezTo>
                  <a:pt x="6671683" y="4092392"/>
                  <a:pt x="6660702" y="4094107"/>
                  <a:pt x="6665808" y="4108799"/>
                </a:cubicBezTo>
                <a:cubicBezTo>
                  <a:pt x="6666452" y="4112922"/>
                  <a:pt x="6665938" y="4118635"/>
                  <a:pt x="6665208" y="4122973"/>
                </a:cubicBezTo>
                <a:cubicBezTo>
                  <a:pt x="6666711" y="4132595"/>
                  <a:pt x="6664096" y="4142861"/>
                  <a:pt x="6670875" y="4150251"/>
                </a:cubicBezTo>
                <a:cubicBezTo>
                  <a:pt x="6688548" y="4164389"/>
                  <a:pt x="6690180" y="4183847"/>
                  <a:pt x="6693400" y="4204466"/>
                </a:cubicBezTo>
                <a:cubicBezTo>
                  <a:pt x="6682933" y="4200468"/>
                  <a:pt x="6672467" y="4196470"/>
                  <a:pt x="6661486" y="4198185"/>
                </a:cubicBezTo>
                <a:cubicBezTo>
                  <a:pt x="6647975" y="4201703"/>
                  <a:pt x="6634977" y="4199508"/>
                  <a:pt x="6622708" y="4192975"/>
                </a:cubicBezTo>
                <a:cubicBezTo>
                  <a:pt x="6612027" y="4187602"/>
                  <a:pt x="6600188" y="4183818"/>
                  <a:pt x="6588348" y="4180034"/>
                </a:cubicBezTo>
                <a:cubicBezTo>
                  <a:pt x="6553987" y="4167093"/>
                  <a:pt x="6517311" y="4157330"/>
                  <a:pt x="6484623" y="4137088"/>
                </a:cubicBezTo>
                <a:cubicBezTo>
                  <a:pt x="6476901" y="4132662"/>
                  <a:pt x="6473213" y="4136054"/>
                  <a:pt x="6471540" y="4143355"/>
                </a:cubicBezTo>
                <a:cubicBezTo>
                  <a:pt x="6470597" y="4146319"/>
                  <a:pt x="6470083" y="4152032"/>
                  <a:pt x="6464378" y="4151515"/>
                </a:cubicBezTo>
                <a:cubicBezTo>
                  <a:pt x="6460046" y="4150783"/>
                  <a:pt x="6459187" y="4145284"/>
                  <a:pt x="6458758" y="4142535"/>
                </a:cubicBezTo>
                <a:cubicBezTo>
                  <a:pt x="6456312" y="4135877"/>
                  <a:pt x="6454081" y="4130593"/>
                  <a:pt x="6448375" y="4130075"/>
                </a:cubicBezTo>
                <a:cubicBezTo>
                  <a:pt x="6441298" y="4129772"/>
                  <a:pt x="6434949" y="4125131"/>
                  <a:pt x="6427871" y="4124828"/>
                </a:cubicBezTo>
                <a:cubicBezTo>
                  <a:pt x="6417834" y="4123579"/>
                  <a:pt x="6415603" y="4118294"/>
                  <a:pt x="6418433" y="4109404"/>
                </a:cubicBezTo>
                <a:cubicBezTo>
                  <a:pt x="6426109" y="4095532"/>
                  <a:pt x="6414700" y="4094498"/>
                  <a:pt x="6405605" y="4090285"/>
                </a:cubicBezTo>
                <a:cubicBezTo>
                  <a:pt x="6393551" y="4085126"/>
                  <a:pt x="6395268" y="4096124"/>
                  <a:pt x="6393382" y="4102051"/>
                </a:cubicBezTo>
                <a:cubicBezTo>
                  <a:pt x="6392439" y="4105014"/>
                  <a:pt x="6392867" y="4107763"/>
                  <a:pt x="6388750" y="4108407"/>
                </a:cubicBezTo>
                <a:cubicBezTo>
                  <a:pt x="6384931" y="4101962"/>
                  <a:pt x="6379741" y="4095732"/>
                  <a:pt x="6377080" y="4087699"/>
                </a:cubicBezTo>
                <a:cubicBezTo>
                  <a:pt x="6373476" y="4082628"/>
                  <a:pt x="6368714" y="4079147"/>
                  <a:pt x="6363224" y="4080006"/>
                </a:cubicBezTo>
                <a:cubicBezTo>
                  <a:pt x="6356361" y="4081077"/>
                  <a:pt x="6357434" y="4087950"/>
                  <a:pt x="6356706" y="4092288"/>
                </a:cubicBezTo>
                <a:cubicBezTo>
                  <a:pt x="6350017" y="4121495"/>
                  <a:pt x="6334619" y="4130939"/>
                  <a:pt x="6305449" y="4124229"/>
                </a:cubicBezTo>
                <a:cubicBezTo>
                  <a:pt x="6299529" y="4122337"/>
                  <a:pt x="6293825" y="4121819"/>
                  <a:pt x="6289063" y="4118339"/>
                </a:cubicBezTo>
                <a:cubicBezTo>
                  <a:pt x="6263797" y="4109610"/>
                  <a:pt x="6242563" y="4108702"/>
                  <a:pt x="6226996" y="4135071"/>
                </a:cubicBezTo>
                <a:cubicBezTo>
                  <a:pt x="6226996" y="4135071"/>
                  <a:pt x="6225624" y="4135285"/>
                  <a:pt x="6225839" y="4136659"/>
                </a:cubicBezTo>
                <a:cubicBezTo>
                  <a:pt x="6219404" y="4140481"/>
                  <a:pt x="6214129" y="4142712"/>
                  <a:pt x="6206621" y="4139660"/>
                </a:cubicBezTo>
                <a:cubicBezTo>
                  <a:pt x="6203662" y="4138714"/>
                  <a:pt x="6200487" y="4136393"/>
                  <a:pt x="6201215" y="4132056"/>
                </a:cubicBezTo>
                <a:cubicBezTo>
                  <a:pt x="6201515" y="4124967"/>
                  <a:pt x="6208163" y="4122522"/>
                  <a:pt x="6213439" y="4120290"/>
                </a:cubicBezTo>
                <a:cubicBezTo>
                  <a:pt x="6217558" y="4119647"/>
                  <a:pt x="6222833" y="4117414"/>
                  <a:pt x="6222188" y="4113291"/>
                </a:cubicBezTo>
                <a:cubicBezTo>
                  <a:pt x="6222704" y="4107579"/>
                  <a:pt x="6216055" y="4110025"/>
                  <a:pt x="6212880" y="4107704"/>
                </a:cubicBezTo>
                <a:cubicBezTo>
                  <a:pt x="6205588" y="4106026"/>
                  <a:pt x="6198511" y="4105724"/>
                  <a:pt x="6191218" y="4104046"/>
                </a:cubicBezTo>
                <a:cubicBezTo>
                  <a:pt x="6181181" y="4102797"/>
                  <a:pt x="6172300" y="4099959"/>
                  <a:pt x="6165522" y="4092568"/>
                </a:cubicBezTo>
                <a:cubicBezTo>
                  <a:pt x="6160547" y="4087713"/>
                  <a:pt x="6156428" y="4088356"/>
                  <a:pt x="6149994" y="4092177"/>
                </a:cubicBezTo>
                <a:cubicBezTo>
                  <a:pt x="6131851" y="4102050"/>
                  <a:pt x="6118854" y="4099855"/>
                  <a:pt x="6103925" y="4085289"/>
                </a:cubicBezTo>
                <a:cubicBezTo>
                  <a:pt x="6095775" y="4078113"/>
                  <a:pt x="6090154" y="4069133"/>
                  <a:pt x="6083160" y="4060369"/>
                </a:cubicBezTo>
                <a:cubicBezTo>
                  <a:pt x="6074580" y="4050444"/>
                  <a:pt x="6063899" y="4045070"/>
                  <a:pt x="6050902" y="4042876"/>
                </a:cubicBezTo>
                <a:cubicBezTo>
                  <a:pt x="6036531" y="4040895"/>
                  <a:pt x="6030098" y="4044716"/>
                  <a:pt x="6025596" y="4060908"/>
                </a:cubicBezTo>
                <a:cubicBezTo>
                  <a:pt x="6021309" y="4078474"/>
                  <a:pt x="6011915" y="4081350"/>
                  <a:pt x="5995313" y="4074085"/>
                </a:cubicBezTo>
                <a:cubicBezTo>
                  <a:pt x="5989394" y="4072193"/>
                  <a:pt x="5986219" y="4069873"/>
                  <a:pt x="5979571" y="4072318"/>
                </a:cubicBezTo>
                <a:cubicBezTo>
                  <a:pt x="5963958" y="4080389"/>
                  <a:pt x="5963958" y="4080389"/>
                  <a:pt x="5961169" y="4062519"/>
                </a:cubicBezTo>
                <a:cubicBezTo>
                  <a:pt x="5962112" y="4059555"/>
                  <a:pt x="5961897" y="4058181"/>
                  <a:pt x="5960094" y="4055645"/>
                </a:cubicBezTo>
                <a:cubicBezTo>
                  <a:pt x="5958378" y="4044650"/>
                  <a:pt x="5952243" y="4041382"/>
                  <a:pt x="5941905" y="4047221"/>
                </a:cubicBezTo>
                <a:cubicBezTo>
                  <a:pt x="5934100" y="4051256"/>
                  <a:pt x="5926722" y="4058040"/>
                  <a:pt x="5918702" y="4060701"/>
                </a:cubicBezTo>
                <a:cubicBezTo>
                  <a:pt x="5884731" y="4077270"/>
                  <a:pt x="5844450" y="4062437"/>
                  <a:pt x="5831064" y="4030733"/>
                </a:cubicBezTo>
                <a:cubicBezTo>
                  <a:pt x="5826387" y="4018790"/>
                  <a:pt x="5830160" y="4006936"/>
                  <a:pt x="5828229" y="3994564"/>
                </a:cubicBezTo>
                <a:cubicBezTo>
                  <a:pt x="5826811" y="3976480"/>
                  <a:pt x="5818660" y="3969305"/>
                  <a:pt x="5801330" y="3966377"/>
                </a:cubicBezTo>
                <a:cubicBezTo>
                  <a:pt x="5792666" y="3964914"/>
                  <a:pt x="5784215" y="3964826"/>
                  <a:pt x="5775550" y="3963362"/>
                </a:cubicBezTo>
                <a:cubicBezTo>
                  <a:pt x="5758220" y="3960435"/>
                  <a:pt x="5749041" y="3964684"/>
                  <a:pt x="5744754" y="3982252"/>
                </a:cubicBezTo>
                <a:cubicBezTo>
                  <a:pt x="5740766" y="3992731"/>
                  <a:pt x="5736433" y="3992000"/>
                  <a:pt x="5728497" y="3986198"/>
                </a:cubicBezTo>
                <a:cubicBezTo>
                  <a:pt x="5711251" y="3974809"/>
                  <a:pt x="5700700" y="3979274"/>
                  <a:pt x="5695469" y="3999803"/>
                </a:cubicBezTo>
                <a:cubicBezTo>
                  <a:pt x="5694956" y="4005517"/>
                  <a:pt x="5695814" y="4011015"/>
                  <a:pt x="5701734" y="4012907"/>
                </a:cubicBezTo>
                <a:cubicBezTo>
                  <a:pt x="5709026" y="4014585"/>
                  <a:pt x="5709540" y="4008871"/>
                  <a:pt x="5710054" y="4003160"/>
                </a:cubicBezTo>
                <a:cubicBezTo>
                  <a:pt x="5709410" y="3999036"/>
                  <a:pt x="5711512" y="3994483"/>
                  <a:pt x="5717217" y="3995000"/>
                </a:cubicBezTo>
                <a:cubicBezTo>
                  <a:pt x="5722707" y="3994143"/>
                  <a:pt x="5727469" y="3997624"/>
                  <a:pt x="5726954" y="4003337"/>
                </a:cubicBezTo>
                <a:cubicBezTo>
                  <a:pt x="5727943" y="4018672"/>
                  <a:pt x="5731676" y="4033578"/>
                  <a:pt x="5732880" y="4050288"/>
                </a:cubicBezTo>
                <a:cubicBezTo>
                  <a:pt x="5728117" y="4046807"/>
                  <a:pt x="5726530" y="4045646"/>
                  <a:pt x="5724729" y="4043111"/>
                </a:cubicBezTo>
                <a:cubicBezTo>
                  <a:pt x="5715205" y="4036150"/>
                  <a:pt x="5704225" y="4037864"/>
                  <a:pt x="5694186" y="4036615"/>
                </a:cubicBezTo>
                <a:cubicBezTo>
                  <a:pt x="5688482" y="4036098"/>
                  <a:pt x="5688398" y="4044559"/>
                  <a:pt x="5684707" y="4047952"/>
                </a:cubicBezTo>
                <a:cubicBezTo>
                  <a:pt x="5678488" y="4053148"/>
                  <a:pt x="5672055" y="4056968"/>
                  <a:pt x="5662017" y="4055719"/>
                </a:cubicBezTo>
                <a:cubicBezTo>
                  <a:pt x="5653568" y="4055631"/>
                  <a:pt x="5643959" y="4057131"/>
                  <a:pt x="5633922" y="4055882"/>
                </a:cubicBezTo>
                <a:cubicBezTo>
                  <a:pt x="5639542" y="4064861"/>
                  <a:pt x="5652753" y="4068431"/>
                  <a:pt x="5645806" y="4077965"/>
                </a:cubicBezTo>
                <a:cubicBezTo>
                  <a:pt x="5641389" y="4085695"/>
                  <a:pt x="5636458" y="4099137"/>
                  <a:pt x="5622172" y="4088695"/>
                </a:cubicBezTo>
                <a:cubicBezTo>
                  <a:pt x="5622172" y="4088695"/>
                  <a:pt x="5619641" y="4090498"/>
                  <a:pt x="5619856" y="4091872"/>
                </a:cubicBezTo>
                <a:cubicBezTo>
                  <a:pt x="5619556" y="4098960"/>
                  <a:pt x="5617885" y="4106262"/>
                  <a:pt x="5627707" y="4106136"/>
                </a:cubicBezTo>
                <a:cubicBezTo>
                  <a:pt x="5638903" y="4105797"/>
                  <a:pt x="5649370" y="4109794"/>
                  <a:pt x="5658463" y="4114006"/>
                </a:cubicBezTo>
                <a:cubicBezTo>
                  <a:pt x="5670303" y="4117791"/>
                  <a:pt x="5679697" y="4114916"/>
                  <a:pt x="5683685" y="4104436"/>
                </a:cubicBezTo>
                <a:cubicBezTo>
                  <a:pt x="5689046" y="4093743"/>
                  <a:pt x="5693593" y="4095849"/>
                  <a:pt x="5699942" y="4100490"/>
                </a:cubicBezTo>
                <a:cubicBezTo>
                  <a:pt x="5712640" y="4109772"/>
                  <a:pt x="5722807" y="4120858"/>
                  <a:pt x="5736663" y="4128551"/>
                </a:cubicBezTo>
                <a:cubicBezTo>
                  <a:pt x="5744385" y="4132979"/>
                  <a:pt x="5750090" y="4133496"/>
                  <a:pt x="5757681" y="4128086"/>
                </a:cubicBezTo>
                <a:cubicBezTo>
                  <a:pt x="5763901" y="4122890"/>
                  <a:pt x="5768532" y="4116534"/>
                  <a:pt x="5777198" y="4117998"/>
                </a:cubicBezTo>
                <a:cubicBezTo>
                  <a:pt x="5785647" y="4118087"/>
                  <a:pt x="5788308" y="4126119"/>
                  <a:pt x="5793284" y="4130975"/>
                </a:cubicBezTo>
                <a:cubicBezTo>
                  <a:pt x="5803062" y="4112551"/>
                  <a:pt x="5803062" y="4112551"/>
                  <a:pt x="5821465" y="4122351"/>
                </a:cubicBezTo>
                <a:cubicBezTo>
                  <a:pt x="5828973" y="4125404"/>
                  <a:pt x="5836694" y="4129830"/>
                  <a:pt x="5845445" y="4122831"/>
                </a:cubicBezTo>
                <a:cubicBezTo>
                  <a:pt x="5864745" y="4111369"/>
                  <a:pt x="5869078" y="4112100"/>
                  <a:pt x="5883063" y="4129631"/>
                </a:cubicBezTo>
                <a:cubicBezTo>
                  <a:pt x="5889842" y="4137020"/>
                  <a:pt x="5896620" y="4144411"/>
                  <a:pt x="5904771" y="4151588"/>
                </a:cubicBezTo>
                <a:cubicBezTo>
                  <a:pt x="5923089" y="4169848"/>
                  <a:pt x="5929952" y="4168777"/>
                  <a:pt x="5943418" y="4146961"/>
                </a:cubicBezTo>
                <a:cubicBezTo>
                  <a:pt x="5946893" y="4142194"/>
                  <a:pt x="5948779" y="4136267"/>
                  <a:pt x="5953411" y="4129912"/>
                </a:cubicBezTo>
                <a:cubicBezTo>
                  <a:pt x="5957874" y="4140480"/>
                  <a:pt x="5961906" y="4148299"/>
                  <a:pt x="5966369" y="4158867"/>
                </a:cubicBezTo>
                <a:cubicBezTo>
                  <a:pt x="5968685" y="4155689"/>
                  <a:pt x="5968470" y="4154315"/>
                  <a:pt x="5969628" y="4152726"/>
                </a:cubicBezTo>
                <a:cubicBezTo>
                  <a:pt x="5978118" y="4126054"/>
                  <a:pt x="5991844" y="4123911"/>
                  <a:pt x="6010377" y="4143547"/>
                </a:cubicBezTo>
                <a:cubicBezTo>
                  <a:pt x="6013766" y="4147242"/>
                  <a:pt x="6017156" y="4150937"/>
                  <a:pt x="6020760" y="4156007"/>
                </a:cubicBezTo>
                <a:cubicBezTo>
                  <a:pt x="6022560" y="4158542"/>
                  <a:pt x="6024363" y="4161077"/>
                  <a:pt x="6022261" y="4165630"/>
                </a:cubicBezTo>
                <a:cubicBezTo>
                  <a:pt x="6012783" y="4176966"/>
                  <a:pt x="6022092" y="4182553"/>
                  <a:pt x="6030028" y="4188354"/>
                </a:cubicBezTo>
                <a:cubicBezTo>
                  <a:pt x="6053193" y="4201635"/>
                  <a:pt x="6078973" y="4204650"/>
                  <a:pt x="6104754" y="4207666"/>
                </a:cubicBezTo>
                <a:cubicBezTo>
                  <a:pt x="6146062" y="4211073"/>
                  <a:pt x="6188313" y="4211516"/>
                  <a:pt x="6226706" y="4232276"/>
                </a:cubicBezTo>
                <a:cubicBezTo>
                  <a:pt x="6238975" y="4238808"/>
                  <a:pt x="6251757" y="4239629"/>
                  <a:pt x="6265270" y="4236112"/>
                </a:cubicBezTo>
                <a:cubicBezTo>
                  <a:pt x="6276036" y="4233022"/>
                  <a:pt x="6286287" y="4235646"/>
                  <a:pt x="6294223" y="4241447"/>
                </a:cubicBezTo>
                <a:cubicBezTo>
                  <a:pt x="6309667" y="4250300"/>
                  <a:pt x="6325839" y="4254817"/>
                  <a:pt x="6344327" y="4256154"/>
                </a:cubicBezTo>
                <a:cubicBezTo>
                  <a:pt x="6361442" y="4257707"/>
                  <a:pt x="6379286" y="4254921"/>
                  <a:pt x="6396102" y="4263559"/>
                </a:cubicBezTo>
                <a:cubicBezTo>
                  <a:pt x="6411116" y="4269664"/>
                  <a:pt x="6425486" y="4271645"/>
                  <a:pt x="6438438" y="4255541"/>
                </a:cubicBezTo>
                <a:cubicBezTo>
                  <a:pt x="6443460" y="4278695"/>
                  <a:pt x="6458773" y="4277712"/>
                  <a:pt x="6475459" y="4276515"/>
                </a:cubicBezTo>
                <a:cubicBezTo>
                  <a:pt x="6487813" y="4274586"/>
                  <a:pt x="6500381" y="4274032"/>
                  <a:pt x="6511491" y="4282153"/>
                </a:cubicBezTo>
                <a:cubicBezTo>
                  <a:pt x="6527579" y="4295131"/>
                  <a:pt x="6545123" y="4299432"/>
                  <a:pt x="6564040" y="4303519"/>
                </a:cubicBezTo>
                <a:cubicBezTo>
                  <a:pt x="6597328" y="4309587"/>
                  <a:pt x="6631558" y="4312690"/>
                  <a:pt x="6663173" y="4326060"/>
                </a:cubicBezTo>
                <a:cubicBezTo>
                  <a:pt x="6688654" y="4336163"/>
                  <a:pt x="6714863" y="4341927"/>
                  <a:pt x="6742744" y="4340390"/>
                </a:cubicBezTo>
                <a:cubicBezTo>
                  <a:pt x="6750981" y="4339104"/>
                  <a:pt x="6757115" y="4342371"/>
                  <a:pt x="6761148" y="4350190"/>
                </a:cubicBezTo>
                <a:cubicBezTo>
                  <a:pt x="6776206" y="4374593"/>
                  <a:pt x="6777579" y="4374378"/>
                  <a:pt x="6806189" y="4368503"/>
                </a:cubicBezTo>
                <a:cubicBezTo>
                  <a:pt x="6808935" y="4368075"/>
                  <a:pt x="6811679" y="4367646"/>
                  <a:pt x="6815798" y="4367003"/>
                </a:cubicBezTo>
                <a:cubicBezTo>
                  <a:pt x="6812968" y="4375894"/>
                  <a:pt x="6810137" y="4384784"/>
                  <a:pt x="6807093" y="4392300"/>
                </a:cubicBezTo>
                <a:cubicBezTo>
                  <a:pt x="6803749" y="4406903"/>
                  <a:pt x="6793626" y="4414116"/>
                  <a:pt x="6779685" y="4414884"/>
                </a:cubicBezTo>
                <a:cubicBezTo>
                  <a:pt x="6771450" y="4416171"/>
                  <a:pt x="6764158" y="4414493"/>
                  <a:pt x="6756136" y="4417153"/>
                </a:cubicBezTo>
                <a:cubicBezTo>
                  <a:pt x="6742840" y="4422046"/>
                  <a:pt x="6738292" y="4419939"/>
                  <a:pt x="6733401" y="4406623"/>
                </a:cubicBezTo>
                <a:cubicBezTo>
                  <a:pt x="6732543" y="4401124"/>
                  <a:pt x="6731684" y="4395626"/>
                  <a:pt x="6730826" y="4390127"/>
                </a:cubicBezTo>
                <a:cubicBezTo>
                  <a:pt x="6730910" y="4381665"/>
                  <a:pt x="6726578" y="4380934"/>
                  <a:pt x="6719715" y="4382005"/>
                </a:cubicBezTo>
                <a:cubicBezTo>
                  <a:pt x="6704401" y="4382988"/>
                  <a:pt x="6694493" y="4391576"/>
                  <a:pt x="6686388" y="4402698"/>
                </a:cubicBezTo>
                <a:cubicBezTo>
                  <a:pt x="6683857" y="4404501"/>
                  <a:pt x="6683128" y="4408840"/>
                  <a:pt x="6678796" y="4408107"/>
                </a:cubicBezTo>
                <a:cubicBezTo>
                  <a:pt x="6675835" y="4407162"/>
                  <a:pt x="6675192" y="4403038"/>
                  <a:pt x="6673390" y="4400503"/>
                </a:cubicBezTo>
                <a:cubicBezTo>
                  <a:pt x="6672960" y="4397754"/>
                  <a:pt x="6672746" y="4396379"/>
                  <a:pt x="6672317" y="4393630"/>
                </a:cubicBezTo>
                <a:cubicBezTo>
                  <a:pt x="6670815" y="4384008"/>
                  <a:pt x="6666268" y="4381902"/>
                  <a:pt x="6658461" y="4385937"/>
                </a:cubicBezTo>
                <a:cubicBezTo>
                  <a:pt x="6650869" y="4391346"/>
                  <a:pt x="6646108" y="4387866"/>
                  <a:pt x="6640916" y="4381636"/>
                </a:cubicBezTo>
                <a:cubicBezTo>
                  <a:pt x="6635941" y="4376780"/>
                  <a:pt x="6636455" y="4371067"/>
                  <a:pt x="6639928" y="4366301"/>
                </a:cubicBezTo>
                <a:cubicBezTo>
                  <a:pt x="6643187" y="4360160"/>
                  <a:pt x="6650479" y="4361837"/>
                  <a:pt x="6656614" y="4365103"/>
                </a:cubicBezTo>
                <a:cubicBezTo>
                  <a:pt x="6660947" y="4365835"/>
                  <a:pt x="6664122" y="4368156"/>
                  <a:pt x="6667381" y="4362014"/>
                </a:cubicBezTo>
                <a:cubicBezTo>
                  <a:pt x="6670640" y="4355873"/>
                  <a:pt x="6667465" y="4353552"/>
                  <a:pt x="6664076" y="4349858"/>
                </a:cubicBezTo>
                <a:cubicBezTo>
                  <a:pt x="6656140" y="4344056"/>
                  <a:pt x="6632292" y="4353412"/>
                  <a:pt x="6631263" y="4364837"/>
                </a:cubicBezTo>
                <a:cubicBezTo>
                  <a:pt x="6628563" y="4383564"/>
                  <a:pt x="6615780" y="4382744"/>
                  <a:pt x="6602997" y="4381924"/>
                </a:cubicBezTo>
                <a:cubicBezTo>
                  <a:pt x="6576274" y="4381872"/>
                  <a:pt x="6549636" y="4373358"/>
                  <a:pt x="6523855" y="4370343"/>
                </a:cubicBezTo>
                <a:cubicBezTo>
                  <a:pt x="6516563" y="4368666"/>
                  <a:pt x="6515704" y="4363166"/>
                  <a:pt x="6517590" y="4357239"/>
                </a:cubicBezTo>
                <a:cubicBezTo>
                  <a:pt x="6519263" y="4349938"/>
                  <a:pt x="6520936" y="4342636"/>
                  <a:pt x="6521020" y="4334174"/>
                </a:cubicBezTo>
                <a:cubicBezTo>
                  <a:pt x="6519733" y="4325927"/>
                  <a:pt x="6513813" y="4324035"/>
                  <a:pt x="6507893" y="4322143"/>
                </a:cubicBezTo>
                <a:cubicBezTo>
                  <a:pt x="6503346" y="4320037"/>
                  <a:pt x="6503047" y="4327124"/>
                  <a:pt x="6500515" y="4328928"/>
                </a:cubicBezTo>
                <a:cubicBezTo>
                  <a:pt x="6495155" y="4339622"/>
                  <a:pt x="6488422" y="4350529"/>
                  <a:pt x="6483061" y="4361223"/>
                </a:cubicBezTo>
                <a:cubicBezTo>
                  <a:pt x="6481259" y="4358688"/>
                  <a:pt x="6481044" y="4357314"/>
                  <a:pt x="6480830" y="4355939"/>
                </a:cubicBezTo>
                <a:cubicBezTo>
                  <a:pt x="6476882" y="4339658"/>
                  <a:pt x="6476882" y="4339658"/>
                  <a:pt x="6463071" y="4350264"/>
                </a:cubicBezTo>
                <a:cubicBezTo>
                  <a:pt x="6458224" y="4355244"/>
                  <a:pt x="6456422" y="4352709"/>
                  <a:pt x="6454406" y="4348800"/>
                </a:cubicBezTo>
                <a:cubicBezTo>
                  <a:pt x="6448571" y="4338446"/>
                  <a:pt x="6439691" y="4335608"/>
                  <a:pt x="6430513" y="4339858"/>
                </a:cubicBezTo>
                <a:cubicBezTo>
                  <a:pt x="6416487" y="4349088"/>
                  <a:pt x="6401173" y="4350071"/>
                  <a:pt x="6386074" y="4352429"/>
                </a:cubicBezTo>
                <a:cubicBezTo>
                  <a:pt x="6377839" y="4353715"/>
                  <a:pt x="6373935" y="4355732"/>
                  <a:pt x="6380713" y="4363123"/>
                </a:cubicBezTo>
                <a:cubicBezTo>
                  <a:pt x="6386119" y="4370727"/>
                  <a:pt x="6385605" y="4376439"/>
                  <a:pt x="6376855" y="4383438"/>
                </a:cubicBezTo>
                <a:cubicBezTo>
                  <a:pt x="6389853" y="4385633"/>
                  <a:pt x="6402636" y="4386454"/>
                  <a:pt x="6414476" y="4390237"/>
                </a:cubicBezTo>
                <a:cubicBezTo>
                  <a:pt x="6426099" y="4392646"/>
                  <a:pt x="6437939" y="4396431"/>
                  <a:pt x="6447677" y="4404767"/>
                </a:cubicBezTo>
                <a:cubicBezTo>
                  <a:pt x="6430478" y="4411677"/>
                  <a:pt x="6430478" y="4411677"/>
                  <a:pt x="6402466" y="4403378"/>
                </a:cubicBezTo>
                <a:cubicBezTo>
                  <a:pt x="6384707" y="4397702"/>
                  <a:pt x="6376686" y="4400362"/>
                  <a:pt x="6369009" y="4414234"/>
                </a:cubicBezTo>
                <a:cubicBezTo>
                  <a:pt x="6361547" y="4429480"/>
                  <a:pt x="6361547" y="4429480"/>
                  <a:pt x="6350951" y="4415645"/>
                </a:cubicBezTo>
                <a:cubicBezTo>
                  <a:pt x="6350736" y="4414271"/>
                  <a:pt x="6349149" y="4413110"/>
                  <a:pt x="6348935" y="4411736"/>
                </a:cubicBezTo>
                <a:cubicBezTo>
                  <a:pt x="6324137" y="4378997"/>
                  <a:pt x="6304706" y="4380622"/>
                  <a:pt x="6283348" y="4414935"/>
                </a:cubicBezTo>
                <a:cubicBezTo>
                  <a:pt x="6275671" y="4428807"/>
                  <a:pt x="6263233" y="4439198"/>
                  <a:pt x="6248563" y="4444305"/>
                </a:cubicBezTo>
                <a:cubicBezTo>
                  <a:pt x="6232307" y="4448251"/>
                  <a:pt x="6217722" y="4444896"/>
                  <a:pt x="6201765" y="4441755"/>
                </a:cubicBezTo>
                <a:cubicBezTo>
                  <a:pt x="6182634" y="4436293"/>
                  <a:pt x="6162128" y="4431047"/>
                  <a:pt x="6142483" y="4431297"/>
                </a:cubicBezTo>
                <a:cubicBezTo>
                  <a:pt x="6127171" y="4432280"/>
                  <a:pt x="6111428" y="4430514"/>
                  <a:pt x="6098000" y="4425570"/>
                </a:cubicBezTo>
                <a:cubicBezTo>
                  <a:pt x="6087534" y="4421572"/>
                  <a:pt x="6074321" y="4418003"/>
                  <a:pt x="6063985" y="4423841"/>
                </a:cubicBezTo>
                <a:cubicBezTo>
                  <a:pt x="6051117" y="4431483"/>
                  <a:pt x="6043181" y="4425680"/>
                  <a:pt x="6034814" y="4417131"/>
                </a:cubicBezTo>
                <a:cubicBezTo>
                  <a:pt x="6019671" y="4401189"/>
                  <a:pt x="6009589" y="4381642"/>
                  <a:pt x="6005940" y="4358274"/>
                </a:cubicBezTo>
                <a:cubicBezTo>
                  <a:pt x="6005081" y="4352775"/>
                  <a:pt x="6004223" y="4347277"/>
                  <a:pt x="5995558" y="4345813"/>
                </a:cubicBezTo>
                <a:cubicBezTo>
                  <a:pt x="5986679" y="4342975"/>
                  <a:pt x="5985007" y="4350277"/>
                  <a:pt x="5981532" y="4355043"/>
                </a:cubicBezTo>
                <a:cubicBezTo>
                  <a:pt x="5979432" y="4359596"/>
                  <a:pt x="5977330" y="4364149"/>
                  <a:pt x="5975014" y="4367327"/>
                </a:cubicBezTo>
                <a:cubicBezTo>
                  <a:pt x="5965966" y="4381413"/>
                  <a:pt x="5951295" y="4386519"/>
                  <a:pt x="5936411" y="4390252"/>
                </a:cubicBezTo>
                <a:cubicBezTo>
                  <a:pt x="5924057" y="4392180"/>
                  <a:pt x="5922341" y="4381183"/>
                  <a:pt x="5915777" y="4375167"/>
                </a:cubicBezTo>
                <a:cubicBezTo>
                  <a:pt x="5910846" y="4388611"/>
                  <a:pt x="5900723" y="4395824"/>
                  <a:pt x="5887941" y="4395003"/>
                </a:cubicBezTo>
                <a:cubicBezTo>
                  <a:pt x="5872198" y="4393237"/>
                  <a:pt x="5857313" y="4396969"/>
                  <a:pt x="5842429" y="4400701"/>
                </a:cubicBezTo>
                <a:cubicBezTo>
                  <a:pt x="5811074" y="4407005"/>
                  <a:pt x="5779804" y="4404847"/>
                  <a:pt x="5752606" y="4383747"/>
                </a:cubicBezTo>
                <a:cubicBezTo>
                  <a:pt x="5747845" y="4380267"/>
                  <a:pt x="5743082" y="4376786"/>
                  <a:pt x="5738021" y="4380392"/>
                </a:cubicBezTo>
                <a:cubicBezTo>
                  <a:pt x="5728113" y="4388979"/>
                  <a:pt x="5716918" y="4389320"/>
                  <a:pt x="5705722" y="4389660"/>
                </a:cubicBezTo>
                <a:cubicBezTo>
                  <a:pt x="5701604" y="4390303"/>
                  <a:pt x="5699074" y="4392106"/>
                  <a:pt x="5696972" y="4396658"/>
                </a:cubicBezTo>
                <a:cubicBezTo>
                  <a:pt x="5695300" y="4403961"/>
                  <a:pt x="5689595" y="4403443"/>
                  <a:pt x="5683675" y="4401550"/>
                </a:cubicBezTo>
                <a:cubicBezTo>
                  <a:pt x="5676382" y="4399873"/>
                  <a:pt x="5666989" y="4402749"/>
                  <a:pt x="5663900" y="4391965"/>
                </a:cubicBezTo>
                <a:cubicBezTo>
                  <a:pt x="5662182" y="4380969"/>
                  <a:pt x="5654676" y="4377916"/>
                  <a:pt x="5646011" y="4376453"/>
                </a:cubicBezTo>
                <a:cubicBezTo>
                  <a:pt x="5638719" y="4374775"/>
                  <a:pt x="5630483" y="4376061"/>
                  <a:pt x="5626879" y="4370991"/>
                </a:cubicBezTo>
                <a:cubicBezTo>
                  <a:pt x="5619457" y="4359477"/>
                  <a:pt x="5610278" y="4363726"/>
                  <a:pt x="5599297" y="4365441"/>
                </a:cubicBezTo>
                <a:cubicBezTo>
                  <a:pt x="5595394" y="4367458"/>
                  <a:pt x="5591061" y="4366727"/>
                  <a:pt x="5586944" y="4367370"/>
                </a:cubicBezTo>
                <a:cubicBezTo>
                  <a:pt x="5567513" y="4368996"/>
                  <a:pt x="5547652" y="4367872"/>
                  <a:pt x="5528650" y="4372248"/>
                </a:cubicBezTo>
                <a:cubicBezTo>
                  <a:pt x="5520629" y="4374908"/>
                  <a:pt x="5509647" y="4376623"/>
                  <a:pt x="5507761" y="4382550"/>
                </a:cubicBezTo>
                <a:cubicBezTo>
                  <a:pt x="5506303" y="4391227"/>
                  <a:pt x="5517928" y="4393635"/>
                  <a:pt x="5525435" y="4396688"/>
                </a:cubicBezTo>
                <a:cubicBezTo>
                  <a:pt x="5527022" y="4397848"/>
                  <a:pt x="5528610" y="4399009"/>
                  <a:pt x="5529982" y="4398793"/>
                </a:cubicBezTo>
                <a:cubicBezTo>
                  <a:pt x="5552933" y="4410699"/>
                  <a:pt x="5558039" y="4425392"/>
                  <a:pt x="5544786" y="4448583"/>
                </a:cubicBezTo>
                <a:cubicBezTo>
                  <a:pt x="5538009" y="4441193"/>
                  <a:pt x="5531959" y="4429464"/>
                  <a:pt x="5520120" y="4425681"/>
                </a:cubicBezTo>
                <a:cubicBezTo>
                  <a:pt x="5506908" y="4422110"/>
                  <a:pt x="5498588" y="4431858"/>
                  <a:pt x="5488250" y="4437697"/>
                </a:cubicBezTo>
                <a:cubicBezTo>
                  <a:pt x="5484561" y="4441089"/>
                  <a:pt x="5480229" y="4440357"/>
                  <a:pt x="5480529" y="4433269"/>
                </a:cubicBezTo>
                <a:cubicBezTo>
                  <a:pt x="5481472" y="4430306"/>
                  <a:pt x="5481043" y="4427558"/>
                  <a:pt x="5481986" y="4424594"/>
                </a:cubicBezTo>
                <a:cubicBezTo>
                  <a:pt x="5482716" y="4420255"/>
                  <a:pt x="5483444" y="4415917"/>
                  <a:pt x="5480054" y="4412222"/>
                </a:cubicBezTo>
                <a:cubicBezTo>
                  <a:pt x="5478252" y="4409687"/>
                  <a:pt x="5474779" y="4414454"/>
                  <a:pt x="5472033" y="4414883"/>
                </a:cubicBezTo>
                <a:cubicBezTo>
                  <a:pt x="5463069" y="4420507"/>
                  <a:pt x="5459680" y="4416812"/>
                  <a:pt x="5459765" y="4408350"/>
                </a:cubicBezTo>
                <a:cubicBezTo>
                  <a:pt x="5459336" y="4405600"/>
                  <a:pt x="5461651" y="4402422"/>
                  <a:pt x="5457104" y="4400316"/>
                </a:cubicBezTo>
                <a:cubicBezTo>
                  <a:pt x="5438491" y="4434200"/>
                  <a:pt x="5427940" y="4438665"/>
                  <a:pt x="5388304" y="4427956"/>
                </a:cubicBezTo>
                <a:cubicBezTo>
                  <a:pt x="5386931" y="4428170"/>
                  <a:pt x="5386931" y="4428170"/>
                  <a:pt x="5385344" y="4427010"/>
                </a:cubicBezTo>
                <a:cubicBezTo>
                  <a:pt x="5354373" y="4417765"/>
                  <a:pt x="5322888" y="4414232"/>
                  <a:pt x="5291962" y="4423285"/>
                </a:cubicBezTo>
                <a:cubicBezTo>
                  <a:pt x="5281195" y="4426374"/>
                  <a:pt x="5273688" y="4423322"/>
                  <a:pt x="5268282" y="4415717"/>
                </a:cubicBezTo>
                <a:cubicBezTo>
                  <a:pt x="5261290" y="4406952"/>
                  <a:pt x="5250823" y="4402954"/>
                  <a:pt x="5241000" y="4403080"/>
                </a:cubicBezTo>
                <a:cubicBezTo>
                  <a:pt x="5223885" y="4401528"/>
                  <a:pt x="5205612" y="4401565"/>
                  <a:pt x="5187767" y="4404351"/>
                </a:cubicBezTo>
                <a:cubicBezTo>
                  <a:pt x="5172669" y="4406709"/>
                  <a:pt x="5170782" y="4412636"/>
                  <a:pt x="5178419" y="4425524"/>
                </a:cubicBezTo>
                <a:cubicBezTo>
                  <a:pt x="5180434" y="4429434"/>
                  <a:pt x="5184982" y="4431540"/>
                  <a:pt x="5181509" y="4436307"/>
                </a:cubicBezTo>
                <a:cubicBezTo>
                  <a:pt x="5175504" y="4442877"/>
                  <a:pt x="5178164" y="4450910"/>
                  <a:pt x="5179452" y="4459158"/>
                </a:cubicBezTo>
                <a:cubicBezTo>
                  <a:pt x="5180096" y="4463282"/>
                  <a:pt x="5182327" y="4468566"/>
                  <a:pt x="5177052" y="4470798"/>
                </a:cubicBezTo>
                <a:cubicBezTo>
                  <a:pt x="5171775" y="4473029"/>
                  <a:pt x="5168171" y="4467960"/>
                  <a:pt x="5166155" y="4464050"/>
                </a:cubicBezTo>
                <a:cubicBezTo>
                  <a:pt x="5160320" y="4453696"/>
                  <a:pt x="5154700" y="4444717"/>
                  <a:pt x="5149081" y="4435738"/>
                </a:cubicBezTo>
                <a:cubicBezTo>
                  <a:pt x="5134666" y="4415458"/>
                  <a:pt x="5116476" y="4407033"/>
                  <a:pt x="5091984" y="4412265"/>
                </a:cubicBezTo>
                <a:cubicBezTo>
                  <a:pt x="5079630" y="4414195"/>
                  <a:pt x="5067492" y="4417498"/>
                  <a:pt x="5055138" y="4419427"/>
                </a:cubicBezTo>
                <a:cubicBezTo>
                  <a:pt x="5040254" y="4423159"/>
                  <a:pt x="5030945" y="4417571"/>
                  <a:pt x="5024681" y="4404469"/>
                </a:cubicBezTo>
                <a:cubicBezTo>
                  <a:pt x="5022879" y="4401933"/>
                  <a:pt x="5023608" y="4397596"/>
                  <a:pt x="5019275" y="4396865"/>
                </a:cubicBezTo>
                <a:cubicBezTo>
                  <a:pt x="5015287" y="4407343"/>
                  <a:pt x="5010142" y="4419413"/>
                  <a:pt x="5006367" y="4431266"/>
                </a:cubicBezTo>
                <a:cubicBezTo>
                  <a:pt x="5000063" y="4444924"/>
                  <a:pt x="5000063" y="4444924"/>
                  <a:pt x="4991268" y="4433624"/>
                </a:cubicBezTo>
                <a:cubicBezTo>
                  <a:pt x="4984062" y="4423485"/>
                  <a:pt x="4976769" y="4421807"/>
                  <a:pt x="4967075" y="4431768"/>
                </a:cubicBezTo>
                <a:cubicBezTo>
                  <a:pt x="4958541" y="4440142"/>
                  <a:pt x="4947774" y="4443231"/>
                  <a:pt x="4934991" y="4442410"/>
                </a:cubicBezTo>
                <a:cubicBezTo>
                  <a:pt x="4916720" y="4442448"/>
                  <a:pt x="4898960" y="4436771"/>
                  <a:pt x="4881200" y="4431096"/>
                </a:cubicBezTo>
                <a:cubicBezTo>
                  <a:pt x="4863442" y="4425420"/>
                  <a:pt x="4856792" y="4427866"/>
                  <a:pt x="4846372" y="4442167"/>
                </a:cubicBezTo>
                <a:cubicBezTo>
                  <a:pt x="4835005" y="4459431"/>
                  <a:pt x="4819692" y="4460413"/>
                  <a:pt x="4807293" y="4444044"/>
                </a:cubicBezTo>
                <a:cubicBezTo>
                  <a:pt x="4795324" y="4430423"/>
                  <a:pt x="4795324" y="4430423"/>
                  <a:pt x="4785117" y="4446098"/>
                </a:cubicBezTo>
                <a:cubicBezTo>
                  <a:pt x="4783745" y="4446313"/>
                  <a:pt x="4783959" y="4447687"/>
                  <a:pt x="4782587" y="4447901"/>
                </a:cubicBezTo>
                <a:cubicBezTo>
                  <a:pt x="4778168" y="4455631"/>
                  <a:pt x="4772463" y="4455114"/>
                  <a:pt x="4767060" y="4447510"/>
                </a:cubicBezTo>
                <a:cubicBezTo>
                  <a:pt x="4765042" y="4443600"/>
                  <a:pt x="4763025" y="4439691"/>
                  <a:pt x="4761009" y="4435781"/>
                </a:cubicBezTo>
                <a:cubicBezTo>
                  <a:pt x="4753372" y="4422892"/>
                  <a:pt x="4742692" y="4417519"/>
                  <a:pt x="4729608" y="4423787"/>
                </a:cubicBezTo>
                <a:cubicBezTo>
                  <a:pt x="4707348" y="4434304"/>
                  <a:pt x="4684228" y="4439321"/>
                  <a:pt x="4664198" y="4455122"/>
                </a:cubicBezTo>
                <a:cubicBezTo>
                  <a:pt x="4657977" y="4460317"/>
                  <a:pt x="4649957" y="4462978"/>
                  <a:pt x="4646867" y="4452195"/>
                </a:cubicBezTo>
                <a:cubicBezTo>
                  <a:pt x="4642834" y="4444377"/>
                  <a:pt x="4637343" y="4445233"/>
                  <a:pt x="4632283" y="4448840"/>
                </a:cubicBezTo>
                <a:cubicBezTo>
                  <a:pt x="4621945" y="4454679"/>
                  <a:pt x="4609592" y="4456607"/>
                  <a:pt x="4598611" y="4458322"/>
                </a:cubicBezTo>
                <a:cubicBezTo>
                  <a:pt x="4580768" y="4461108"/>
                  <a:pt x="4574763" y="4467678"/>
                  <a:pt x="4573220" y="4484816"/>
                </a:cubicBezTo>
                <a:cubicBezTo>
                  <a:pt x="4573350" y="4494653"/>
                  <a:pt x="4569232" y="4495295"/>
                  <a:pt x="4560996" y="4496582"/>
                </a:cubicBezTo>
                <a:cubicBezTo>
                  <a:pt x="4551388" y="4498082"/>
                  <a:pt x="4540492" y="4491334"/>
                  <a:pt x="4532173" y="4501082"/>
                </a:cubicBezTo>
                <a:cubicBezTo>
                  <a:pt x="4525009" y="4509241"/>
                  <a:pt x="4531059" y="4520969"/>
                  <a:pt x="4528658" y="4532609"/>
                </a:cubicBezTo>
                <a:cubicBezTo>
                  <a:pt x="4520293" y="4524059"/>
                  <a:pt x="4516260" y="4516240"/>
                  <a:pt x="4516130" y="4506403"/>
                </a:cubicBezTo>
                <a:cubicBezTo>
                  <a:pt x="4515870" y="4486729"/>
                  <a:pt x="4534657" y="4480980"/>
                  <a:pt x="4545509" y="4469429"/>
                </a:cubicBezTo>
                <a:cubicBezTo>
                  <a:pt x="4520757" y="4454989"/>
                  <a:pt x="4507245" y="4458506"/>
                  <a:pt x="4495795" y="4484231"/>
                </a:cubicBezTo>
                <a:cubicBezTo>
                  <a:pt x="4493694" y="4488784"/>
                  <a:pt x="4490219" y="4493551"/>
                  <a:pt x="4488333" y="4499478"/>
                </a:cubicBezTo>
                <a:cubicBezTo>
                  <a:pt x="4483187" y="4511546"/>
                  <a:pt x="4477828" y="4522240"/>
                  <a:pt x="4464530" y="4527132"/>
                </a:cubicBezTo>
                <a:cubicBezTo>
                  <a:pt x="4459253" y="4529365"/>
                  <a:pt x="4459897" y="4533489"/>
                  <a:pt x="4459384" y="4539202"/>
                </a:cubicBezTo>
                <a:cubicBezTo>
                  <a:pt x="4457925" y="4547877"/>
                  <a:pt x="4461016" y="4558660"/>
                  <a:pt x="4454067" y="4568194"/>
                </a:cubicBezTo>
                <a:cubicBezTo>
                  <a:pt x="4452052" y="4564284"/>
                  <a:pt x="4450250" y="4561750"/>
                  <a:pt x="4448232" y="4557840"/>
                </a:cubicBezTo>
                <a:cubicBezTo>
                  <a:pt x="4437851" y="4545379"/>
                  <a:pt x="4429186" y="4543917"/>
                  <a:pt x="4416748" y="4554307"/>
                </a:cubicBezTo>
                <a:cubicBezTo>
                  <a:pt x="4405682" y="4564484"/>
                  <a:pt x="4392171" y="4568001"/>
                  <a:pt x="4378015" y="4567395"/>
                </a:cubicBezTo>
                <a:cubicBezTo>
                  <a:pt x="4367977" y="4566146"/>
                  <a:pt x="4358154" y="4566272"/>
                  <a:pt x="4346745" y="4565237"/>
                </a:cubicBezTo>
                <a:cubicBezTo>
                  <a:pt x="4315474" y="4563079"/>
                  <a:pt x="4283987" y="4559546"/>
                  <a:pt x="4254176" y="4548712"/>
                </a:cubicBezTo>
                <a:cubicBezTo>
                  <a:pt x="4242336" y="4544928"/>
                  <a:pt x="4239890" y="4538270"/>
                  <a:pt x="4243879" y="4527790"/>
                </a:cubicBezTo>
                <a:cubicBezTo>
                  <a:pt x="4248080" y="4518686"/>
                  <a:pt x="4254085" y="4512116"/>
                  <a:pt x="4261462" y="4505330"/>
                </a:cubicBezTo>
                <a:cubicBezTo>
                  <a:pt x="4268625" y="4497173"/>
                  <a:pt x="4278963" y="4491334"/>
                  <a:pt x="4285695" y="4480426"/>
                </a:cubicBezTo>
                <a:cubicBezTo>
                  <a:pt x="4239241" y="4489087"/>
                  <a:pt x="4195318" y="4495945"/>
                  <a:pt x="4166582" y="4537043"/>
                </a:cubicBezTo>
                <a:cubicBezTo>
                  <a:pt x="4162893" y="4540435"/>
                  <a:pt x="4157833" y="4544042"/>
                  <a:pt x="4151913" y="4542149"/>
                </a:cubicBezTo>
                <a:cubicBezTo>
                  <a:pt x="4145778" y="4538882"/>
                  <a:pt x="4141017" y="4535402"/>
                  <a:pt x="4139728" y="4527154"/>
                </a:cubicBezTo>
                <a:cubicBezTo>
                  <a:pt x="4139084" y="4523030"/>
                  <a:pt x="4141186" y="4518479"/>
                  <a:pt x="4143287" y="4513926"/>
                </a:cubicBezTo>
                <a:cubicBezTo>
                  <a:pt x="4148434" y="4501858"/>
                  <a:pt x="4158127" y="4491895"/>
                  <a:pt x="4161685" y="4478667"/>
                </a:cubicBezTo>
                <a:cubicBezTo>
                  <a:pt x="4165244" y="4465438"/>
                  <a:pt x="4158122" y="4446836"/>
                  <a:pt x="4147869" y="4444213"/>
                </a:cubicBezTo>
                <a:cubicBezTo>
                  <a:pt x="4136030" y="4440429"/>
                  <a:pt x="4129082" y="4449963"/>
                  <a:pt x="4121920" y="4458121"/>
                </a:cubicBezTo>
                <a:cubicBezTo>
                  <a:pt x="4117073" y="4463103"/>
                  <a:pt x="4117933" y="4468601"/>
                  <a:pt x="4117418" y="4474314"/>
                </a:cubicBezTo>
                <a:cubicBezTo>
                  <a:pt x="4118021" y="4505197"/>
                  <a:pt x="4108543" y="4516534"/>
                  <a:pt x="4077916" y="4518500"/>
                </a:cubicBezTo>
                <a:cubicBezTo>
                  <a:pt x="4063975" y="4519268"/>
                  <a:pt x="4051837" y="4522572"/>
                  <a:pt x="4040127" y="4528624"/>
                </a:cubicBezTo>
                <a:cubicBezTo>
                  <a:pt x="4007743" y="4546354"/>
                  <a:pt x="3974372" y="4548748"/>
                  <a:pt x="3942412" y="4524169"/>
                </a:cubicBezTo>
                <a:cubicBezTo>
                  <a:pt x="3926540" y="4512565"/>
                  <a:pt x="3926540" y="4512565"/>
                  <a:pt x="3918349" y="4532150"/>
                </a:cubicBezTo>
                <a:cubicBezTo>
                  <a:pt x="3912259" y="4547182"/>
                  <a:pt x="3888625" y="4557913"/>
                  <a:pt x="3880260" y="4549362"/>
                </a:cubicBezTo>
                <a:cubicBezTo>
                  <a:pt x="3866488" y="4533206"/>
                  <a:pt x="3851176" y="4534189"/>
                  <a:pt x="3833333" y="4536976"/>
                </a:cubicBezTo>
                <a:cubicBezTo>
                  <a:pt x="3823938" y="4539851"/>
                  <a:pt x="3813386" y="4544314"/>
                  <a:pt x="3802704" y="4538942"/>
                </a:cubicBezTo>
                <a:cubicBezTo>
                  <a:pt x="3790435" y="4532408"/>
                  <a:pt x="3785589" y="4537390"/>
                  <a:pt x="3781815" y="4549244"/>
                </a:cubicBezTo>
                <a:cubicBezTo>
                  <a:pt x="3779930" y="4555171"/>
                  <a:pt x="3778042" y="4561098"/>
                  <a:pt x="3770535" y="4558045"/>
                </a:cubicBezTo>
                <a:cubicBezTo>
                  <a:pt x="3764401" y="4554779"/>
                  <a:pt x="3759639" y="4551299"/>
                  <a:pt x="3762469" y="4542407"/>
                </a:cubicBezTo>
                <a:cubicBezTo>
                  <a:pt x="3764357" y="4536480"/>
                  <a:pt x="3767615" y="4530339"/>
                  <a:pt x="3769288" y="4523038"/>
                </a:cubicBezTo>
                <a:cubicBezTo>
                  <a:pt x="3775463" y="4499543"/>
                  <a:pt x="3759160" y="4485191"/>
                  <a:pt x="3736040" y="4490209"/>
                </a:cubicBezTo>
                <a:cubicBezTo>
                  <a:pt x="3730550" y="4491067"/>
                  <a:pt x="3725489" y="4494673"/>
                  <a:pt x="3720214" y="4496906"/>
                </a:cubicBezTo>
                <a:cubicBezTo>
                  <a:pt x="3714937" y="4499137"/>
                  <a:pt x="3709662" y="4501369"/>
                  <a:pt x="3704899" y="4497888"/>
                </a:cubicBezTo>
                <a:cubicBezTo>
                  <a:pt x="3679932" y="4482073"/>
                  <a:pt x="3656299" y="4492803"/>
                  <a:pt x="3633609" y="4500571"/>
                </a:cubicBezTo>
                <a:cubicBezTo>
                  <a:pt x="3631079" y="4502374"/>
                  <a:pt x="3628333" y="4502802"/>
                  <a:pt x="3630349" y="4506712"/>
                </a:cubicBezTo>
                <a:cubicBezTo>
                  <a:pt x="3632366" y="4510621"/>
                  <a:pt x="3633225" y="4516119"/>
                  <a:pt x="3637986" y="4519600"/>
                </a:cubicBezTo>
                <a:cubicBezTo>
                  <a:pt x="3641161" y="4521921"/>
                  <a:pt x="3641890" y="4517583"/>
                  <a:pt x="3643047" y="4515994"/>
                </a:cubicBezTo>
                <a:cubicBezTo>
                  <a:pt x="3653898" y="4504443"/>
                  <a:pt x="3664664" y="4501353"/>
                  <a:pt x="3676933" y="4507887"/>
                </a:cubicBezTo>
                <a:cubicBezTo>
                  <a:pt x="3690575" y="4514206"/>
                  <a:pt x="3698427" y="4528469"/>
                  <a:pt x="3696240" y="4541484"/>
                </a:cubicBezTo>
                <a:cubicBezTo>
                  <a:pt x="3695941" y="4548571"/>
                  <a:pt x="3692038" y="4550588"/>
                  <a:pt x="3685688" y="4545947"/>
                </a:cubicBezTo>
                <a:cubicBezTo>
                  <a:pt x="3674792" y="4539200"/>
                  <a:pt x="3669731" y="4542806"/>
                  <a:pt x="3661625" y="4553929"/>
                </a:cubicBezTo>
                <a:cubicBezTo>
                  <a:pt x="3651632" y="4570978"/>
                  <a:pt x="3623451" y="4579603"/>
                  <a:pt x="3610968" y="4571695"/>
                </a:cubicBezTo>
                <a:cubicBezTo>
                  <a:pt x="3601445" y="4564733"/>
                  <a:pt x="3594581" y="4565806"/>
                  <a:pt x="3586775" y="4569840"/>
                </a:cubicBezTo>
                <a:cubicBezTo>
                  <a:pt x="3576223" y="4574303"/>
                  <a:pt x="3565242" y="4576018"/>
                  <a:pt x="3556448" y="4564718"/>
                </a:cubicBezTo>
                <a:cubicBezTo>
                  <a:pt x="3551042" y="4557114"/>
                  <a:pt x="3543236" y="4561149"/>
                  <a:pt x="3536802" y="4564970"/>
                </a:cubicBezTo>
                <a:cubicBezTo>
                  <a:pt x="3530368" y="4568790"/>
                  <a:pt x="3524149" y="4573986"/>
                  <a:pt x="3516857" y="4572308"/>
                </a:cubicBezTo>
                <a:cubicBezTo>
                  <a:pt x="3507034" y="4572434"/>
                  <a:pt x="3509649" y="4562168"/>
                  <a:pt x="3502442" y="4552029"/>
                </a:cubicBezTo>
                <a:cubicBezTo>
                  <a:pt x="3500085" y="4581968"/>
                  <a:pt x="3472718" y="4577792"/>
                  <a:pt x="3456806" y="4592950"/>
                </a:cubicBezTo>
                <a:cubicBezTo>
                  <a:pt x="3458693" y="4587023"/>
                  <a:pt x="3459637" y="4584059"/>
                  <a:pt x="3460579" y="4581095"/>
                </a:cubicBezTo>
                <a:cubicBezTo>
                  <a:pt x="3465595" y="4559190"/>
                  <a:pt x="3458817" y="4551800"/>
                  <a:pt x="3436855" y="4555229"/>
                </a:cubicBezTo>
                <a:cubicBezTo>
                  <a:pt x="3421972" y="4558961"/>
                  <a:pt x="3408245" y="4561104"/>
                  <a:pt x="3392932" y="4562087"/>
                </a:cubicBezTo>
                <a:cubicBezTo>
                  <a:pt x="3368953" y="4561607"/>
                  <a:pt x="3345704" y="4556789"/>
                  <a:pt x="3324341" y="4546043"/>
                </a:cubicBezTo>
                <a:cubicBezTo>
                  <a:pt x="3307740" y="4538778"/>
                  <a:pt x="3301306" y="4542599"/>
                  <a:pt x="3298177" y="4558577"/>
                </a:cubicBezTo>
                <a:cubicBezTo>
                  <a:pt x="3296849" y="4577090"/>
                  <a:pt x="3288100" y="4584088"/>
                  <a:pt x="3269611" y="4582750"/>
                </a:cubicBezTo>
                <a:cubicBezTo>
                  <a:pt x="3258415" y="4583090"/>
                  <a:pt x="3247006" y="4582056"/>
                  <a:pt x="3234866" y="4585360"/>
                </a:cubicBezTo>
                <a:cubicBezTo>
                  <a:pt x="3228004" y="4586431"/>
                  <a:pt x="3220710" y="4584753"/>
                  <a:pt x="3215520" y="4578523"/>
                </a:cubicBezTo>
                <a:cubicBezTo>
                  <a:pt x="3213719" y="4575988"/>
                  <a:pt x="3213289" y="4573239"/>
                  <a:pt x="3209600" y="4576631"/>
                </a:cubicBezTo>
                <a:cubicBezTo>
                  <a:pt x="3195061" y="4591575"/>
                  <a:pt x="3175415" y="4591825"/>
                  <a:pt x="3157357" y="4593237"/>
                </a:cubicBezTo>
                <a:cubicBezTo>
                  <a:pt x="3139298" y="4594649"/>
                  <a:pt x="3123041" y="4598595"/>
                  <a:pt x="3111461" y="4614484"/>
                </a:cubicBezTo>
                <a:cubicBezTo>
                  <a:pt x="3106829" y="4620840"/>
                  <a:pt x="3102496" y="4620108"/>
                  <a:pt x="3097306" y="4613878"/>
                </a:cubicBezTo>
                <a:cubicBezTo>
                  <a:pt x="3086924" y="4601418"/>
                  <a:pt x="3085551" y="4601633"/>
                  <a:pt x="3076073" y="4612969"/>
                </a:cubicBezTo>
                <a:cubicBezTo>
                  <a:pt x="3059431" y="4632466"/>
                  <a:pt x="3040559" y="4646677"/>
                  <a:pt x="3013407" y="4643875"/>
                </a:cubicBezTo>
                <a:cubicBezTo>
                  <a:pt x="3004957" y="4643787"/>
                  <a:pt x="2994919" y="4642539"/>
                  <a:pt x="2985096" y="4642663"/>
                </a:cubicBezTo>
                <a:cubicBezTo>
                  <a:pt x="2977804" y="4640986"/>
                  <a:pt x="2968410" y="4643861"/>
                  <a:pt x="2969223" y="4631061"/>
                </a:cubicBezTo>
                <a:cubicBezTo>
                  <a:pt x="2969737" y="4625347"/>
                  <a:pt x="2962016" y="4620922"/>
                  <a:pt x="2957469" y="4618815"/>
                </a:cubicBezTo>
                <a:cubicBezTo>
                  <a:pt x="2939495" y="4611764"/>
                  <a:pt x="2921007" y="4610426"/>
                  <a:pt x="2902220" y="4616176"/>
                </a:cubicBezTo>
                <a:cubicBezTo>
                  <a:pt x="2886178" y="4621497"/>
                  <a:pt x="2886393" y="4622872"/>
                  <a:pt x="2891713" y="4638939"/>
                </a:cubicBezTo>
                <a:cubicBezTo>
                  <a:pt x="2895961" y="4648133"/>
                  <a:pt x="2895661" y="4655220"/>
                  <a:pt x="2888498" y="4663378"/>
                </a:cubicBezTo>
                <a:cubicBezTo>
                  <a:pt x="2889097" y="4649203"/>
                  <a:pt x="2882105" y="4640439"/>
                  <a:pt x="2869322" y="4639618"/>
                </a:cubicBezTo>
                <a:cubicBezTo>
                  <a:pt x="2851049" y="4639656"/>
                  <a:pt x="2835091" y="4636515"/>
                  <a:pt x="2833974" y="4611343"/>
                </a:cubicBezTo>
                <a:cubicBezTo>
                  <a:pt x="2827585" y="4633462"/>
                  <a:pt x="2812700" y="4637194"/>
                  <a:pt x="2794212" y="4635856"/>
                </a:cubicBezTo>
                <a:cubicBezTo>
                  <a:pt x="2785548" y="4634394"/>
                  <a:pt x="2779328" y="4639589"/>
                  <a:pt x="2773109" y="4644784"/>
                </a:cubicBezTo>
                <a:cubicBezTo>
                  <a:pt x="2755610" y="4658782"/>
                  <a:pt x="2743985" y="4656373"/>
                  <a:pt x="2736648" y="4636396"/>
                </a:cubicBezTo>
                <a:cubicBezTo>
                  <a:pt x="2732186" y="4625828"/>
                  <a:pt x="2728282" y="4627845"/>
                  <a:pt x="2723865" y="4635575"/>
                </a:cubicBezTo>
                <a:cubicBezTo>
                  <a:pt x="2716917" y="4645110"/>
                  <a:pt x="2709325" y="4650519"/>
                  <a:pt x="2695684" y="4644200"/>
                </a:cubicBezTo>
                <a:cubicBezTo>
                  <a:pt x="2699157" y="4639433"/>
                  <a:pt x="2702846" y="4636042"/>
                  <a:pt x="2705163" y="4632863"/>
                </a:cubicBezTo>
                <a:cubicBezTo>
                  <a:pt x="2710952" y="4624919"/>
                  <a:pt x="2709878" y="4618045"/>
                  <a:pt x="2700784" y="4613833"/>
                </a:cubicBezTo>
                <a:cubicBezTo>
                  <a:pt x="2693063" y="4609407"/>
                  <a:pt x="2687573" y="4610264"/>
                  <a:pt x="2684743" y="4619154"/>
                </a:cubicBezTo>
                <a:cubicBezTo>
                  <a:pt x="2676338" y="4637364"/>
                  <a:pt x="2661154" y="4648184"/>
                  <a:pt x="2647558" y="4660164"/>
                </a:cubicBezTo>
                <a:cubicBezTo>
                  <a:pt x="2637435" y="4667377"/>
                  <a:pt x="2626883" y="4671840"/>
                  <a:pt x="2613886" y="4669646"/>
                </a:cubicBezTo>
                <a:cubicBezTo>
                  <a:pt x="2600889" y="4667450"/>
                  <a:pt x="2588535" y="4669379"/>
                  <a:pt x="2576396" y="4672683"/>
                </a:cubicBezTo>
                <a:cubicBezTo>
                  <a:pt x="2563100" y="4677574"/>
                  <a:pt x="2548215" y="4681306"/>
                  <a:pt x="2535517" y="4672025"/>
                </a:cubicBezTo>
                <a:cubicBezTo>
                  <a:pt x="2521447" y="4662957"/>
                  <a:pt x="2515228" y="4668152"/>
                  <a:pt x="2507122" y="4679274"/>
                </a:cubicBezTo>
                <a:cubicBezTo>
                  <a:pt x="2495112" y="4692414"/>
                  <a:pt x="2486877" y="4693700"/>
                  <a:pt x="2472592" y="4683258"/>
                </a:cubicBezTo>
                <a:cubicBezTo>
                  <a:pt x="2468044" y="4681151"/>
                  <a:pt x="2464656" y="4677456"/>
                  <a:pt x="2461481" y="4675136"/>
                </a:cubicBezTo>
                <a:cubicBezTo>
                  <a:pt x="2448783" y="4665854"/>
                  <a:pt x="2436000" y="4665033"/>
                  <a:pt x="2421116" y="4668766"/>
                </a:cubicBezTo>
                <a:cubicBezTo>
                  <a:pt x="2408977" y="4672069"/>
                  <a:pt x="2406362" y="4682334"/>
                  <a:pt x="2403747" y="4692599"/>
                </a:cubicBezTo>
                <a:cubicBezTo>
                  <a:pt x="2400188" y="4705828"/>
                  <a:pt x="2385434" y="4719396"/>
                  <a:pt x="2374965" y="4715399"/>
                </a:cubicBezTo>
                <a:cubicBezTo>
                  <a:pt x="2351287" y="4707831"/>
                  <a:pt x="2339064" y="4719596"/>
                  <a:pt x="2324095" y="4731790"/>
                </a:cubicBezTo>
                <a:cubicBezTo>
                  <a:pt x="2320192" y="4733808"/>
                  <a:pt x="2314701" y="4734665"/>
                  <a:pt x="2310798" y="4736682"/>
                </a:cubicBezTo>
                <a:cubicBezTo>
                  <a:pt x="2286520" y="4743289"/>
                  <a:pt x="2260310" y="4737525"/>
                  <a:pt x="2233287" y="4744560"/>
                </a:cubicBezTo>
                <a:cubicBezTo>
                  <a:pt x="2242980" y="4734599"/>
                  <a:pt x="2245811" y="4725708"/>
                  <a:pt x="2246839" y="4714282"/>
                </a:cubicBezTo>
                <a:cubicBezTo>
                  <a:pt x="2247568" y="4709944"/>
                  <a:pt x="2246709" y="4704445"/>
                  <a:pt x="2250398" y="4701054"/>
                </a:cubicBezTo>
                <a:cubicBezTo>
                  <a:pt x="2253872" y="4696287"/>
                  <a:pt x="2255759" y="4690360"/>
                  <a:pt x="2249624" y="4687093"/>
                </a:cubicBezTo>
                <a:cubicBezTo>
                  <a:pt x="2243490" y="4683827"/>
                  <a:pt x="2239587" y="4685845"/>
                  <a:pt x="2236112" y="4690611"/>
                </a:cubicBezTo>
                <a:cubicBezTo>
                  <a:pt x="2231480" y="4696967"/>
                  <a:pt x="2228221" y="4703108"/>
                  <a:pt x="2223590" y="4709464"/>
                </a:cubicBezTo>
                <a:cubicBezTo>
                  <a:pt x="2220329" y="4715606"/>
                  <a:pt x="2215997" y="4714873"/>
                  <a:pt x="2212180" y="4708429"/>
                </a:cubicBezTo>
                <a:cubicBezTo>
                  <a:pt x="2208575" y="4703359"/>
                  <a:pt x="2207717" y="4697861"/>
                  <a:pt x="2201582" y="4694594"/>
                </a:cubicBezTo>
                <a:cubicBezTo>
                  <a:pt x="2175887" y="4683117"/>
                  <a:pt x="2148864" y="4690153"/>
                  <a:pt x="2132653" y="4712397"/>
                </a:cubicBezTo>
                <a:cubicBezTo>
                  <a:pt x="2127806" y="4717378"/>
                  <a:pt x="2123174" y="4723734"/>
                  <a:pt x="2118542" y="4730090"/>
                </a:cubicBezTo>
                <a:cubicBezTo>
                  <a:pt x="2117683" y="4724591"/>
                  <a:pt x="2116824" y="4719093"/>
                  <a:pt x="2117339" y="4713380"/>
                </a:cubicBezTo>
                <a:cubicBezTo>
                  <a:pt x="2115407" y="4701009"/>
                  <a:pt x="2110860" y="4698902"/>
                  <a:pt x="2100308" y="4703367"/>
                </a:cubicBezTo>
                <a:cubicBezTo>
                  <a:pt x="2092288" y="4706027"/>
                  <a:pt x="2085640" y="4708474"/>
                  <a:pt x="2077833" y="4712508"/>
                </a:cubicBezTo>
                <a:cubicBezTo>
                  <a:pt x="2068653" y="4716757"/>
                  <a:pt x="2065395" y="4722900"/>
                  <a:pt x="2066897" y="4732521"/>
                </a:cubicBezTo>
                <a:cubicBezTo>
                  <a:pt x="2069772" y="4741929"/>
                  <a:pt x="2076335" y="4747946"/>
                  <a:pt x="2077838" y="4757567"/>
                </a:cubicBezTo>
                <a:cubicBezTo>
                  <a:pt x="2068744" y="4753354"/>
                  <a:pt x="2062395" y="4748713"/>
                  <a:pt x="2054673" y="4744287"/>
                </a:cubicBezTo>
                <a:cubicBezTo>
                  <a:pt x="2046951" y="4739860"/>
                  <a:pt x="2040089" y="4740931"/>
                  <a:pt x="2034084" y="4747501"/>
                </a:cubicBezTo>
                <a:cubicBezTo>
                  <a:pt x="2011868" y="4776317"/>
                  <a:pt x="2003631" y="4777603"/>
                  <a:pt x="1969272" y="4764661"/>
                </a:cubicBezTo>
                <a:cubicBezTo>
                  <a:pt x="1951512" y="4758986"/>
                  <a:pt x="1923761" y="4770359"/>
                  <a:pt x="1919474" y="4787926"/>
                </a:cubicBezTo>
                <a:cubicBezTo>
                  <a:pt x="1918016" y="4796603"/>
                  <a:pt x="1915056" y="4795657"/>
                  <a:pt x="1907978" y="4795354"/>
                </a:cubicBezTo>
                <a:cubicBezTo>
                  <a:pt x="1889490" y="4794017"/>
                  <a:pt x="1886960" y="4795819"/>
                  <a:pt x="1878555" y="4814029"/>
                </a:cubicBezTo>
                <a:cubicBezTo>
                  <a:pt x="1878769" y="4815404"/>
                  <a:pt x="1878984" y="4816778"/>
                  <a:pt x="1877610" y="4816992"/>
                </a:cubicBezTo>
                <a:cubicBezTo>
                  <a:pt x="1874352" y="4823134"/>
                  <a:pt x="1870663" y="4826526"/>
                  <a:pt x="1863800" y="4827598"/>
                </a:cubicBezTo>
                <a:cubicBezTo>
                  <a:pt x="1855564" y="4828884"/>
                  <a:pt x="1857237" y="4821582"/>
                  <a:pt x="1855220" y="4817673"/>
                </a:cubicBezTo>
                <a:cubicBezTo>
                  <a:pt x="1848956" y="4804569"/>
                  <a:pt x="1844194" y="4801089"/>
                  <a:pt x="1832914" y="4809891"/>
                </a:cubicBezTo>
                <a:cubicBezTo>
                  <a:pt x="1816358" y="4820924"/>
                  <a:pt x="1798728" y="4825085"/>
                  <a:pt x="1779511" y="4828086"/>
                </a:cubicBezTo>
                <a:cubicBezTo>
                  <a:pt x="1765785" y="4830229"/>
                  <a:pt x="1752488" y="4835121"/>
                  <a:pt x="1739620" y="4842762"/>
                </a:cubicBezTo>
                <a:cubicBezTo>
                  <a:pt x="1734560" y="4846369"/>
                  <a:pt x="1731600" y="4845424"/>
                  <a:pt x="1727995" y="4840353"/>
                </a:cubicBezTo>
                <a:cubicBezTo>
                  <a:pt x="1719416" y="4830429"/>
                  <a:pt x="1706418" y="4828234"/>
                  <a:pt x="1694279" y="4831537"/>
                </a:cubicBezTo>
                <a:cubicBezTo>
                  <a:pt x="1678023" y="4835483"/>
                  <a:pt x="1663353" y="4840590"/>
                  <a:pt x="1644436" y="4836503"/>
                </a:cubicBezTo>
                <a:cubicBezTo>
                  <a:pt x="1649627" y="4842733"/>
                  <a:pt x="1651858" y="4848016"/>
                  <a:pt x="1655248" y="4851713"/>
                </a:cubicBezTo>
                <a:cubicBezTo>
                  <a:pt x="1660438" y="4857943"/>
                  <a:pt x="1658552" y="4863869"/>
                  <a:pt x="1651903" y="4866315"/>
                </a:cubicBezTo>
                <a:cubicBezTo>
                  <a:pt x="1631958" y="4873654"/>
                  <a:pt x="1619434" y="4892507"/>
                  <a:pt x="1604680" y="4906075"/>
                </a:cubicBezTo>
                <a:cubicBezTo>
                  <a:pt x="1583921" y="4926214"/>
                  <a:pt x="1561146" y="4942443"/>
                  <a:pt x="1532751" y="4949693"/>
                </a:cubicBezTo>
                <a:cubicBezTo>
                  <a:pt x="1524514" y="4950979"/>
                  <a:pt x="1522713" y="4948445"/>
                  <a:pt x="1523012" y="4941357"/>
                </a:cubicBezTo>
                <a:cubicBezTo>
                  <a:pt x="1521295" y="4930360"/>
                  <a:pt x="1528673" y="4923576"/>
                  <a:pt x="1536049" y="4916791"/>
                </a:cubicBezTo>
                <a:cubicBezTo>
                  <a:pt x="1540681" y="4910436"/>
                  <a:pt x="1541410" y="4906097"/>
                  <a:pt x="1536220" y="4899867"/>
                </a:cubicBezTo>
                <a:cubicBezTo>
                  <a:pt x="1531243" y="4895012"/>
                  <a:pt x="1525967" y="4897244"/>
                  <a:pt x="1520691" y="4899475"/>
                </a:cubicBezTo>
                <a:cubicBezTo>
                  <a:pt x="1514258" y="4903297"/>
                  <a:pt x="1506665" y="4908707"/>
                  <a:pt x="1500232" y="4912527"/>
                </a:cubicBezTo>
                <a:cubicBezTo>
                  <a:pt x="1496543" y="4915920"/>
                  <a:pt x="1490324" y="4921115"/>
                  <a:pt x="1485347" y="4916260"/>
                </a:cubicBezTo>
                <a:cubicBezTo>
                  <a:pt x="1478998" y="4911619"/>
                  <a:pt x="1483630" y="4905262"/>
                  <a:pt x="1485517" y="4899335"/>
                </a:cubicBezTo>
                <a:cubicBezTo>
                  <a:pt x="1486461" y="4896372"/>
                  <a:pt x="1490149" y="4892979"/>
                  <a:pt x="1486974" y="4890659"/>
                </a:cubicBezTo>
                <a:cubicBezTo>
                  <a:pt x="1483586" y="4886964"/>
                  <a:pt x="1480112" y="4891731"/>
                  <a:pt x="1477581" y="4893534"/>
                </a:cubicBezTo>
                <a:cubicBezTo>
                  <a:pt x="1454376" y="4907014"/>
                  <a:pt x="1433403" y="4925778"/>
                  <a:pt x="1414231" y="4947077"/>
                </a:cubicBezTo>
                <a:cubicBezTo>
                  <a:pt x="1386739" y="4978123"/>
                  <a:pt x="1362636" y="5012866"/>
                  <a:pt x="1331969" y="5041592"/>
                </a:cubicBezTo>
                <a:cubicBezTo>
                  <a:pt x="1329439" y="5043396"/>
                  <a:pt x="1327337" y="5047947"/>
                  <a:pt x="1322791" y="5045841"/>
                </a:cubicBezTo>
                <a:cubicBezTo>
                  <a:pt x="1318243" y="5043735"/>
                  <a:pt x="1316227" y="5039826"/>
                  <a:pt x="1316956" y="5035488"/>
                </a:cubicBezTo>
                <a:cubicBezTo>
                  <a:pt x="1315668" y="5027240"/>
                  <a:pt x="1317125" y="5018564"/>
                  <a:pt x="1318583" y="5009887"/>
                </a:cubicBezTo>
                <a:cubicBezTo>
                  <a:pt x="1320254" y="5002586"/>
                  <a:pt x="1321712" y="4993909"/>
                  <a:pt x="1317894" y="4987465"/>
                </a:cubicBezTo>
                <a:cubicBezTo>
                  <a:pt x="1313861" y="4979646"/>
                  <a:pt x="1307941" y="4977754"/>
                  <a:pt x="1303524" y="4985484"/>
                </a:cubicBezTo>
                <a:cubicBezTo>
                  <a:pt x="1298892" y="4991840"/>
                  <a:pt x="1295632" y="4997981"/>
                  <a:pt x="1291000" y="5004337"/>
                </a:cubicBezTo>
                <a:cubicBezTo>
                  <a:pt x="1286798" y="5013442"/>
                  <a:pt x="1280579" y="5018637"/>
                  <a:pt x="1272213" y="5010087"/>
                </a:cubicBezTo>
                <a:cubicBezTo>
                  <a:pt x="1269038" y="5007766"/>
                  <a:pt x="1266079" y="5006820"/>
                  <a:pt x="1263548" y="5008623"/>
                </a:cubicBezTo>
                <a:cubicBezTo>
                  <a:pt x="1257329" y="5013819"/>
                  <a:pt x="1248879" y="5013730"/>
                  <a:pt x="1242230" y="5016176"/>
                </a:cubicBezTo>
                <a:cubicBezTo>
                  <a:pt x="1221856" y="5020765"/>
                  <a:pt x="1217009" y="5025747"/>
                  <a:pt x="1214524" y="5045849"/>
                </a:cubicBezTo>
                <a:cubicBezTo>
                  <a:pt x="1213196" y="5064361"/>
                  <a:pt x="1203503" y="5074324"/>
                  <a:pt x="1184501" y="5078699"/>
                </a:cubicBezTo>
                <a:cubicBezTo>
                  <a:pt x="1179011" y="5079556"/>
                  <a:pt x="1171932" y="5079253"/>
                  <a:pt x="1166442" y="5080111"/>
                </a:cubicBezTo>
                <a:cubicBezTo>
                  <a:pt x="1122948" y="5089717"/>
                  <a:pt x="1089406" y="5109036"/>
                  <a:pt x="1073883" y="5153704"/>
                </a:cubicBezTo>
                <a:cubicBezTo>
                  <a:pt x="1067794" y="5168735"/>
                  <a:pt x="1056943" y="5180286"/>
                  <a:pt x="1040686" y="5184232"/>
                </a:cubicBezTo>
                <a:cubicBezTo>
                  <a:pt x="1034037" y="5186679"/>
                  <a:pt x="1027389" y="5189125"/>
                  <a:pt x="1020526" y="5190197"/>
                </a:cubicBezTo>
                <a:cubicBezTo>
                  <a:pt x="1005856" y="5195303"/>
                  <a:pt x="992345" y="5198821"/>
                  <a:pt x="984883" y="5214067"/>
                </a:cubicBezTo>
                <a:cubicBezTo>
                  <a:pt x="978365" y="5226350"/>
                  <a:pt x="975833" y="5228153"/>
                  <a:pt x="967039" y="5216853"/>
                </a:cubicBezTo>
                <a:cubicBezTo>
                  <a:pt x="958459" y="5206928"/>
                  <a:pt x="951810" y="5209374"/>
                  <a:pt x="946235" y="5218694"/>
                </a:cubicBezTo>
                <a:cubicBezTo>
                  <a:pt x="941603" y="5225049"/>
                  <a:pt x="937615" y="5235529"/>
                  <a:pt x="926204" y="5234494"/>
                </a:cubicBezTo>
                <a:cubicBezTo>
                  <a:pt x="921873" y="5233762"/>
                  <a:pt x="923889" y="5237672"/>
                  <a:pt x="924104" y="5239046"/>
                </a:cubicBezTo>
                <a:cubicBezTo>
                  <a:pt x="930154" y="5250776"/>
                  <a:pt x="926380" y="5262630"/>
                  <a:pt x="926724" y="5273840"/>
                </a:cubicBezTo>
                <a:cubicBezTo>
                  <a:pt x="926854" y="5283677"/>
                  <a:pt x="918833" y="5286337"/>
                  <a:pt x="910382" y="5286248"/>
                </a:cubicBezTo>
                <a:cubicBezTo>
                  <a:pt x="903305" y="5285946"/>
                  <a:pt x="900859" y="5279287"/>
                  <a:pt x="901373" y="5273574"/>
                </a:cubicBezTo>
                <a:cubicBezTo>
                  <a:pt x="901458" y="5265112"/>
                  <a:pt x="900170" y="5256865"/>
                  <a:pt x="900469" y="5249777"/>
                </a:cubicBezTo>
                <a:cubicBezTo>
                  <a:pt x="893008" y="5265024"/>
                  <a:pt x="888290" y="5279842"/>
                  <a:pt x="882201" y="5294873"/>
                </a:cubicBezTo>
                <a:cubicBezTo>
                  <a:pt x="876112" y="5309905"/>
                  <a:pt x="868221" y="5322402"/>
                  <a:pt x="854195" y="5331633"/>
                </a:cubicBezTo>
                <a:cubicBezTo>
                  <a:pt x="847762" y="5335454"/>
                  <a:pt x="844586" y="5333133"/>
                  <a:pt x="843513" y="5326260"/>
                </a:cubicBezTo>
                <a:cubicBezTo>
                  <a:pt x="842225" y="5318012"/>
                  <a:pt x="845270" y="5310496"/>
                  <a:pt x="849688" y="5302766"/>
                </a:cubicBezTo>
                <a:cubicBezTo>
                  <a:pt x="853890" y="5293661"/>
                  <a:pt x="859680" y="5285717"/>
                  <a:pt x="857963" y="5274720"/>
                </a:cubicBezTo>
                <a:cubicBezTo>
                  <a:pt x="845525" y="5285111"/>
                  <a:pt x="831584" y="5285879"/>
                  <a:pt x="816356" y="5278400"/>
                </a:cubicBezTo>
                <a:cubicBezTo>
                  <a:pt x="823089" y="5267492"/>
                  <a:pt x="832996" y="5258904"/>
                  <a:pt x="841317" y="5249156"/>
                </a:cubicBezTo>
                <a:cubicBezTo>
                  <a:pt x="851954" y="5236230"/>
                  <a:pt x="855512" y="5223002"/>
                  <a:pt x="851565" y="5206721"/>
                </a:cubicBezTo>
                <a:cubicBezTo>
                  <a:pt x="850491" y="5199848"/>
                  <a:pt x="846373" y="5200491"/>
                  <a:pt x="842685" y="5203883"/>
                </a:cubicBezTo>
                <a:cubicBezTo>
                  <a:pt x="838053" y="5210239"/>
                  <a:pt x="833421" y="5216594"/>
                  <a:pt x="828789" y="5222950"/>
                </a:cubicBezTo>
                <a:cubicBezTo>
                  <a:pt x="813735" y="5243607"/>
                  <a:pt x="808244" y="5244464"/>
                  <a:pt x="791085" y="5224613"/>
                </a:cubicBezTo>
                <a:cubicBezTo>
                  <a:pt x="791085" y="5224613"/>
                  <a:pt x="789712" y="5224827"/>
                  <a:pt x="788340" y="5225042"/>
                </a:cubicBezTo>
                <a:cubicBezTo>
                  <a:pt x="778990" y="5246215"/>
                  <a:pt x="761277" y="5258838"/>
                  <a:pt x="739959" y="5266391"/>
                </a:cubicBezTo>
                <a:cubicBezTo>
                  <a:pt x="712207" y="5277764"/>
                  <a:pt x="683597" y="5283640"/>
                  <a:pt x="660951" y="5309705"/>
                </a:cubicBezTo>
                <a:cubicBezTo>
                  <a:pt x="660606" y="5298495"/>
                  <a:pt x="665024" y="5290764"/>
                  <a:pt x="667854" y="5281874"/>
                </a:cubicBezTo>
                <a:cubicBezTo>
                  <a:pt x="671198" y="5267270"/>
                  <a:pt x="669182" y="5263360"/>
                  <a:pt x="652710" y="5265932"/>
                </a:cubicBezTo>
                <a:cubicBezTo>
                  <a:pt x="632121" y="5269147"/>
                  <a:pt x="610887" y="5268238"/>
                  <a:pt x="592999" y="5252725"/>
                </a:cubicBezTo>
                <a:cubicBezTo>
                  <a:pt x="586436" y="5246710"/>
                  <a:pt x="581030" y="5239105"/>
                  <a:pt x="575839" y="5232875"/>
                </a:cubicBezTo>
                <a:cubicBezTo>
                  <a:pt x="568631" y="5222736"/>
                  <a:pt x="559323" y="5217148"/>
                  <a:pt x="548641" y="5211775"/>
                </a:cubicBezTo>
                <a:cubicBezTo>
                  <a:pt x="539762" y="5208937"/>
                  <a:pt x="535130" y="5215293"/>
                  <a:pt x="528481" y="5217740"/>
                </a:cubicBezTo>
                <a:cubicBezTo>
                  <a:pt x="516557" y="5222417"/>
                  <a:pt x="505875" y="5217045"/>
                  <a:pt x="502356" y="5203513"/>
                </a:cubicBezTo>
                <a:cubicBezTo>
                  <a:pt x="499696" y="5195480"/>
                  <a:pt x="497036" y="5187446"/>
                  <a:pt x="494376" y="5179413"/>
                </a:cubicBezTo>
                <a:cubicBezTo>
                  <a:pt x="489484" y="5166096"/>
                  <a:pt x="491885" y="5154456"/>
                  <a:pt x="504752" y="5146814"/>
                </a:cubicBezTo>
                <a:cubicBezTo>
                  <a:pt x="513931" y="5142564"/>
                  <a:pt x="515903" y="5128176"/>
                  <a:pt x="527528" y="5130586"/>
                </a:cubicBezTo>
                <a:cubicBezTo>
                  <a:pt x="537565" y="5131834"/>
                  <a:pt x="539496" y="5144206"/>
                  <a:pt x="546275" y="5151596"/>
                </a:cubicBezTo>
                <a:cubicBezTo>
                  <a:pt x="553268" y="5160361"/>
                  <a:pt x="558758" y="5159504"/>
                  <a:pt x="564549" y="5151558"/>
                </a:cubicBezTo>
                <a:cubicBezTo>
                  <a:pt x="576557" y="5138419"/>
                  <a:pt x="583075" y="5126136"/>
                  <a:pt x="577541" y="5108695"/>
                </a:cubicBezTo>
                <a:cubicBezTo>
                  <a:pt x="575095" y="5102037"/>
                  <a:pt x="575609" y="5096324"/>
                  <a:pt x="574536" y="5089450"/>
                </a:cubicBezTo>
                <a:cubicBezTo>
                  <a:pt x="574536" y="5089450"/>
                  <a:pt x="575908" y="5089236"/>
                  <a:pt x="575694" y="5087862"/>
                </a:cubicBezTo>
                <a:cubicBezTo>
                  <a:pt x="574321" y="5088076"/>
                  <a:pt x="572949" y="5088290"/>
                  <a:pt x="572949" y="5088290"/>
                </a:cubicBezTo>
                <a:cubicBezTo>
                  <a:pt x="544983" y="5098289"/>
                  <a:pt x="521992" y="5113144"/>
                  <a:pt x="499646" y="5132122"/>
                </a:cubicBezTo>
                <a:cubicBezTo>
                  <a:pt x="488795" y="5143673"/>
                  <a:pt x="474555" y="5151529"/>
                  <a:pt x="458083" y="5154101"/>
                </a:cubicBezTo>
                <a:cubicBezTo>
                  <a:pt x="444142" y="5154870"/>
                  <a:pt x="438138" y="5161440"/>
                  <a:pt x="438912" y="5175400"/>
                </a:cubicBezTo>
                <a:cubicBezTo>
                  <a:pt x="438827" y="5183862"/>
                  <a:pt x="435138" y="5187254"/>
                  <a:pt x="427417" y="5182827"/>
                </a:cubicBezTo>
                <a:cubicBezTo>
                  <a:pt x="417893" y="5175866"/>
                  <a:pt x="409872" y="5178526"/>
                  <a:pt x="402924" y="5188060"/>
                </a:cubicBezTo>
                <a:cubicBezTo>
                  <a:pt x="389457" y="5209876"/>
                  <a:pt x="363507" y="5223785"/>
                  <a:pt x="362525" y="5253509"/>
                </a:cubicBezTo>
                <a:cubicBezTo>
                  <a:pt x="361151" y="5253722"/>
                  <a:pt x="361366" y="5255098"/>
                  <a:pt x="360208" y="5256686"/>
                </a:cubicBezTo>
                <a:cubicBezTo>
                  <a:pt x="356520" y="5260079"/>
                  <a:pt x="354204" y="5263256"/>
                  <a:pt x="348284" y="5261364"/>
                </a:cubicBezTo>
                <a:cubicBezTo>
                  <a:pt x="343737" y="5259258"/>
                  <a:pt x="340563" y="5256938"/>
                  <a:pt x="339705" y="5251440"/>
                </a:cubicBezTo>
                <a:cubicBezTo>
                  <a:pt x="338631" y="5244566"/>
                  <a:pt x="342105" y="5239799"/>
                  <a:pt x="344206" y="5235246"/>
                </a:cubicBezTo>
                <a:cubicBezTo>
                  <a:pt x="350725" y="5222965"/>
                  <a:pt x="358616" y="5210468"/>
                  <a:pt x="365134" y="5198184"/>
                </a:cubicBezTo>
                <a:cubicBezTo>
                  <a:pt x="366508" y="5197971"/>
                  <a:pt x="366293" y="5196595"/>
                  <a:pt x="366079" y="5195221"/>
                </a:cubicBezTo>
                <a:cubicBezTo>
                  <a:pt x="367451" y="5195007"/>
                  <a:pt x="367236" y="5193631"/>
                  <a:pt x="368609" y="5193418"/>
                </a:cubicBezTo>
                <a:cubicBezTo>
                  <a:pt x="367236" y="5193631"/>
                  <a:pt x="365864" y="5193847"/>
                  <a:pt x="364491" y="5194061"/>
                </a:cubicBezTo>
                <a:cubicBezTo>
                  <a:pt x="364491" y="5194061"/>
                  <a:pt x="363333" y="5195650"/>
                  <a:pt x="361961" y="5195864"/>
                </a:cubicBezTo>
                <a:cubicBezTo>
                  <a:pt x="350466" y="5203291"/>
                  <a:pt x="337597" y="5210933"/>
                  <a:pt x="326103" y="5218360"/>
                </a:cubicBezTo>
                <a:cubicBezTo>
                  <a:pt x="311862" y="5226216"/>
                  <a:pt x="297623" y="5234072"/>
                  <a:pt x="288788" y="5249532"/>
                </a:cubicBezTo>
                <a:cubicBezTo>
                  <a:pt x="283642" y="5261601"/>
                  <a:pt x="276563" y="5261297"/>
                  <a:pt x="266826" y="5252961"/>
                </a:cubicBezTo>
                <a:cubicBezTo>
                  <a:pt x="258461" y="5244411"/>
                  <a:pt x="260132" y="5237110"/>
                  <a:pt x="265922" y="5229164"/>
                </a:cubicBezTo>
                <a:cubicBezTo>
                  <a:pt x="273599" y="5215293"/>
                  <a:pt x="281276" y="5201422"/>
                  <a:pt x="287579" y="5187764"/>
                </a:cubicBezTo>
                <a:cubicBezTo>
                  <a:pt x="294313" y="5176855"/>
                  <a:pt x="296713" y="5165216"/>
                  <a:pt x="294782" y="5152845"/>
                </a:cubicBezTo>
                <a:cubicBezTo>
                  <a:pt x="284230" y="5157308"/>
                  <a:pt x="282988" y="5167359"/>
                  <a:pt x="279943" y="5174876"/>
                </a:cubicBezTo>
                <a:cubicBezTo>
                  <a:pt x="274283" y="5192656"/>
                  <a:pt x="262273" y="5205797"/>
                  <a:pt x="243486" y="5211546"/>
                </a:cubicBezTo>
                <a:cubicBezTo>
                  <a:pt x="226072" y="5217081"/>
                  <a:pt x="208228" y="5219867"/>
                  <a:pt x="192830" y="5229312"/>
                </a:cubicBezTo>
                <a:cubicBezTo>
                  <a:pt x="170997" y="5242578"/>
                  <a:pt x="158214" y="5241758"/>
                  <a:pt x="143370" y="5218729"/>
                </a:cubicBezTo>
                <a:cubicBezTo>
                  <a:pt x="135733" y="5205840"/>
                  <a:pt x="124967" y="5208930"/>
                  <a:pt x="118663" y="5222587"/>
                </a:cubicBezTo>
                <a:cubicBezTo>
                  <a:pt x="112874" y="5230531"/>
                  <a:pt x="111630" y="5240583"/>
                  <a:pt x="101293" y="5246421"/>
                </a:cubicBezTo>
                <a:cubicBezTo>
                  <a:pt x="84218" y="5218108"/>
                  <a:pt x="56292" y="5201347"/>
                  <a:pt x="32997" y="5178230"/>
                </a:cubicBezTo>
                <a:cubicBezTo>
                  <a:pt x="6528" y="5152793"/>
                  <a:pt x="-9175" y="5124266"/>
                  <a:pt x="5834" y="5085311"/>
                </a:cubicBezTo>
                <a:cubicBezTo>
                  <a:pt x="12438" y="5064566"/>
                  <a:pt x="19041" y="5043821"/>
                  <a:pt x="27232" y="5024238"/>
                </a:cubicBezTo>
                <a:cubicBezTo>
                  <a:pt x="33536" y="5010580"/>
                  <a:pt x="44387" y="4999028"/>
                  <a:pt x="58842" y="4992547"/>
                </a:cubicBezTo>
                <a:cubicBezTo>
                  <a:pt x="61502" y="5000581"/>
                  <a:pt x="60988" y="5006293"/>
                  <a:pt x="64806" y="5012737"/>
                </a:cubicBezTo>
                <a:cubicBezTo>
                  <a:pt x="84837" y="4996937"/>
                  <a:pt x="91570" y="4986029"/>
                  <a:pt x="94999" y="4962964"/>
                </a:cubicBezTo>
                <a:cubicBezTo>
                  <a:pt x="98558" y="4949735"/>
                  <a:pt x="103919" y="4939041"/>
                  <a:pt x="117430" y="4935523"/>
                </a:cubicBezTo>
                <a:cubicBezTo>
                  <a:pt x="132314" y="4931791"/>
                  <a:pt x="144968" y="4922775"/>
                  <a:pt x="156677" y="4916722"/>
                </a:cubicBezTo>
                <a:cubicBezTo>
                  <a:pt x="169544" y="4909081"/>
                  <a:pt x="183056" y="4905563"/>
                  <a:pt x="195839" y="4906383"/>
                </a:cubicBezTo>
                <a:cubicBezTo>
                  <a:pt x="220032" y="4908238"/>
                  <a:pt x="228996" y="4902615"/>
                  <a:pt x="229680" y="4879978"/>
                </a:cubicBezTo>
                <a:cubicBezTo>
                  <a:pt x="229849" y="4863053"/>
                  <a:pt x="236797" y="4853521"/>
                  <a:pt x="249451" y="4844505"/>
                </a:cubicBezTo>
                <a:cubicBezTo>
                  <a:pt x="256099" y="4842058"/>
                  <a:pt x="262318" y="4836862"/>
                  <a:pt x="268538" y="4831667"/>
                </a:cubicBezTo>
                <a:cubicBezTo>
                  <a:pt x="302808" y="4808010"/>
                  <a:pt x="345359" y="4801366"/>
                  <a:pt x="382075" y="4784369"/>
                </a:cubicBezTo>
                <a:cubicBezTo>
                  <a:pt x="392627" y="4779906"/>
                  <a:pt x="403393" y="4776817"/>
                  <a:pt x="415961" y="4776262"/>
                </a:cubicBezTo>
                <a:cubicBezTo>
                  <a:pt x="450491" y="4772279"/>
                  <a:pt x="460184" y="4762316"/>
                  <a:pt x="466014" y="4727611"/>
                </a:cubicBezTo>
                <a:cubicBezTo>
                  <a:pt x="467986" y="4713222"/>
                  <a:pt x="473132" y="4701153"/>
                  <a:pt x="482825" y="4691192"/>
                </a:cubicBezTo>
                <a:cubicBezTo>
                  <a:pt x="498522" y="4674659"/>
                  <a:pt x="503109" y="4650006"/>
                  <a:pt x="494399" y="4630244"/>
                </a:cubicBezTo>
                <a:cubicBezTo>
                  <a:pt x="492383" y="4626334"/>
                  <a:pt x="490581" y="4623799"/>
                  <a:pt x="486463" y="4624441"/>
                </a:cubicBezTo>
                <a:cubicBezTo>
                  <a:pt x="482131" y="4623710"/>
                  <a:pt x="478443" y="4627103"/>
                  <a:pt x="479086" y="4631227"/>
                </a:cubicBezTo>
                <a:cubicBezTo>
                  <a:pt x="478358" y="4635564"/>
                  <a:pt x="478787" y="4638314"/>
                  <a:pt x="479431" y="4642437"/>
                </a:cubicBezTo>
                <a:cubicBezTo>
                  <a:pt x="485824" y="4665377"/>
                  <a:pt x="480978" y="4670358"/>
                  <a:pt x="459231" y="4675162"/>
                </a:cubicBezTo>
                <a:cubicBezTo>
                  <a:pt x="440229" y="4679536"/>
                  <a:pt x="421096" y="4674076"/>
                  <a:pt x="402095" y="4678450"/>
                </a:cubicBezTo>
                <a:cubicBezTo>
                  <a:pt x="407241" y="4666382"/>
                  <a:pt x="411014" y="4654528"/>
                  <a:pt x="416160" y="4642460"/>
                </a:cubicBezTo>
                <a:cubicBezTo>
                  <a:pt x="416889" y="4638121"/>
                  <a:pt x="418776" y="4632194"/>
                  <a:pt x="414228" y="4630089"/>
                </a:cubicBezTo>
                <a:cubicBezTo>
                  <a:pt x="409682" y="4627982"/>
                  <a:pt x="404835" y="4632963"/>
                  <a:pt x="402519" y="4636141"/>
                </a:cubicBezTo>
                <a:cubicBezTo>
                  <a:pt x="399260" y="4642282"/>
                  <a:pt x="396001" y="4648424"/>
                  <a:pt x="389567" y="4652244"/>
                </a:cubicBezTo>
                <a:cubicBezTo>
                  <a:pt x="378286" y="4661046"/>
                  <a:pt x="372366" y="4659155"/>
                  <a:pt x="368848" y="4645622"/>
                </a:cubicBezTo>
                <a:cubicBezTo>
                  <a:pt x="364685" y="4627966"/>
                  <a:pt x="360138" y="4625861"/>
                  <a:pt x="342508" y="4630021"/>
                </a:cubicBezTo>
                <a:cubicBezTo>
                  <a:pt x="331742" y="4633111"/>
                  <a:pt x="326980" y="4629630"/>
                  <a:pt x="328009" y="4618204"/>
                </a:cubicBezTo>
                <a:cubicBezTo>
                  <a:pt x="328737" y="4613866"/>
                  <a:pt x="329681" y="4610903"/>
                  <a:pt x="330625" y="4607939"/>
                </a:cubicBezTo>
                <a:cubicBezTo>
                  <a:pt x="331867" y="4597888"/>
                  <a:pt x="328049" y="4591444"/>
                  <a:pt x="316854" y="4591784"/>
                </a:cubicBezTo>
                <a:cubicBezTo>
                  <a:pt x="290774" y="4595856"/>
                  <a:pt x="267823" y="4583950"/>
                  <a:pt x="243201" y="4579345"/>
                </a:cubicBezTo>
                <a:cubicBezTo>
                  <a:pt x="237281" y="4577454"/>
                  <a:pt x="232519" y="4573973"/>
                  <a:pt x="227544" y="4569117"/>
                </a:cubicBezTo>
                <a:cubicBezTo>
                  <a:pt x="213043" y="4557300"/>
                  <a:pt x="212270" y="4543340"/>
                  <a:pt x="227454" y="4532520"/>
                </a:cubicBezTo>
                <a:cubicBezTo>
                  <a:pt x="239892" y="4522129"/>
                  <a:pt x="252544" y="4513113"/>
                  <a:pt x="266785" y="4505257"/>
                </a:cubicBezTo>
                <a:cubicBezTo>
                  <a:pt x="311822" y="4478511"/>
                  <a:pt x="356429" y="4449017"/>
                  <a:pt x="397647" y="4415827"/>
                </a:cubicBezTo>
                <a:cubicBezTo>
                  <a:pt x="407769" y="4408614"/>
                  <a:pt x="419265" y="4401186"/>
                  <a:pt x="425998" y="4390278"/>
                </a:cubicBezTo>
                <a:cubicBezTo>
                  <a:pt x="451988" y="4349609"/>
                  <a:pt x="488360" y="4321401"/>
                  <a:pt x="531724" y="4301957"/>
                </a:cubicBezTo>
                <a:cubicBezTo>
                  <a:pt x="535628" y="4299939"/>
                  <a:pt x="540904" y="4297708"/>
                  <a:pt x="540260" y="4293584"/>
                </a:cubicBezTo>
                <a:cubicBezTo>
                  <a:pt x="539271" y="4278248"/>
                  <a:pt x="544202" y="4264805"/>
                  <a:pt x="546174" y="4250416"/>
                </a:cubicBezTo>
                <a:cubicBezTo>
                  <a:pt x="546259" y="4241954"/>
                  <a:pt x="545400" y="4236456"/>
                  <a:pt x="537679" y="4232029"/>
                </a:cubicBezTo>
                <a:cubicBezTo>
                  <a:pt x="531330" y="4227389"/>
                  <a:pt x="526698" y="4233743"/>
                  <a:pt x="523009" y="4237136"/>
                </a:cubicBezTo>
                <a:cubicBezTo>
                  <a:pt x="489168" y="4263541"/>
                  <a:pt x="455542" y="4291322"/>
                  <a:pt x="420328" y="4317942"/>
                </a:cubicBezTo>
                <a:cubicBezTo>
                  <a:pt x="382584" y="4346365"/>
                  <a:pt x="342608" y="4369504"/>
                  <a:pt x="296583" y="4380915"/>
                </a:cubicBezTo>
                <a:cubicBezTo>
                  <a:pt x="291093" y="4381772"/>
                  <a:pt x="283286" y="4385808"/>
                  <a:pt x="279897" y="4382111"/>
                </a:cubicBezTo>
                <a:cubicBezTo>
                  <a:pt x="276293" y="4377043"/>
                  <a:pt x="279338" y="4369526"/>
                  <a:pt x="281225" y="4363599"/>
                </a:cubicBezTo>
                <a:cubicBezTo>
                  <a:pt x="283540" y="4360422"/>
                  <a:pt x="284484" y="4357458"/>
                  <a:pt x="286800" y="4354280"/>
                </a:cubicBezTo>
                <a:cubicBezTo>
                  <a:pt x="289630" y="4345389"/>
                  <a:pt x="295420" y="4337445"/>
                  <a:pt x="295290" y="4327608"/>
                </a:cubicBezTo>
                <a:cubicBezTo>
                  <a:pt x="263505" y="4331163"/>
                  <a:pt x="232534" y="4321917"/>
                  <a:pt x="201608" y="4330971"/>
                </a:cubicBezTo>
                <a:cubicBezTo>
                  <a:pt x="194959" y="4333417"/>
                  <a:pt x="188825" y="4330150"/>
                  <a:pt x="194401" y="4320831"/>
                </a:cubicBezTo>
                <a:cubicBezTo>
                  <a:pt x="197659" y="4314690"/>
                  <a:pt x="197745" y="4306227"/>
                  <a:pt x="195299" y="4299569"/>
                </a:cubicBezTo>
                <a:cubicBezTo>
                  <a:pt x="185515" y="4272934"/>
                  <a:pt x="190532" y="4251029"/>
                  <a:pt x="206529" y="4227410"/>
                </a:cubicBezTo>
                <a:cubicBezTo>
                  <a:pt x="231576" y="4189703"/>
                  <a:pt x="250488" y="4148731"/>
                  <a:pt x="280510" y="4115882"/>
                </a:cubicBezTo>
                <a:cubicBezTo>
                  <a:pt x="301999" y="4091406"/>
                  <a:pt x="322328" y="4068517"/>
                  <a:pt x="340641" y="4041719"/>
                </a:cubicBezTo>
                <a:cubicBezTo>
                  <a:pt x="355695" y="4021064"/>
                  <a:pt x="374353" y="4005477"/>
                  <a:pt x="397772" y="3993372"/>
                </a:cubicBezTo>
                <a:cubicBezTo>
                  <a:pt x="413170" y="3983928"/>
                  <a:pt x="428354" y="3973108"/>
                  <a:pt x="438775" y="3958808"/>
                </a:cubicBezTo>
                <a:lnTo>
                  <a:pt x="454229" y="3945331"/>
                </a:lnTo>
                <a:lnTo>
                  <a:pt x="452054" y="3946288"/>
                </a:lnTo>
                <a:cubicBezTo>
                  <a:pt x="431552" y="3952005"/>
                  <a:pt x="416831" y="3944295"/>
                  <a:pt x="401034" y="3917768"/>
                </a:cubicBezTo>
                <a:cubicBezTo>
                  <a:pt x="390256" y="3898006"/>
                  <a:pt x="373924" y="3902070"/>
                  <a:pt x="363729" y="3922241"/>
                </a:cubicBezTo>
                <a:cubicBezTo>
                  <a:pt x="354611" y="3933862"/>
                  <a:pt x="352208" y="3948889"/>
                  <a:pt x="336375" y="3957104"/>
                </a:cubicBezTo>
                <a:cubicBezTo>
                  <a:pt x="312245" y="3913678"/>
                  <a:pt x="271205" y="3887019"/>
                  <a:pt x="237461" y="3851063"/>
                </a:cubicBezTo>
                <a:cubicBezTo>
                  <a:pt x="199072" y="3811454"/>
                  <a:pt x="177015" y="3767780"/>
                  <a:pt x="201631" y="3710087"/>
                </a:cubicBezTo>
                <a:cubicBezTo>
                  <a:pt x="212654" y="3679289"/>
                  <a:pt x="223677" y="3648492"/>
                  <a:pt x="237021" y="3619521"/>
                </a:cubicBezTo>
                <a:cubicBezTo>
                  <a:pt x="247216" y="3599349"/>
                  <a:pt x="264126" y="3582583"/>
                  <a:pt x="286177" y="3573623"/>
                </a:cubicBezTo>
                <a:cubicBezTo>
                  <a:pt x="289744" y="3585827"/>
                  <a:pt x="288666" y="3594378"/>
                  <a:pt x="294056" y="3604259"/>
                </a:cubicBezTo>
                <a:cubicBezTo>
                  <a:pt x="324978" y="3581602"/>
                  <a:pt x="335670" y="3565581"/>
                  <a:pt x="342050" y="3531130"/>
                </a:cubicBezTo>
                <a:cubicBezTo>
                  <a:pt x="348100" y="3511455"/>
                  <a:pt x="356720" y="3495683"/>
                  <a:pt x="377197" y="3491122"/>
                </a:cubicBezTo>
                <a:cubicBezTo>
                  <a:pt x="399746" y="3486312"/>
                  <a:pt x="419226" y="3473448"/>
                  <a:pt x="437132" y="3464985"/>
                </a:cubicBezTo>
                <a:cubicBezTo>
                  <a:pt x="456862" y="3454197"/>
                  <a:pt x="477338" y="3449635"/>
                  <a:pt x="496490" y="3451550"/>
                </a:cubicBezTo>
                <a:cubicBezTo>
                  <a:pt x="532719" y="3455626"/>
                  <a:pt x="546479" y="3447659"/>
                  <a:pt x="548714" y="3413705"/>
                </a:cubicBezTo>
                <a:cubicBezTo>
                  <a:pt x="549872" y="3388301"/>
                  <a:pt x="560814" y="3374356"/>
                  <a:pt x="580295" y="3361493"/>
                </a:cubicBezTo>
                <a:cubicBezTo>
                  <a:pt x="590409" y="3358174"/>
                  <a:pt x="600025" y="3350704"/>
                  <a:pt x="609641" y="3343235"/>
                </a:cubicBezTo>
                <a:cubicBezTo>
                  <a:pt x="662364" y="3309541"/>
                  <a:pt x="726612" y="3301836"/>
                  <a:pt x="782652" y="3278271"/>
                </a:cubicBezTo>
                <a:cubicBezTo>
                  <a:pt x="798735" y="3272132"/>
                  <a:pt x="815066" y="3268068"/>
                  <a:pt x="833967" y="3267906"/>
                </a:cubicBezTo>
                <a:cubicBezTo>
                  <a:pt x="886031" y="3263767"/>
                  <a:pt x="901118" y="3249325"/>
                  <a:pt x="911723" y="3197524"/>
                </a:cubicBezTo>
                <a:cubicBezTo>
                  <a:pt x="915452" y="3176022"/>
                  <a:pt x="923823" y="3158175"/>
                  <a:pt x="938909" y="3143733"/>
                </a:cubicBezTo>
                <a:cubicBezTo>
                  <a:pt x="963365" y="3119746"/>
                  <a:pt x="971568" y="3082969"/>
                  <a:pt x="959543" y="3052831"/>
                </a:cubicBezTo>
                <a:cubicBezTo>
                  <a:pt x="956724" y="3046853"/>
                  <a:pt x="954153" y="3042950"/>
                  <a:pt x="947935" y="3043696"/>
                </a:cubicBezTo>
                <a:cubicBezTo>
                  <a:pt x="941469" y="3042366"/>
                  <a:pt x="935749" y="3047263"/>
                  <a:pt x="936496" y="3053490"/>
                </a:cubicBezTo>
                <a:cubicBezTo>
                  <a:pt x="935171" y="3059965"/>
                  <a:pt x="935668" y="3064116"/>
                  <a:pt x="936416" y="3070342"/>
                </a:cubicBezTo>
                <a:cubicBezTo>
                  <a:pt x="944792" y="3105130"/>
                  <a:pt x="937249" y="3112350"/>
                  <a:pt x="904336" y="3118403"/>
                </a:cubicBezTo>
                <a:cubicBezTo>
                  <a:pt x="875570" y="3123960"/>
                  <a:pt x="847133" y="3114737"/>
                  <a:pt x="818366" y="3120292"/>
                </a:cubicBezTo>
                <a:cubicBezTo>
                  <a:pt x="826738" y="3102445"/>
                  <a:pt x="833036" y="3084847"/>
                  <a:pt x="841408" y="3066999"/>
                </a:cubicBezTo>
                <a:cubicBezTo>
                  <a:pt x="842733" y="3060524"/>
                  <a:pt x="845883" y="3051725"/>
                  <a:pt x="839167" y="3048319"/>
                </a:cubicBezTo>
                <a:cubicBezTo>
                  <a:pt x="832451" y="3044914"/>
                  <a:pt x="824909" y="3052135"/>
                  <a:pt x="821261" y="3056784"/>
                </a:cubicBezTo>
                <a:cubicBezTo>
                  <a:pt x="816040" y="3065831"/>
                  <a:pt x="810817" y="3074879"/>
                  <a:pt x="800952" y="3080273"/>
                </a:cubicBezTo>
                <a:cubicBezTo>
                  <a:pt x="783545" y="3092888"/>
                  <a:pt x="774756" y="3089731"/>
                  <a:pt x="770194" y="3069225"/>
                </a:cubicBezTo>
                <a:cubicBezTo>
                  <a:pt x="764886" y="3042491"/>
                  <a:pt x="758170" y="3039085"/>
                  <a:pt x="731476" y="3044392"/>
                </a:cubicBezTo>
                <a:cubicBezTo>
                  <a:pt x="715144" y="3048456"/>
                  <a:pt x="708180" y="3042975"/>
                  <a:pt x="710333" y="3025874"/>
                </a:cubicBezTo>
                <a:cubicBezTo>
                  <a:pt x="711660" y="3019398"/>
                  <a:pt x="713234" y="3014999"/>
                  <a:pt x="714809" y="3010599"/>
                </a:cubicBezTo>
                <a:cubicBezTo>
                  <a:pt x="717211" y="2995574"/>
                  <a:pt x="711822" y="2985693"/>
                  <a:pt x="694992" y="2985605"/>
                </a:cubicBezTo>
                <a:cubicBezTo>
                  <a:pt x="655615" y="2990328"/>
                  <a:pt x="621788" y="2971226"/>
                  <a:pt x="585061" y="2962997"/>
                </a:cubicBezTo>
                <a:cubicBezTo>
                  <a:pt x="576273" y="2959841"/>
                  <a:pt x="569307" y="2954360"/>
                  <a:pt x="562094" y="2946803"/>
                </a:cubicBezTo>
                <a:cubicBezTo>
                  <a:pt x="540952" y="2928285"/>
                  <a:pt x="540535" y="2907282"/>
                  <a:pt x="563912" y="2891845"/>
                </a:cubicBezTo>
                <a:cubicBezTo>
                  <a:pt x="583144" y="2876905"/>
                  <a:pt x="602625" y="2864042"/>
                  <a:pt x="624428" y="2853006"/>
                </a:cubicBezTo>
                <a:cubicBezTo>
                  <a:pt x="693482" y="2815248"/>
                  <a:pt x="762038" y="2773339"/>
                  <a:pt x="825702" y="2725701"/>
                </a:cubicBezTo>
                <a:cubicBezTo>
                  <a:pt x="841288" y="2715410"/>
                  <a:pt x="858944" y="2704870"/>
                  <a:pt x="869638" y="2688850"/>
                </a:cubicBezTo>
                <a:cubicBezTo>
                  <a:pt x="910834" y="2629168"/>
                  <a:pt x="966955" y="2588751"/>
                  <a:pt x="1033108" y="2561868"/>
                </a:cubicBezTo>
                <a:cubicBezTo>
                  <a:pt x="1039077" y="2559047"/>
                  <a:pt x="1047119" y="2555977"/>
                  <a:pt x="1046372" y="2549750"/>
                </a:cubicBezTo>
                <a:cubicBezTo>
                  <a:pt x="1045706" y="2526671"/>
                  <a:pt x="1053828" y="2506748"/>
                  <a:pt x="1057557" y="2485247"/>
                </a:cubicBezTo>
                <a:cubicBezTo>
                  <a:pt x="1058136" y="2472544"/>
                  <a:pt x="1057140" y="2464242"/>
                  <a:pt x="1045781" y="2457183"/>
                </a:cubicBezTo>
                <a:cubicBezTo>
                  <a:pt x="1036495" y="2449876"/>
                  <a:pt x="1029201" y="2459172"/>
                  <a:pt x="1023481" y="2464069"/>
                </a:cubicBezTo>
                <a:cubicBezTo>
                  <a:pt x="971256" y="2501914"/>
                  <a:pt x="919280" y="2541834"/>
                  <a:pt x="864983" y="2579927"/>
                </a:cubicBezTo>
                <a:cubicBezTo>
                  <a:pt x="806790" y="2620594"/>
                  <a:pt x="745528" y="2653206"/>
                  <a:pt x="675808" y="2667884"/>
                </a:cubicBezTo>
                <a:cubicBezTo>
                  <a:pt x="667517" y="2668878"/>
                  <a:pt x="655580" y="2674520"/>
                  <a:pt x="650688" y="2668791"/>
                </a:cubicBezTo>
                <a:cubicBezTo>
                  <a:pt x="645547" y="2660986"/>
                  <a:pt x="650520" y="2649863"/>
                  <a:pt x="653669" y="2641063"/>
                </a:cubicBezTo>
                <a:cubicBezTo>
                  <a:pt x="657317" y="2636415"/>
                  <a:pt x="658891" y="2632016"/>
                  <a:pt x="662539" y="2627367"/>
                </a:cubicBezTo>
                <a:cubicBezTo>
                  <a:pt x="667263" y="2614167"/>
                  <a:pt x="676381" y="2602546"/>
                  <a:pt x="676711" y="2587770"/>
                </a:cubicBezTo>
                <a:cubicBezTo>
                  <a:pt x="628794" y="2591412"/>
                  <a:pt x="582780" y="2575876"/>
                  <a:pt x="535859" y="2587820"/>
                </a:cubicBezTo>
                <a:cubicBezTo>
                  <a:pt x="525745" y="2591137"/>
                  <a:pt x="516708" y="2585905"/>
                  <a:pt x="525577" y="2572209"/>
                </a:cubicBezTo>
                <a:cubicBezTo>
                  <a:pt x="530800" y="2563161"/>
                  <a:pt x="531378" y="2550460"/>
                  <a:pt x="528062" y="2540330"/>
                </a:cubicBezTo>
                <a:cubicBezTo>
                  <a:pt x="514792" y="2499813"/>
                  <a:pt x="523492" y="2467188"/>
                  <a:pt x="548774" y="2432575"/>
                </a:cubicBezTo>
                <a:cubicBezTo>
                  <a:pt x="588396" y="2377293"/>
                  <a:pt x="618981" y="2316779"/>
                  <a:pt x="665816" y="2269053"/>
                </a:cubicBezTo>
                <a:cubicBezTo>
                  <a:pt x="699388" y="2233446"/>
                  <a:pt x="731136" y="2200163"/>
                  <a:pt x="760066" y="2160900"/>
                </a:cubicBezTo>
                <a:cubicBezTo>
                  <a:pt x="783772" y="2130687"/>
                  <a:pt x="812621" y="2108278"/>
                  <a:pt x="848432" y="2091351"/>
                </a:cubicBezTo>
                <a:cubicBezTo>
                  <a:pt x="872059" y="2077990"/>
                  <a:pt x="895436" y="2062554"/>
                  <a:pt x="911849" y="2041636"/>
                </a:cubicBezTo>
                <a:cubicBezTo>
                  <a:pt x="950642" y="1996981"/>
                  <a:pt x="996070" y="1972584"/>
                  <a:pt x="1054351" y="1967699"/>
                </a:cubicBezTo>
                <a:cubicBezTo>
                  <a:pt x="1099946" y="1962231"/>
                  <a:pt x="1135262" y="1941152"/>
                  <a:pt x="1157475" y="1898485"/>
                </a:cubicBezTo>
                <a:cubicBezTo>
                  <a:pt x="1171068" y="1871590"/>
                  <a:pt x="1186734" y="1844446"/>
                  <a:pt x="1202150" y="1815227"/>
                </a:cubicBezTo>
                <a:cubicBezTo>
                  <a:pt x="1223038" y="1779035"/>
                  <a:pt x="1243926" y="1742843"/>
                  <a:pt x="1276173" y="1713711"/>
                </a:cubicBezTo>
                <a:cubicBezTo>
                  <a:pt x="1283965" y="1708565"/>
                  <a:pt x="1288109" y="1708069"/>
                  <a:pt x="1295075" y="1713550"/>
                </a:cubicBezTo>
                <a:cubicBezTo>
                  <a:pt x="1313397" y="1726089"/>
                  <a:pt x="1331222" y="1734479"/>
                  <a:pt x="1350871" y="1740544"/>
                </a:cubicBezTo>
                <a:cubicBezTo>
                  <a:pt x="1385277" y="1746944"/>
                  <a:pt x="1409151" y="1735659"/>
                  <a:pt x="1426641" y="1706192"/>
                </a:cubicBezTo>
                <a:cubicBezTo>
                  <a:pt x="1433188" y="1690668"/>
                  <a:pt x="1437664" y="1675394"/>
                  <a:pt x="1442139" y="1660119"/>
                </a:cubicBezTo>
                <a:cubicBezTo>
                  <a:pt x="1454487" y="1622847"/>
                  <a:pt x="1468248" y="1614879"/>
                  <a:pt x="1503897" y="1631658"/>
                </a:cubicBezTo>
                <a:cubicBezTo>
                  <a:pt x="1503897" y="1631658"/>
                  <a:pt x="1505722" y="1629333"/>
                  <a:pt x="1507794" y="1629086"/>
                </a:cubicBezTo>
                <a:cubicBezTo>
                  <a:pt x="1509120" y="1622609"/>
                  <a:pt x="1510694" y="1618210"/>
                  <a:pt x="1512020" y="1611735"/>
                </a:cubicBezTo>
                <a:cubicBezTo>
                  <a:pt x="1518899" y="1581434"/>
                  <a:pt x="1526441" y="1574213"/>
                  <a:pt x="1553055" y="1585759"/>
                </a:cubicBezTo>
                <a:cubicBezTo>
                  <a:pt x="1601639" y="1605197"/>
                  <a:pt x="1648809" y="1595329"/>
                  <a:pt x="1694983" y="1577158"/>
                </a:cubicBezTo>
                <a:cubicBezTo>
                  <a:pt x="1744806" y="1554340"/>
                  <a:pt x="1785591" y="1526288"/>
                  <a:pt x="1799845" y="1469839"/>
                </a:cubicBezTo>
                <a:cubicBezTo>
                  <a:pt x="1804071" y="1452488"/>
                  <a:pt x="1812443" y="1434641"/>
                  <a:pt x="1823136" y="1418621"/>
                </a:cubicBezTo>
                <a:cubicBezTo>
                  <a:pt x="1842448" y="1386829"/>
                  <a:pt x="1872541" y="1374798"/>
                  <a:pt x="1908770" y="1378875"/>
                </a:cubicBezTo>
                <a:cubicBezTo>
                  <a:pt x="1927921" y="1380789"/>
                  <a:pt x="1942179" y="1376973"/>
                  <a:pt x="1955443" y="1364855"/>
                </a:cubicBezTo>
                <a:cubicBezTo>
                  <a:pt x="1976249" y="1345517"/>
                  <a:pt x="1997304" y="1328254"/>
                  <a:pt x="2018857" y="1315141"/>
                </a:cubicBezTo>
                <a:cubicBezTo>
                  <a:pt x="2085840" y="1277632"/>
                  <a:pt x="2147680" y="1232318"/>
                  <a:pt x="2202060" y="1177371"/>
                </a:cubicBezTo>
                <a:cubicBezTo>
                  <a:pt x="2222616" y="1155957"/>
                  <a:pt x="2248066" y="1140273"/>
                  <a:pt x="2279154" y="1136543"/>
                </a:cubicBezTo>
                <a:cubicBezTo>
                  <a:pt x="2330720" y="1128254"/>
                  <a:pt x="2369184" y="1098375"/>
                  <a:pt x="2402507" y="1060693"/>
                </a:cubicBezTo>
                <a:cubicBezTo>
                  <a:pt x="2415521" y="1046499"/>
                  <a:pt x="2430857" y="1034133"/>
                  <a:pt x="2451582" y="1031647"/>
                </a:cubicBezTo>
                <a:cubicBezTo>
                  <a:pt x="2459872" y="1030652"/>
                  <a:pt x="2465841" y="1027832"/>
                  <a:pt x="2471312" y="1020859"/>
                </a:cubicBezTo>
                <a:cubicBezTo>
                  <a:pt x="2508033" y="976452"/>
                  <a:pt x="2559430" y="949234"/>
                  <a:pt x="2614144" y="932145"/>
                </a:cubicBezTo>
                <a:cubicBezTo>
                  <a:pt x="2630227" y="926005"/>
                  <a:pt x="2644734" y="924265"/>
                  <a:pt x="2654767" y="937800"/>
                </a:cubicBezTo>
                <a:cubicBezTo>
                  <a:pt x="2669442" y="954988"/>
                  <a:pt x="2648965" y="959549"/>
                  <a:pt x="2643744" y="968598"/>
                </a:cubicBezTo>
                <a:cubicBezTo>
                  <a:pt x="2639021" y="981796"/>
                  <a:pt x="2627083" y="987438"/>
                  <a:pt x="2611828" y="982952"/>
                </a:cubicBezTo>
                <a:cubicBezTo>
                  <a:pt x="2583392" y="973731"/>
                  <a:pt x="2583392" y="973731"/>
                  <a:pt x="2571871" y="1000377"/>
                </a:cubicBezTo>
                <a:cubicBezTo>
                  <a:pt x="2568721" y="1009176"/>
                  <a:pt x="2563499" y="1018224"/>
                  <a:pt x="2558277" y="1027272"/>
                </a:cubicBezTo>
                <a:cubicBezTo>
                  <a:pt x="2556702" y="1031672"/>
                  <a:pt x="2555378" y="1038147"/>
                  <a:pt x="2560020" y="1041801"/>
                </a:cubicBezTo>
                <a:cubicBezTo>
                  <a:pt x="2564663" y="1045455"/>
                  <a:pt x="2569306" y="1049109"/>
                  <a:pt x="2575025" y="1044212"/>
                </a:cubicBezTo>
                <a:cubicBezTo>
                  <a:pt x="2588786" y="1036246"/>
                  <a:pt x="2604290" y="1042808"/>
                  <a:pt x="2616974" y="1043392"/>
                </a:cubicBezTo>
                <a:cubicBezTo>
                  <a:pt x="2629659" y="1043976"/>
                  <a:pt x="2644416" y="1044311"/>
                  <a:pt x="2654032" y="1036841"/>
                </a:cubicBezTo>
                <a:cubicBezTo>
                  <a:pt x="2707582" y="992522"/>
                  <a:pt x="2772659" y="974190"/>
                  <a:pt x="2838482" y="962085"/>
                </a:cubicBezTo>
                <a:cubicBezTo>
                  <a:pt x="2858959" y="957523"/>
                  <a:pt x="2872969" y="951632"/>
                  <a:pt x="2881091" y="931710"/>
                </a:cubicBezTo>
                <a:cubicBezTo>
                  <a:pt x="2885567" y="916434"/>
                  <a:pt x="2893857" y="915441"/>
                  <a:pt x="2905713" y="926651"/>
                </a:cubicBezTo>
                <a:cubicBezTo>
                  <a:pt x="2913175" y="936283"/>
                  <a:pt x="2922462" y="943591"/>
                  <a:pt x="2936223" y="935624"/>
                </a:cubicBezTo>
                <a:cubicBezTo>
                  <a:pt x="2951807" y="925333"/>
                  <a:pt x="2965071" y="913216"/>
                  <a:pt x="2971618" y="897692"/>
                </a:cubicBezTo>
                <a:cubicBezTo>
                  <a:pt x="2976343" y="884493"/>
                  <a:pt x="2984134" y="879348"/>
                  <a:pt x="2998643" y="877608"/>
                </a:cubicBezTo>
                <a:cubicBezTo>
                  <a:pt x="3004860" y="876862"/>
                  <a:pt x="3011078" y="876116"/>
                  <a:pt x="3017047" y="873296"/>
                </a:cubicBezTo>
                <a:cubicBezTo>
                  <a:pt x="3055181" y="858195"/>
                  <a:pt x="3093315" y="843094"/>
                  <a:pt x="3133770" y="829820"/>
                </a:cubicBezTo>
                <a:cubicBezTo>
                  <a:pt x="3150101" y="825756"/>
                  <a:pt x="3164111" y="819866"/>
                  <a:pt x="3172731" y="804093"/>
                </a:cubicBezTo>
                <a:cubicBezTo>
                  <a:pt x="3180026" y="794797"/>
                  <a:pt x="3187818" y="789652"/>
                  <a:pt x="3199176" y="796711"/>
                </a:cubicBezTo>
                <a:cubicBezTo>
                  <a:pt x="3228609" y="814235"/>
                  <a:pt x="3255054" y="806853"/>
                  <a:pt x="3285395" y="796897"/>
                </a:cubicBezTo>
                <a:cubicBezTo>
                  <a:pt x="3361912" y="768771"/>
                  <a:pt x="3437601" y="751272"/>
                  <a:pt x="3519095" y="764657"/>
                </a:cubicBezTo>
                <a:cubicBezTo>
                  <a:pt x="3549107" y="769479"/>
                  <a:pt x="3578372" y="768076"/>
                  <a:pt x="3606641" y="758369"/>
                </a:cubicBezTo>
                <a:cubicBezTo>
                  <a:pt x="3653314" y="744350"/>
                  <a:pt x="3700235" y="732406"/>
                  <a:pt x="3747656" y="724613"/>
                </a:cubicBezTo>
                <a:cubicBezTo>
                  <a:pt x="3811655" y="714832"/>
                  <a:pt x="3876153" y="709201"/>
                  <a:pt x="3937913" y="680740"/>
                </a:cubicBezTo>
                <a:cubicBezTo>
                  <a:pt x="3987486" y="655846"/>
                  <a:pt x="4040626" y="643157"/>
                  <a:pt x="4096087" y="632294"/>
                </a:cubicBezTo>
                <a:cubicBezTo>
                  <a:pt x="4147653" y="624004"/>
                  <a:pt x="4199466" y="617790"/>
                  <a:pt x="4249536" y="597046"/>
                </a:cubicBezTo>
                <a:cubicBezTo>
                  <a:pt x="4285599" y="582194"/>
                  <a:pt x="4322406" y="573569"/>
                  <a:pt x="4359214" y="564943"/>
                </a:cubicBezTo>
                <a:cubicBezTo>
                  <a:pt x="4513411" y="535923"/>
                  <a:pt x="4664291" y="496773"/>
                  <a:pt x="4813595" y="462023"/>
                </a:cubicBezTo>
                <a:cubicBezTo>
                  <a:pt x="4978981" y="421134"/>
                  <a:pt x="5142048" y="378416"/>
                  <a:pt x="5307933" y="341677"/>
                </a:cubicBezTo>
                <a:cubicBezTo>
                  <a:pt x="5465528" y="305933"/>
                  <a:pt x="5623869" y="276416"/>
                  <a:pt x="5783456" y="257275"/>
                </a:cubicBezTo>
                <a:cubicBezTo>
                  <a:pt x="5905737" y="242610"/>
                  <a:pt x="6027270" y="221718"/>
                  <a:pt x="6148305" y="196674"/>
                </a:cubicBezTo>
                <a:cubicBezTo>
                  <a:pt x="6240575" y="177186"/>
                  <a:pt x="6332844" y="157698"/>
                  <a:pt x="6425610" y="142361"/>
                </a:cubicBezTo>
                <a:cubicBezTo>
                  <a:pt x="6491683" y="132331"/>
                  <a:pt x="6557756" y="122302"/>
                  <a:pt x="6625653" y="109948"/>
                </a:cubicBezTo>
                <a:cubicBezTo>
                  <a:pt x="6667103" y="104977"/>
                  <a:pt x="6710627" y="99756"/>
                  <a:pt x="6751829" y="92709"/>
                </a:cubicBezTo>
                <a:cubicBezTo>
                  <a:pt x="6766336" y="90969"/>
                  <a:pt x="6778772" y="89478"/>
                  <a:pt x="6791208" y="87987"/>
                </a:cubicBezTo>
                <a:cubicBezTo>
                  <a:pt x="6795352" y="87489"/>
                  <a:pt x="6797674" y="89316"/>
                  <a:pt x="6799747" y="89067"/>
                </a:cubicBezTo>
                <a:cubicBezTo>
                  <a:pt x="6997883" y="75830"/>
                  <a:pt x="7193531" y="41839"/>
                  <a:pt x="7392414" y="34830"/>
                </a:cubicBezTo>
                <a:cubicBezTo>
                  <a:pt x="7444726" y="32766"/>
                  <a:pt x="7496540" y="26552"/>
                  <a:pt x="7549100" y="26564"/>
                </a:cubicBezTo>
                <a:cubicBezTo>
                  <a:pt x="7664585" y="25347"/>
                  <a:pt x="7777498" y="20225"/>
                  <a:pt x="7892234" y="12781"/>
                </a:cubicBezTo>
                <a:cubicBezTo>
                  <a:pt x="7981852" y="6243"/>
                  <a:pt x="8071469" y="-294"/>
                  <a:pt x="8162580" y="5622"/>
                </a:cubicBezTo>
                <a:cubicBezTo>
                  <a:pt x="8247474" y="12283"/>
                  <a:pt x="8331870" y="14793"/>
                  <a:pt x="8414274" y="699"/>
                </a:cubicBezTo>
                <a:cubicBezTo>
                  <a:pt x="8418419" y="203"/>
                  <a:pt x="8422046" y="-233"/>
                  <a:pt x="8425507" y="142"/>
                </a:cubicBezTo>
                <a:close/>
              </a:path>
            </a:pathLst>
          </a:custGeom>
          <a:solidFill>
            <a:schemeClr val="bg1">
              <a:lumMod val="95000"/>
            </a:schemeClr>
          </a:solidFill>
        </p:spPr>
        <p:txBody>
          <a:bodyPr wrap="square" anchor="ctr">
            <a:noAutofit/>
          </a:bodyPr>
          <a:lstStyle>
            <a:lvl1pPr marL="0" indent="0" algn="ctr">
              <a:buNone/>
              <a:defRPr sz="900">
                <a:latin typeface="Arial" pitchFamily="34" charset="0"/>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Tree>
    <p:extLst>
      <p:ext uri="{BB962C8B-B14F-4D97-AF65-F5344CB8AC3E}">
        <p14:creationId xmlns:p14="http://schemas.microsoft.com/office/powerpoint/2010/main" val="12575654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52ED6A-F01A-49F3-B851-BF9312CE0FCF}" type="datetime1">
              <a:rPr lang="en-US" smtClean="0"/>
              <a:t>10/28/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4_캡션 있는 콘텐츠">
    <p:spTree>
      <p:nvGrpSpPr>
        <p:cNvPr id="1" name=""/>
        <p:cNvGrpSpPr/>
        <p:nvPr/>
      </p:nvGrpSpPr>
      <p:grpSpPr>
        <a:xfrm>
          <a:off x="0" y="0"/>
          <a:ext cx="0" cy="0"/>
          <a:chOff x="0" y="0"/>
          <a:chExt cx="0" cy="0"/>
        </a:xfrm>
      </p:grpSpPr>
      <p:sp>
        <p:nvSpPr>
          <p:cNvPr id="14" name="그림 개체 틀 13">
            <a:extLst>
              <a:ext uri="{FF2B5EF4-FFF2-40B4-BE49-F238E27FC236}">
                <a16:creationId xmlns:a16="http://schemas.microsoft.com/office/drawing/2014/main" id="{82105951-093F-4DBA-87B8-6EA3AEB1F06C}"/>
              </a:ext>
            </a:extLst>
          </p:cNvPr>
          <p:cNvSpPr>
            <a:spLocks noGrp="1"/>
          </p:cNvSpPr>
          <p:nvPr>
            <p:ph type="pic" idx="16" hasCustomPrompt="1"/>
          </p:nvPr>
        </p:nvSpPr>
        <p:spPr>
          <a:xfrm>
            <a:off x="5235382" y="0"/>
            <a:ext cx="3908618" cy="5143500"/>
          </a:xfrm>
          <a:custGeom>
            <a:avLst/>
            <a:gdLst>
              <a:gd name="connsiteX0" fmla="*/ 2670272 w 5211490"/>
              <a:gd name="connsiteY0" fmla="*/ 4667295 h 6858000"/>
              <a:gd name="connsiteX1" fmla="*/ 5211490 w 5211490"/>
              <a:gd name="connsiteY1" fmla="*/ 4667295 h 6858000"/>
              <a:gd name="connsiteX2" fmla="*/ 3940880 w 5211490"/>
              <a:gd name="connsiteY2" fmla="*/ 6858000 h 6858000"/>
              <a:gd name="connsiteX3" fmla="*/ 3940880 w 5211490"/>
              <a:gd name="connsiteY3" fmla="*/ 2396645 h 6858000"/>
              <a:gd name="connsiteX4" fmla="*/ 5211490 w 5211490"/>
              <a:gd name="connsiteY4" fmla="*/ 4587350 h 6858000"/>
              <a:gd name="connsiteX5" fmla="*/ 2670272 w 5211490"/>
              <a:gd name="connsiteY5" fmla="*/ 4587350 h 6858000"/>
              <a:gd name="connsiteX6" fmla="*/ 1336442 w 5211490"/>
              <a:gd name="connsiteY6" fmla="*/ 2343034 h 6858000"/>
              <a:gd name="connsiteX7" fmla="*/ 3877660 w 5211490"/>
              <a:gd name="connsiteY7" fmla="*/ 2343034 h 6858000"/>
              <a:gd name="connsiteX8" fmla="*/ 2607050 w 5211490"/>
              <a:gd name="connsiteY8" fmla="*/ 4533739 h 6858000"/>
              <a:gd name="connsiteX9" fmla="*/ 5211490 w 5211490"/>
              <a:gd name="connsiteY9" fmla="*/ 165700 h 6858000"/>
              <a:gd name="connsiteX10" fmla="*/ 5211490 w 5211490"/>
              <a:gd name="connsiteY10" fmla="*/ 4413971 h 6858000"/>
              <a:gd name="connsiteX11" fmla="*/ 3982992 w 5211490"/>
              <a:gd name="connsiteY11" fmla="*/ 2298842 h 6858000"/>
              <a:gd name="connsiteX12" fmla="*/ 2607050 w 5211490"/>
              <a:gd name="connsiteY12" fmla="*/ 63450 h 6858000"/>
              <a:gd name="connsiteX13" fmla="*/ 3877660 w 5211490"/>
              <a:gd name="connsiteY13" fmla="*/ 2254154 h 6858000"/>
              <a:gd name="connsiteX14" fmla="*/ 1336442 w 5211490"/>
              <a:gd name="connsiteY14" fmla="*/ 2254154 h 6858000"/>
              <a:gd name="connsiteX15" fmla="*/ 2670272 w 5211490"/>
              <a:gd name="connsiteY15" fmla="*/ 0 h 6858000"/>
              <a:gd name="connsiteX16" fmla="*/ 5211490 w 5211490"/>
              <a:gd name="connsiteY16" fmla="*/ 0 h 6858000"/>
              <a:gd name="connsiteX17" fmla="*/ 3940880 w 5211490"/>
              <a:gd name="connsiteY17" fmla="*/ 2190704 h 6858000"/>
              <a:gd name="connsiteX18" fmla="*/ 0 w 5211490"/>
              <a:gd name="connsiteY18" fmla="*/ 0 h 6858000"/>
              <a:gd name="connsiteX19" fmla="*/ 2541218 w 5211490"/>
              <a:gd name="connsiteY19" fmla="*/ 0 h 6858000"/>
              <a:gd name="connsiteX20" fmla="*/ 1270609 w 5211490"/>
              <a:gd name="connsiteY20" fmla="*/ 21907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11490" h="6858000">
                <a:moveTo>
                  <a:pt x="2670272" y="4667295"/>
                </a:moveTo>
                <a:lnTo>
                  <a:pt x="5211490" y="4667295"/>
                </a:lnTo>
                <a:lnTo>
                  <a:pt x="3940880" y="6858000"/>
                </a:lnTo>
                <a:close/>
                <a:moveTo>
                  <a:pt x="3940880" y="2396645"/>
                </a:moveTo>
                <a:lnTo>
                  <a:pt x="5211490" y="4587350"/>
                </a:lnTo>
                <a:lnTo>
                  <a:pt x="2670272" y="4587350"/>
                </a:lnTo>
                <a:close/>
                <a:moveTo>
                  <a:pt x="1336442" y="2343034"/>
                </a:moveTo>
                <a:lnTo>
                  <a:pt x="3877660" y="2343034"/>
                </a:lnTo>
                <a:lnTo>
                  <a:pt x="2607050" y="4533739"/>
                </a:lnTo>
                <a:close/>
                <a:moveTo>
                  <a:pt x="5211490" y="165700"/>
                </a:moveTo>
                <a:lnTo>
                  <a:pt x="5211490" y="4413971"/>
                </a:lnTo>
                <a:lnTo>
                  <a:pt x="3982992" y="2298842"/>
                </a:lnTo>
                <a:close/>
                <a:moveTo>
                  <a:pt x="2607050" y="63450"/>
                </a:moveTo>
                <a:lnTo>
                  <a:pt x="3877660" y="2254154"/>
                </a:lnTo>
                <a:lnTo>
                  <a:pt x="1336442" y="2254154"/>
                </a:lnTo>
                <a:close/>
                <a:moveTo>
                  <a:pt x="2670272" y="0"/>
                </a:moveTo>
                <a:lnTo>
                  <a:pt x="5211490" y="0"/>
                </a:lnTo>
                <a:lnTo>
                  <a:pt x="3940880" y="2190704"/>
                </a:lnTo>
                <a:close/>
                <a:moveTo>
                  <a:pt x="0" y="0"/>
                </a:moveTo>
                <a:lnTo>
                  <a:pt x="2541218" y="0"/>
                </a:lnTo>
                <a:lnTo>
                  <a:pt x="1270609" y="2190704"/>
                </a:lnTo>
                <a:close/>
              </a:path>
            </a:pathLst>
          </a:custGeom>
          <a:solidFill>
            <a:schemeClr val="bg1">
              <a:lumMod val="95000"/>
            </a:schemeClr>
          </a:solidFill>
        </p:spPr>
        <p:txBody>
          <a:bodyPr wrap="square" anchor="ctr">
            <a:noAutofit/>
          </a:bodyPr>
          <a:lstStyle>
            <a:lvl1pPr marL="0" indent="0" algn="ctr">
              <a:buNone/>
              <a:defRPr sz="900">
                <a:latin typeface="Arial" pitchFamily="34" charset="0"/>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dirty="0"/>
              <a:t>Your Picture Here</a:t>
            </a:r>
            <a:endParaRPr lang="ko-KR" altLang="en-US" dirty="0"/>
          </a:p>
        </p:txBody>
      </p:sp>
    </p:spTree>
    <p:extLst>
      <p:ext uri="{BB962C8B-B14F-4D97-AF65-F5344CB8AC3E}">
        <p14:creationId xmlns:p14="http://schemas.microsoft.com/office/powerpoint/2010/main" val="201681115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Icon sets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242646" y="92609"/>
            <a:ext cx="8679898" cy="543185"/>
          </a:xfrm>
          <a:prstGeom prst="rect">
            <a:avLst/>
          </a:prstGeom>
        </p:spPr>
        <p:txBody>
          <a:bodyPr anchor="ctr"/>
          <a:lstStyle>
            <a:lvl1pPr marL="0" indent="0" algn="ctr">
              <a:buNone/>
              <a:defRPr sz="4050" b="0" baseline="0">
                <a:solidFill>
                  <a:schemeClr val="tx1">
                    <a:lumMod val="85000"/>
                    <a:lumOff val="15000"/>
                  </a:schemeClr>
                </a:solidFill>
                <a:latin typeface="+mj-lt"/>
                <a:cs typeface="Arial" pitchFamily="34" charset="0"/>
              </a:defRPr>
            </a:lvl1pPr>
          </a:lstStyle>
          <a:p>
            <a:pPr lvl="0"/>
            <a:r>
              <a:rPr lang="en-US" altLang="ko-KR" dirty="0"/>
              <a:t>BASIC LAYOUT</a:t>
            </a:r>
          </a:p>
        </p:txBody>
      </p:sp>
      <p:sp>
        <p:nvSpPr>
          <p:cNvPr id="3" name="Rounded Rectangle 2"/>
          <p:cNvSpPr/>
          <p:nvPr userDrawn="1"/>
        </p:nvSpPr>
        <p:spPr>
          <a:xfrm>
            <a:off x="265507" y="848693"/>
            <a:ext cx="2670575" cy="4051921"/>
          </a:xfrm>
          <a:prstGeom prst="roundRect">
            <a:avLst>
              <a:gd name="adj" fmla="val 3968"/>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013" b="0" i="0" u="none" strike="noStrike" kern="1200" cap="none" spc="0" normalizeH="0" baseline="0" noProof="0">
              <a:ln>
                <a:noFill/>
              </a:ln>
              <a:solidFill>
                <a:prstClr val="white"/>
              </a:solidFill>
              <a:effectLst/>
              <a:uLnTx/>
              <a:uFillTx/>
              <a:latin typeface="Arial"/>
              <a:cs typeface="+mn-cs"/>
            </a:endParaRPr>
          </a:p>
        </p:txBody>
      </p:sp>
      <p:sp>
        <p:nvSpPr>
          <p:cNvPr id="4" name="Rounded Rectangle 3"/>
          <p:cNvSpPr/>
          <p:nvPr userDrawn="1"/>
        </p:nvSpPr>
        <p:spPr>
          <a:xfrm>
            <a:off x="398950" y="1010625"/>
            <a:ext cx="115401" cy="3761400"/>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013" b="0" i="0" u="none" strike="noStrike" kern="1200" cap="none" spc="0" normalizeH="0" baseline="0" noProof="0">
              <a:ln>
                <a:noFill/>
              </a:ln>
              <a:solidFill>
                <a:prstClr val="white"/>
              </a:solidFill>
              <a:effectLst/>
              <a:uLnTx/>
              <a:uFillTx/>
              <a:latin typeface="Arial"/>
              <a:cs typeface="+mn-cs"/>
            </a:endParaRPr>
          </a:p>
        </p:txBody>
      </p:sp>
      <p:sp>
        <p:nvSpPr>
          <p:cNvPr id="5" name="Half Frame 4"/>
          <p:cNvSpPr/>
          <p:nvPr userDrawn="1"/>
        </p:nvSpPr>
        <p:spPr>
          <a:xfrm rot="5400000">
            <a:off x="2292882" y="957490"/>
            <a:ext cx="514387" cy="513861"/>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ko-KR" altLang="en-US" sz="1013" b="0" i="0" u="none" strike="noStrike" kern="1200" cap="none" spc="0" normalizeH="0" baseline="0" noProof="0">
              <a:ln>
                <a:noFill/>
              </a:ln>
              <a:solidFill>
                <a:prstClr val="black">
                  <a:lumMod val="85000"/>
                  <a:lumOff val="15000"/>
                </a:prstClr>
              </a:solidFill>
              <a:effectLst/>
              <a:uLnTx/>
              <a:uFillTx/>
              <a:latin typeface="Arial"/>
              <a:cs typeface="+mn-cs"/>
            </a:endParaRPr>
          </a:p>
        </p:txBody>
      </p:sp>
      <p:sp>
        <p:nvSpPr>
          <p:cNvPr id="58" name="TextBox 57">
            <a:extLst>
              <a:ext uri="{FF2B5EF4-FFF2-40B4-BE49-F238E27FC236}">
                <a16:creationId xmlns:a16="http://schemas.microsoft.com/office/drawing/2014/main" id="{5644E8BB-F13A-4AE0-889E-633DE4143787}"/>
              </a:ext>
            </a:extLst>
          </p:cNvPr>
          <p:cNvSpPr txBox="1"/>
          <p:nvPr userDrawn="1"/>
        </p:nvSpPr>
        <p:spPr>
          <a:xfrm>
            <a:off x="533778" y="1216368"/>
            <a:ext cx="1674186" cy="415498"/>
          </a:xfrm>
          <a:prstGeom prst="rect">
            <a:avLst/>
          </a:prstGeom>
          <a:noFill/>
        </p:spPr>
        <p:txBody>
          <a:bodyPr wrap="square" rtlCol="0" anchor="ctr">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altLang="ko-KR" sz="1050" b="1" i="0" u="none" strike="noStrike" kern="1200" cap="none" spc="0" normalizeH="0" baseline="0" noProof="0" dirty="0">
                <a:ln>
                  <a:noFill/>
                </a:ln>
                <a:solidFill>
                  <a:prstClr val="white"/>
                </a:solidFill>
                <a:effectLst/>
                <a:uLnTx/>
                <a:uFillTx/>
                <a:latin typeface="Arial" pitchFamily="34" charset="0"/>
                <a:cs typeface="Arial" pitchFamily="34" charset="0"/>
              </a:rPr>
              <a:t>You can Resize without losing quality</a:t>
            </a:r>
            <a:endParaRPr kumimoji="0" lang="ko-KR" altLang="en-US" sz="1050" b="1" i="0" u="none" strike="noStrike" kern="1200" cap="none" spc="0" normalizeH="0" baseline="0" noProof="0" dirty="0">
              <a:ln>
                <a:noFill/>
              </a:ln>
              <a:solidFill>
                <a:prstClr val="white"/>
              </a:solidFill>
              <a:effectLst/>
              <a:uLnTx/>
              <a:uFillTx/>
              <a:latin typeface="Arial" pitchFamily="34" charset="0"/>
              <a:cs typeface="Arial" pitchFamily="34" charset="0"/>
            </a:endParaRPr>
          </a:p>
        </p:txBody>
      </p:sp>
      <p:sp>
        <p:nvSpPr>
          <p:cNvPr id="59" name="TextBox 58">
            <a:extLst>
              <a:ext uri="{FF2B5EF4-FFF2-40B4-BE49-F238E27FC236}">
                <a16:creationId xmlns:a16="http://schemas.microsoft.com/office/drawing/2014/main" id="{F2CE2B8B-ED32-491A-95B2-D28904BC432C}"/>
              </a:ext>
            </a:extLst>
          </p:cNvPr>
          <p:cNvSpPr txBox="1"/>
          <p:nvPr userDrawn="1"/>
        </p:nvSpPr>
        <p:spPr>
          <a:xfrm>
            <a:off x="533778" y="1584056"/>
            <a:ext cx="1674186" cy="577081"/>
          </a:xfrm>
          <a:prstGeom prst="rect">
            <a:avLst/>
          </a:prstGeom>
          <a:noFill/>
        </p:spPr>
        <p:txBody>
          <a:bodyPr wrap="square" rtlCol="0" anchor="ctr">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altLang="ko-KR" sz="1050" b="1" i="0" u="none" strike="noStrike" kern="1200" cap="none" spc="0" normalizeH="0" baseline="0" noProof="0" dirty="0">
                <a:ln>
                  <a:noFill/>
                </a:ln>
                <a:solidFill>
                  <a:prstClr val="white"/>
                </a:solidFill>
                <a:effectLst/>
                <a:uLnTx/>
                <a:uFillTx/>
                <a:latin typeface="Arial" pitchFamily="34" charset="0"/>
                <a:cs typeface="Arial" pitchFamily="34" charset="0"/>
              </a:rPr>
              <a:t>You can Change Fill Color &amp;</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altLang="ko-KR" sz="1050" b="1" i="0" u="none" strike="noStrike" kern="1200" cap="none" spc="0" normalizeH="0" baseline="0" noProof="0" dirty="0">
                <a:ln>
                  <a:noFill/>
                </a:ln>
                <a:solidFill>
                  <a:prstClr val="white"/>
                </a:solidFill>
                <a:effectLst/>
                <a:uLnTx/>
                <a:uFillTx/>
                <a:latin typeface="Arial" pitchFamily="34" charset="0"/>
                <a:cs typeface="Arial" pitchFamily="34" charset="0"/>
              </a:rPr>
              <a:t>Line Color</a:t>
            </a:r>
            <a:endParaRPr kumimoji="0" lang="ko-KR" altLang="en-US" sz="1050" b="1" i="0" u="none" strike="noStrike" kern="1200" cap="none" spc="0" normalizeH="0" baseline="0" noProof="0" dirty="0">
              <a:ln>
                <a:noFill/>
              </a:ln>
              <a:solidFill>
                <a:prstClr val="white"/>
              </a:solidFill>
              <a:effectLst/>
              <a:uLnTx/>
              <a:uFillTx/>
              <a:latin typeface="Arial" pitchFamily="34" charset="0"/>
              <a:cs typeface="Arial" pitchFamily="34" charset="0"/>
            </a:endParaRPr>
          </a:p>
        </p:txBody>
      </p:sp>
      <p:sp>
        <p:nvSpPr>
          <p:cNvPr id="60" name="TextBox 59">
            <a:extLst>
              <a:ext uri="{FF2B5EF4-FFF2-40B4-BE49-F238E27FC236}">
                <a16:creationId xmlns:a16="http://schemas.microsoft.com/office/drawing/2014/main" id="{962A52DF-2523-4479-BFA3-B5ACE9887E1C}"/>
              </a:ext>
            </a:extLst>
          </p:cNvPr>
          <p:cNvSpPr txBox="1"/>
          <p:nvPr userDrawn="1"/>
        </p:nvSpPr>
        <p:spPr>
          <a:xfrm>
            <a:off x="540922" y="4344787"/>
            <a:ext cx="1674000" cy="253916"/>
          </a:xfrm>
          <a:prstGeom prst="rect">
            <a:avLst/>
          </a:prstGeom>
          <a:noFill/>
        </p:spPr>
        <p:txBody>
          <a:bodyPr wrap="square" rtlCol="0" anchor="ctr">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altLang="ko-KR" sz="1050" b="0" i="0" u="none" strike="noStrike" kern="1200" cap="none" spc="0" normalizeH="0" baseline="0" noProof="0" dirty="0">
                <a:ln>
                  <a:noFill/>
                </a:ln>
                <a:solidFill>
                  <a:prstClr val="white"/>
                </a:solidFill>
                <a:effectLst/>
                <a:uLnTx/>
                <a:uFillTx/>
                <a:latin typeface="Arial" pitchFamily="34" charset="0"/>
                <a:cs typeface="Arial" pitchFamily="34" charset="0"/>
              </a:rPr>
              <a:t>www.allppt.com</a:t>
            </a:r>
            <a:endParaRPr kumimoji="0" lang="ko-KR" altLang="en-US" sz="1050" b="0" i="0" u="none" strike="noStrike" kern="1200" cap="none" spc="0" normalizeH="0" baseline="0" noProof="0" dirty="0">
              <a:ln>
                <a:noFill/>
              </a:ln>
              <a:solidFill>
                <a:prstClr val="white"/>
              </a:solidFill>
              <a:effectLst/>
              <a:uLnTx/>
              <a:uFillTx/>
              <a:latin typeface="Arial" pitchFamily="34" charset="0"/>
              <a:cs typeface="Arial" pitchFamily="34" charset="0"/>
            </a:endParaRPr>
          </a:p>
        </p:txBody>
      </p:sp>
      <p:sp>
        <p:nvSpPr>
          <p:cNvPr id="61" name="TextBox 60">
            <a:extLst>
              <a:ext uri="{FF2B5EF4-FFF2-40B4-BE49-F238E27FC236}">
                <a16:creationId xmlns:a16="http://schemas.microsoft.com/office/drawing/2014/main" id="{BAAC314F-E96A-4408-95DE-A70E9ED054AF}"/>
              </a:ext>
            </a:extLst>
          </p:cNvPr>
          <p:cNvSpPr txBox="1"/>
          <p:nvPr userDrawn="1"/>
        </p:nvSpPr>
        <p:spPr>
          <a:xfrm>
            <a:off x="540922" y="3326201"/>
            <a:ext cx="2037972" cy="1061829"/>
          </a:xfrm>
          <a:prstGeom prst="rect">
            <a:avLst/>
          </a:prstGeom>
          <a:noFill/>
        </p:spPr>
        <p:txBody>
          <a:bodyPr wrap="square" rtlCol="0" anchor="ctr">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altLang="ko-KR" sz="2100" b="1" i="0" u="none" strike="noStrike" kern="1200" cap="none" spc="0" normalizeH="0" baseline="0" noProof="0" dirty="0">
                <a:ln>
                  <a:noFill/>
                </a:ln>
                <a:solidFill>
                  <a:prstClr val="white"/>
                </a:solidFill>
                <a:effectLst/>
                <a:uLnTx/>
                <a:uFillTx/>
                <a:latin typeface="Arial"/>
                <a:ea typeface="+mn-ea"/>
                <a:cs typeface="Arial" pitchFamily="34" charset="0"/>
              </a:rPr>
              <a:t>FREE </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altLang="ko-KR" sz="2100" b="1" i="0" u="none" strike="noStrike" kern="1200" cap="none" spc="0" normalizeH="0" baseline="0" noProof="0" dirty="0">
                <a:ln>
                  <a:noFill/>
                </a:ln>
                <a:solidFill>
                  <a:prstClr val="white"/>
                </a:solidFill>
                <a:effectLst/>
                <a:uLnTx/>
                <a:uFillTx/>
                <a:latin typeface="Arial"/>
                <a:ea typeface="+mn-ea"/>
                <a:cs typeface="Arial" pitchFamily="34" charset="0"/>
              </a:rPr>
              <a:t>PPT TEMPLATES</a:t>
            </a:r>
          </a:p>
        </p:txBody>
      </p:sp>
    </p:spTree>
    <p:extLst>
      <p:ext uri="{BB962C8B-B14F-4D97-AF65-F5344CB8AC3E}">
        <p14:creationId xmlns:p14="http://schemas.microsoft.com/office/powerpoint/2010/main" val="39444523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PNG set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242646" y="92609"/>
            <a:ext cx="8679898" cy="543185"/>
          </a:xfrm>
          <a:prstGeom prst="rect">
            <a:avLst/>
          </a:prstGeom>
        </p:spPr>
        <p:txBody>
          <a:bodyPr anchor="ctr"/>
          <a:lstStyle>
            <a:lvl1pPr marL="0" indent="0" algn="ctr">
              <a:buNone/>
              <a:defRPr sz="4050" b="0" baseline="0">
                <a:solidFill>
                  <a:schemeClr val="tx1">
                    <a:lumMod val="65000"/>
                    <a:lumOff val="35000"/>
                  </a:schemeClr>
                </a:solidFill>
                <a:latin typeface="+mj-lt"/>
                <a:cs typeface="Arial" pitchFamily="34" charset="0"/>
              </a:defRPr>
            </a:lvl1pPr>
          </a:lstStyle>
          <a:p>
            <a:pPr lvl="0"/>
            <a:r>
              <a:rPr lang="en-US" altLang="ko-KR" dirty="0"/>
              <a:t>PNG LAYOUT</a:t>
            </a:r>
          </a:p>
        </p:txBody>
      </p:sp>
    </p:spTree>
    <p:extLst>
      <p:ext uri="{BB962C8B-B14F-4D97-AF65-F5344CB8AC3E}">
        <p14:creationId xmlns:p14="http://schemas.microsoft.com/office/powerpoint/2010/main" val="173230481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8"/>
        <p:cNvGrpSpPr/>
        <p:nvPr/>
      </p:nvGrpSpPr>
      <p:grpSpPr>
        <a:xfrm>
          <a:off x="0" y="0"/>
          <a:ext cx="0" cy="0"/>
          <a:chOff x="0" y="0"/>
          <a:chExt cx="0" cy="0"/>
        </a:xfrm>
      </p:grpSpPr>
      <p:sp>
        <p:nvSpPr>
          <p:cNvPr id="9" name="Google Shape;9;p2"/>
          <p:cNvSpPr/>
          <p:nvPr/>
        </p:nvSpPr>
        <p:spPr>
          <a:xfrm>
            <a:off x="720000" y="540000"/>
            <a:ext cx="3886500" cy="40644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0;p2"/>
          <p:cNvSpPr/>
          <p:nvPr/>
        </p:nvSpPr>
        <p:spPr>
          <a:xfrm>
            <a:off x="6738300" y="692400"/>
            <a:ext cx="1838100" cy="4064400"/>
          </a:xfrm>
          <a:prstGeom prst="rect">
            <a:avLst/>
          </a:prstGeom>
          <a:solidFill>
            <a:srgbClr val="CC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1;p2"/>
          <p:cNvSpPr txBox="1">
            <a:spLocks noGrp="1"/>
          </p:cNvSpPr>
          <p:nvPr>
            <p:ph type="title"/>
          </p:nvPr>
        </p:nvSpPr>
        <p:spPr>
          <a:xfrm>
            <a:off x="720000" y="633316"/>
            <a:ext cx="5670600" cy="3366600"/>
          </a:xfrm>
          <a:prstGeom prst="rect">
            <a:avLst/>
          </a:prstGeom>
        </p:spPr>
        <p:txBody>
          <a:bodyPr spcFirstLastPara="1" wrap="square" lIns="91425" tIns="91425" rIns="91425" bIns="91425" anchor="b" anchorCtr="0">
            <a:noAutofit/>
          </a:bodyPr>
          <a:lstStyle>
            <a:lvl1pPr lvl="0" rtl="0">
              <a:spcBef>
                <a:spcPts val="0"/>
              </a:spcBef>
              <a:spcAft>
                <a:spcPts val="0"/>
              </a:spcAft>
              <a:buSzPts val="5200"/>
              <a:buNone/>
              <a:defRPr sz="5200"/>
            </a:lvl1pPr>
            <a:lvl2pPr lvl="1" rtl="0">
              <a:spcBef>
                <a:spcPts val="0"/>
              </a:spcBef>
              <a:spcAft>
                <a:spcPts val="0"/>
              </a:spcAft>
              <a:buSzPts val="5200"/>
              <a:buNone/>
              <a:defRPr sz="5200"/>
            </a:lvl2pPr>
            <a:lvl3pPr lvl="2" rtl="0">
              <a:spcBef>
                <a:spcPts val="0"/>
              </a:spcBef>
              <a:spcAft>
                <a:spcPts val="0"/>
              </a:spcAft>
              <a:buSzPts val="5200"/>
              <a:buNone/>
              <a:defRPr sz="5200"/>
            </a:lvl3pPr>
            <a:lvl4pPr lvl="3" rtl="0">
              <a:spcBef>
                <a:spcPts val="0"/>
              </a:spcBef>
              <a:spcAft>
                <a:spcPts val="0"/>
              </a:spcAft>
              <a:buSzPts val="5200"/>
              <a:buNone/>
              <a:defRPr sz="5200"/>
            </a:lvl4pPr>
            <a:lvl5pPr lvl="4" rtl="0">
              <a:spcBef>
                <a:spcPts val="0"/>
              </a:spcBef>
              <a:spcAft>
                <a:spcPts val="0"/>
              </a:spcAft>
              <a:buSzPts val="5200"/>
              <a:buNone/>
              <a:defRPr sz="5200"/>
            </a:lvl5pPr>
            <a:lvl6pPr lvl="5" rtl="0">
              <a:spcBef>
                <a:spcPts val="0"/>
              </a:spcBef>
              <a:spcAft>
                <a:spcPts val="0"/>
              </a:spcAft>
              <a:buSzPts val="5200"/>
              <a:buNone/>
              <a:defRPr sz="5200"/>
            </a:lvl6pPr>
            <a:lvl7pPr lvl="6" rtl="0">
              <a:spcBef>
                <a:spcPts val="0"/>
              </a:spcBef>
              <a:spcAft>
                <a:spcPts val="0"/>
              </a:spcAft>
              <a:buSzPts val="5200"/>
              <a:buNone/>
              <a:defRPr sz="5200"/>
            </a:lvl7pPr>
            <a:lvl8pPr lvl="7" rtl="0">
              <a:spcBef>
                <a:spcPts val="0"/>
              </a:spcBef>
              <a:spcAft>
                <a:spcPts val="0"/>
              </a:spcAft>
              <a:buSzPts val="5200"/>
              <a:buNone/>
              <a:defRPr sz="5200"/>
            </a:lvl8pPr>
            <a:lvl9pPr lvl="8" rtl="0">
              <a:spcBef>
                <a:spcPts val="0"/>
              </a:spcBef>
              <a:spcAft>
                <a:spcPts val="0"/>
              </a:spcAft>
              <a:buSzPts val="5200"/>
              <a:buNone/>
              <a:defRPr sz="5200"/>
            </a:lvl9pPr>
          </a:lstStyle>
          <a:p>
            <a:endParaRPr/>
          </a:p>
        </p:txBody>
      </p:sp>
      <p:sp>
        <p:nvSpPr>
          <p:cNvPr id="12" name="Google Shape;12;p2"/>
          <p:cNvSpPr txBox="1">
            <a:spLocks noGrp="1"/>
          </p:cNvSpPr>
          <p:nvPr>
            <p:ph type="subTitle" idx="1"/>
          </p:nvPr>
        </p:nvSpPr>
        <p:spPr>
          <a:xfrm>
            <a:off x="720000" y="3906325"/>
            <a:ext cx="5023500" cy="10395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3000"/>
              <a:buFont typeface="Montserrat Light"/>
              <a:buNone/>
              <a:defRPr sz="3000">
                <a:latin typeface="Montserrat Light"/>
                <a:ea typeface="Montserrat Light"/>
                <a:cs typeface="Montserrat Light"/>
                <a:sym typeface="Montserrat Light"/>
              </a:defRPr>
            </a:lvl1pPr>
            <a:lvl2pPr lvl="1" rtl="0">
              <a:lnSpc>
                <a:spcPct val="100000"/>
              </a:lnSpc>
              <a:spcBef>
                <a:spcPts val="0"/>
              </a:spcBef>
              <a:spcAft>
                <a:spcPts val="0"/>
              </a:spcAft>
              <a:buSzPts val="3000"/>
              <a:buFont typeface="Montserrat Light"/>
              <a:buNone/>
              <a:defRPr sz="3000">
                <a:latin typeface="Montserrat Light"/>
                <a:ea typeface="Montserrat Light"/>
                <a:cs typeface="Montserrat Light"/>
                <a:sym typeface="Montserrat Light"/>
              </a:defRPr>
            </a:lvl2pPr>
            <a:lvl3pPr lvl="2" rtl="0">
              <a:lnSpc>
                <a:spcPct val="100000"/>
              </a:lnSpc>
              <a:spcBef>
                <a:spcPts val="0"/>
              </a:spcBef>
              <a:spcAft>
                <a:spcPts val="0"/>
              </a:spcAft>
              <a:buSzPts val="3000"/>
              <a:buFont typeface="Montserrat Light"/>
              <a:buNone/>
              <a:defRPr sz="3000">
                <a:latin typeface="Montserrat Light"/>
                <a:ea typeface="Montserrat Light"/>
                <a:cs typeface="Montserrat Light"/>
                <a:sym typeface="Montserrat Light"/>
              </a:defRPr>
            </a:lvl3pPr>
            <a:lvl4pPr lvl="3" rtl="0">
              <a:lnSpc>
                <a:spcPct val="100000"/>
              </a:lnSpc>
              <a:spcBef>
                <a:spcPts val="0"/>
              </a:spcBef>
              <a:spcAft>
                <a:spcPts val="0"/>
              </a:spcAft>
              <a:buSzPts val="3000"/>
              <a:buFont typeface="Montserrat Light"/>
              <a:buNone/>
              <a:defRPr sz="3000">
                <a:latin typeface="Montserrat Light"/>
                <a:ea typeface="Montserrat Light"/>
                <a:cs typeface="Montserrat Light"/>
                <a:sym typeface="Montserrat Light"/>
              </a:defRPr>
            </a:lvl4pPr>
            <a:lvl5pPr lvl="4" rtl="0">
              <a:lnSpc>
                <a:spcPct val="100000"/>
              </a:lnSpc>
              <a:spcBef>
                <a:spcPts val="0"/>
              </a:spcBef>
              <a:spcAft>
                <a:spcPts val="0"/>
              </a:spcAft>
              <a:buSzPts val="3000"/>
              <a:buFont typeface="Montserrat Light"/>
              <a:buNone/>
              <a:defRPr sz="3000">
                <a:latin typeface="Montserrat Light"/>
                <a:ea typeface="Montserrat Light"/>
                <a:cs typeface="Montserrat Light"/>
                <a:sym typeface="Montserrat Light"/>
              </a:defRPr>
            </a:lvl5pPr>
            <a:lvl6pPr lvl="5" rtl="0">
              <a:lnSpc>
                <a:spcPct val="100000"/>
              </a:lnSpc>
              <a:spcBef>
                <a:spcPts val="0"/>
              </a:spcBef>
              <a:spcAft>
                <a:spcPts val="0"/>
              </a:spcAft>
              <a:buSzPts val="3000"/>
              <a:buFont typeface="Montserrat Light"/>
              <a:buNone/>
              <a:defRPr sz="3000">
                <a:latin typeface="Montserrat Light"/>
                <a:ea typeface="Montserrat Light"/>
                <a:cs typeface="Montserrat Light"/>
                <a:sym typeface="Montserrat Light"/>
              </a:defRPr>
            </a:lvl6pPr>
            <a:lvl7pPr lvl="6" rtl="0">
              <a:lnSpc>
                <a:spcPct val="100000"/>
              </a:lnSpc>
              <a:spcBef>
                <a:spcPts val="0"/>
              </a:spcBef>
              <a:spcAft>
                <a:spcPts val="0"/>
              </a:spcAft>
              <a:buSzPts val="3000"/>
              <a:buFont typeface="Montserrat Light"/>
              <a:buNone/>
              <a:defRPr sz="3000">
                <a:latin typeface="Montserrat Light"/>
                <a:ea typeface="Montserrat Light"/>
                <a:cs typeface="Montserrat Light"/>
                <a:sym typeface="Montserrat Light"/>
              </a:defRPr>
            </a:lvl7pPr>
            <a:lvl8pPr lvl="7" rtl="0">
              <a:lnSpc>
                <a:spcPct val="100000"/>
              </a:lnSpc>
              <a:spcBef>
                <a:spcPts val="0"/>
              </a:spcBef>
              <a:spcAft>
                <a:spcPts val="0"/>
              </a:spcAft>
              <a:buSzPts val="3000"/>
              <a:buFont typeface="Montserrat Light"/>
              <a:buNone/>
              <a:defRPr sz="3000">
                <a:latin typeface="Montserrat Light"/>
                <a:ea typeface="Montserrat Light"/>
                <a:cs typeface="Montserrat Light"/>
                <a:sym typeface="Montserrat Light"/>
              </a:defRPr>
            </a:lvl8pPr>
            <a:lvl9pPr lvl="8" rtl="0">
              <a:lnSpc>
                <a:spcPct val="100000"/>
              </a:lnSpc>
              <a:spcBef>
                <a:spcPts val="0"/>
              </a:spcBef>
              <a:spcAft>
                <a:spcPts val="0"/>
              </a:spcAft>
              <a:buSzPts val="3000"/>
              <a:buFont typeface="Montserrat Light"/>
              <a:buNone/>
              <a:defRPr sz="3000">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31103751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2635125" y="3380817"/>
            <a:ext cx="5788800" cy="1126800"/>
          </a:xfrm>
          <a:prstGeom prst="rect">
            <a:avLst/>
          </a:prstGeom>
        </p:spPr>
        <p:txBody>
          <a:bodyPr spcFirstLastPara="1" wrap="square" lIns="91425" tIns="91425" rIns="91425" bIns="91425" anchor="b" anchorCtr="0">
            <a:noAutofit/>
          </a:bodyPr>
          <a:lstStyle>
            <a:lvl1pPr lvl="0">
              <a:spcBef>
                <a:spcPts val="0"/>
              </a:spcBef>
              <a:spcAft>
                <a:spcPts val="0"/>
              </a:spcAft>
              <a:buSzPts val="2800"/>
              <a:buNone/>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endParaRPr/>
          </a:p>
        </p:txBody>
      </p:sp>
      <p:sp>
        <p:nvSpPr>
          <p:cNvPr id="15" name="Google Shape;15;p3"/>
          <p:cNvSpPr txBox="1">
            <a:spLocks noGrp="1"/>
          </p:cNvSpPr>
          <p:nvPr>
            <p:ph type="title" idx="2" hasCustomPrompt="1"/>
          </p:nvPr>
        </p:nvSpPr>
        <p:spPr>
          <a:xfrm>
            <a:off x="947900" y="2734400"/>
            <a:ext cx="2718000" cy="19635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FFFFFF"/>
              </a:buClr>
              <a:buSzPts val="9000"/>
              <a:buFont typeface="Montserrat Light"/>
              <a:buNone/>
              <a:defRPr sz="9000">
                <a:solidFill>
                  <a:srgbClr val="FFFFFF"/>
                </a:solidFill>
                <a:latin typeface="Montserrat Light"/>
                <a:ea typeface="Montserrat Light"/>
                <a:cs typeface="Montserrat Light"/>
                <a:sym typeface="Montserrat Light"/>
              </a:defRPr>
            </a:lvl1pPr>
            <a:lvl2pPr lvl="1"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2pPr>
            <a:lvl3pPr lvl="2"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3pPr>
            <a:lvl4pPr lvl="3"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4pPr>
            <a:lvl5pPr lvl="4"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5pPr>
            <a:lvl6pPr lvl="5"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6pPr>
            <a:lvl7pPr lvl="6"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7pPr>
            <a:lvl8pPr lvl="7"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8pPr>
            <a:lvl9pPr lvl="8" rtl="0">
              <a:spcBef>
                <a:spcPts val="0"/>
              </a:spcBef>
              <a:spcAft>
                <a:spcPts val="0"/>
              </a:spcAft>
              <a:buClr>
                <a:schemeClr val="dk1"/>
              </a:buClr>
              <a:buSzPts val="12000"/>
              <a:buFont typeface="Montserrat Light"/>
              <a:buNone/>
              <a:defRPr sz="12000">
                <a:solidFill>
                  <a:schemeClr val="dk1"/>
                </a:solidFill>
                <a:latin typeface="Montserrat Light"/>
                <a:ea typeface="Montserrat Light"/>
                <a:cs typeface="Montserrat Light"/>
                <a:sym typeface="Montserrat Light"/>
              </a:defRPr>
            </a:lvl9pPr>
          </a:lstStyle>
          <a:p>
            <a:r>
              <a:t>xx%</a:t>
            </a:r>
          </a:p>
        </p:txBody>
      </p:sp>
    </p:spTree>
    <p:extLst>
      <p:ext uri="{BB962C8B-B14F-4D97-AF65-F5344CB8AC3E}">
        <p14:creationId xmlns:p14="http://schemas.microsoft.com/office/powerpoint/2010/main" val="32693790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subTitle" idx="1"/>
          </p:nvPr>
        </p:nvSpPr>
        <p:spPr>
          <a:xfrm>
            <a:off x="5309875" y="2565524"/>
            <a:ext cx="2332800" cy="1235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8" name="Google Shape;18;p4"/>
          <p:cNvSpPr/>
          <p:nvPr/>
        </p:nvSpPr>
        <p:spPr>
          <a:xfrm rot="-5400000">
            <a:off x="114276" y="1147596"/>
            <a:ext cx="1518000" cy="301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4"/>
          <p:cNvSpPr txBox="1">
            <a:spLocks noGrp="1"/>
          </p:cNvSpPr>
          <p:nvPr>
            <p:ph type="title"/>
          </p:nvPr>
        </p:nvSpPr>
        <p:spPr>
          <a:xfrm rot="-5400000">
            <a:off x="-1266462" y="2396618"/>
            <a:ext cx="4279500" cy="338400"/>
          </a:xfrm>
          <a:prstGeom prst="rect">
            <a:avLst/>
          </a:prstGeom>
        </p:spPr>
        <p:txBody>
          <a:bodyPr spcFirstLastPara="1" wrap="square" lIns="91425" tIns="91425" rIns="91425" bIns="91425" anchor="ctr"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4660143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hasCustomPrompt="1"/>
          </p:nvPr>
        </p:nvSpPr>
        <p:spPr>
          <a:xfrm>
            <a:off x="1561229" y="3855611"/>
            <a:ext cx="1510800" cy="3099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spcBef>
                <a:spcPts val="0"/>
              </a:spcBef>
              <a:spcAft>
                <a:spcPts val="0"/>
              </a:spcAft>
              <a:buClr>
                <a:schemeClr val="accent5"/>
              </a:buClr>
              <a:buSzPts val="4000"/>
              <a:buNone/>
              <a:defRPr sz="4000">
                <a:solidFill>
                  <a:schemeClr val="accent5"/>
                </a:solidFill>
              </a:defRPr>
            </a:lvl2pPr>
            <a:lvl3pPr lvl="2" rtl="0">
              <a:spcBef>
                <a:spcPts val="0"/>
              </a:spcBef>
              <a:spcAft>
                <a:spcPts val="0"/>
              </a:spcAft>
              <a:buClr>
                <a:schemeClr val="accent5"/>
              </a:buClr>
              <a:buSzPts val="4000"/>
              <a:buNone/>
              <a:defRPr sz="4000">
                <a:solidFill>
                  <a:schemeClr val="accent5"/>
                </a:solidFill>
              </a:defRPr>
            </a:lvl3pPr>
            <a:lvl4pPr lvl="3" rtl="0">
              <a:spcBef>
                <a:spcPts val="0"/>
              </a:spcBef>
              <a:spcAft>
                <a:spcPts val="0"/>
              </a:spcAft>
              <a:buClr>
                <a:schemeClr val="accent5"/>
              </a:buClr>
              <a:buSzPts val="4000"/>
              <a:buNone/>
              <a:defRPr sz="4000">
                <a:solidFill>
                  <a:schemeClr val="accent5"/>
                </a:solidFill>
              </a:defRPr>
            </a:lvl4pPr>
            <a:lvl5pPr lvl="4" rtl="0">
              <a:spcBef>
                <a:spcPts val="0"/>
              </a:spcBef>
              <a:spcAft>
                <a:spcPts val="0"/>
              </a:spcAft>
              <a:buClr>
                <a:schemeClr val="accent5"/>
              </a:buClr>
              <a:buSzPts val="4000"/>
              <a:buNone/>
              <a:defRPr sz="4000">
                <a:solidFill>
                  <a:schemeClr val="accent5"/>
                </a:solidFill>
              </a:defRPr>
            </a:lvl5pPr>
            <a:lvl6pPr lvl="5" rtl="0">
              <a:spcBef>
                <a:spcPts val="0"/>
              </a:spcBef>
              <a:spcAft>
                <a:spcPts val="0"/>
              </a:spcAft>
              <a:buClr>
                <a:schemeClr val="accent5"/>
              </a:buClr>
              <a:buSzPts val="4000"/>
              <a:buNone/>
              <a:defRPr sz="4000">
                <a:solidFill>
                  <a:schemeClr val="accent5"/>
                </a:solidFill>
              </a:defRPr>
            </a:lvl6pPr>
            <a:lvl7pPr lvl="6" rtl="0">
              <a:spcBef>
                <a:spcPts val="0"/>
              </a:spcBef>
              <a:spcAft>
                <a:spcPts val="0"/>
              </a:spcAft>
              <a:buClr>
                <a:schemeClr val="accent5"/>
              </a:buClr>
              <a:buSzPts val="4000"/>
              <a:buNone/>
              <a:defRPr sz="4000">
                <a:solidFill>
                  <a:schemeClr val="accent5"/>
                </a:solidFill>
              </a:defRPr>
            </a:lvl7pPr>
            <a:lvl8pPr lvl="7" rtl="0">
              <a:spcBef>
                <a:spcPts val="0"/>
              </a:spcBef>
              <a:spcAft>
                <a:spcPts val="0"/>
              </a:spcAft>
              <a:buClr>
                <a:schemeClr val="accent5"/>
              </a:buClr>
              <a:buSzPts val="4000"/>
              <a:buNone/>
              <a:defRPr sz="4000">
                <a:solidFill>
                  <a:schemeClr val="accent5"/>
                </a:solidFill>
              </a:defRPr>
            </a:lvl8pPr>
            <a:lvl9pPr lvl="8" rtl="0">
              <a:spcBef>
                <a:spcPts val="0"/>
              </a:spcBef>
              <a:spcAft>
                <a:spcPts val="0"/>
              </a:spcAft>
              <a:buClr>
                <a:schemeClr val="accent5"/>
              </a:buClr>
              <a:buSzPts val="4000"/>
              <a:buNone/>
              <a:defRPr sz="4000">
                <a:solidFill>
                  <a:schemeClr val="accent5"/>
                </a:solidFill>
              </a:defRPr>
            </a:lvl9pPr>
          </a:lstStyle>
          <a:p>
            <a:r>
              <a:t>xx%</a:t>
            </a:r>
          </a:p>
        </p:txBody>
      </p:sp>
      <p:sp>
        <p:nvSpPr>
          <p:cNvPr id="22" name="Google Shape;22;p5"/>
          <p:cNvSpPr txBox="1">
            <a:spLocks noGrp="1"/>
          </p:cNvSpPr>
          <p:nvPr>
            <p:ph type="subTitle" idx="1"/>
          </p:nvPr>
        </p:nvSpPr>
        <p:spPr>
          <a:xfrm>
            <a:off x="1561229" y="4108715"/>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23" name="Google Shape;23;p5"/>
          <p:cNvSpPr txBox="1">
            <a:spLocks noGrp="1"/>
          </p:cNvSpPr>
          <p:nvPr>
            <p:ph type="title" idx="2" hasCustomPrompt="1"/>
          </p:nvPr>
        </p:nvSpPr>
        <p:spPr>
          <a:xfrm>
            <a:off x="5261539" y="3855611"/>
            <a:ext cx="1510800" cy="3099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spcBef>
                <a:spcPts val="0"/>
              </a:spcBef>
              <a:spcAft>
                <a:spcPts val="0"/>
              </a:spcAft>
              <a:buClr>
                <a:schemeClr val="accent5"/>
              </a:buClr>
              <a:buSzPts val="4000"/>
              <a:buNone/>
              <a:defRPr sz="4000">
                <a:solidFill>
                  <a:schemeClr val="accent5"/>
                </a:solidFill>
              </a:defRPr>
            </a:lvl2pPr>
            <a:lvl3pPr lvl="2" rtl="0">
              <a:spcBef>
                <a:spcPts val="0"/>
              </a:spcBef>
              <a:spcAft>
                <a:spcPts val="0"/>
              </a:spcAft>
              <a:buClr>
                <a:schemeClr val="accent5"/>
              </a:buClr>
              <a:buSzPts val="4000"/>
              <a:buNone/>
              <a:defRPr sz="4000">
                <a:solidFill>
                  <a:schemeClr val="accent5"/>
                </a:solidFill>
              </a:defRPr>
            </a:lvl3pPr>
            <a:lvl4pPr lvl="3" rtl="0">
              <a:spcBef>
                <a:spcPts val="0"/>
              </a:spcBef>
              <a:spcAft>
                <a:spcPts val="0"/>
              </a:spcAft>
              <a:buClr>
                <a:schemeClr val="accent5"/>
              </a:buClr>
              <a:buSzPts val="4000"/>
              <a:buNone/>
              <a:defRPr sz="4000">
                <a:solidFill>
                  <a:schemeClr val="accent5"/>
                </a:solidFill>
              </a:defRPr>
            </a:lvl4pPr>
            <a:lvl5pPr lvl="4" rtl="0">
              <a:spcBef>
                <a:spcPts val="0"/>
              </a:spcBef>
              <a:spcAft>
                <a:spcPts val="0"/>
              </a:spcAft>
              <a:buClr>
                <a:schemeClr val="accent5"/>
              </a:buClr>
              <a:buSzPts val="4000"/>
              <a:buNone/>
              <a:defRPr sz="4000">
                <a:solidFill>
                  <a:schemeClr val="accent5"/>
                </a:solidFill>
              </a:defRPr>
            </a:lvl5pPr>
            <a:lvl6pPr lvl="5" rtl="0">
              <a:spcBef>
                <a:spcPts val="0"/>
              </a:spcBef>
              <a:spcAft>
                <a:spcPts val="0"/>
              </a:spcAft>
              <a:buClr>
                <a:schemeClr val="accent5"/>
              </a:buClr>
              <a:buSzPts val="4000"/>
              <a:buNone/>
              <a:defRPr sz="4000">
                <a:solidFill>
                  <a:schemeClr val="accent5"/>
                </a:solidFill>
              </a:defRPr>
            </a:lvl6pPr>
            <a:lvl7pPr lvl="6" rtl="0">
              <a:spcBef>
                <a:spcPts val="0"/>
              </a:spcBef>
              <a:spcAft>
                <a:spcPts val="0"/>
              </a:spcAft>
              <a:buClr>
                <a:schemeClr val="accent5"/>
              </a:buClr>
              <a:buSzPts val="4000"/>
              <a:buNone/>
              <a:defRPr sz="4000">
                <a:solidFill>
                  <a:schemeClr val="accent5"/>
                </a:solidFill>
              </a:defRPr>
            </a:lvl7pPr>
            <a:lvl8pPr lvl="7" rtl="0">
              <a:spcBef>
                <a:spcPts val="0"/>
              </a:spcBef>
              <a:spcAft>
                <a:spcPts val="0"/>
              </a:spcAft>
              <a:buClr>
                <a:schemeClr val="accent5"/>
              </a:buClr>
              <a:buSzPts val="4000"/>
              <a:buNone/>
              <a:defRPr sz="4000">
                <a:solidFill>
                  <a:schemeClr val="accent5"/>
                </a:solidFill>
              </a:defRPr>
            </a:lvl8pPr>
            <a:lvl9pPr lvl="8" rtl="0">
              <a:spcBef>
                <a:spcPts val="0"/>
              </a:spcBef>
              <a:spcAft>
                <a:spcPts val="0"/>
              </a:spcAft>
              <a:buClr>
                <a:schemeClr val="accent5"/>
              </a:buClr>
              <a:buSzPts val="4000"/>
              <a:buNone/>
              <a:defRPr sz="4000">
                <a:solidFill>
                  <a:schemeClr val="accent5"/>
                </a:solidFill>
              </a:defRPr>
            </a:lvl9pPr>
          </a:lstStyle>
          <a:p>
            <a:r>
              <a:t>xx%</a:t>
            </a:r>
          </a:p>
        </p:txBody>
      </p:sp>
      <p:sp>
        <p:nvSpPr>
          <p:cNvPr id="24" name="Google Shape;24;p5"/>
          <p:cNvSpPr txBox="1">
            <a:spLocks noGrp="1"/>
          </p:cNvSpPr>
          <p:nvPr>
            <p:ph type="subTitle" idx="3"/>
          </p:nvPr>
        </p:nvSpPr>
        <p:spPr>
          <a:xfrm>
            <a:off x="5261539" y="4108715"/>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25" name="Google Shape;25;p5"/>
          <p:cNvSpPr/>
          <p:nvPr/>
        </p:nvSpPr>
        <p:spPr>
          <a:xfrm rot="-5400000">
            <a:off x="114276" y="1147596"/>
            <a:ext cx="1518000" cy="301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6;p5"/>
          <p:cNvSpPr txBox="1">
            <a:spLocks noGrp="1"/>
          </p:cNvSpPr>
          <p:nvPr>
            <p:ph type="title" idx="4"/>
          </p:nvPr>
        </p:nvSpPr>
        <p:spPr>
          <a:xfrm rot="-5400000">
            <a:off x="-1266462" y="2396618"/>
            <a:ext cx="4279500" cy="338400"/>
          </a:xfrm>
          <a:prstGeom prst="rect">
            <a:avLst/>
          </a:prstGeom>
        </p:spPr>
        <p:txBody>
          <a:bodyPr spcFirstLastPara="1" wrap="square" lIns="91425" tIns="91425" rIns="91425" bIns="91425" anchor="ctr"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22564223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7"/>
        <p:cNvGrpSpPr/>
        <p:nvPr/>
      </p:nvGrpSpPr>
      <p:grpSpPr>
        <a:xfrm>
          <a:off x="0" y="0"/>
          <a:ext cx="0" cy="0"/>
          <a:chOff x="0" y="0"/>
          <a:chExt cx="0" cy="0"/>
        </a:xfrm>
      </p:grpSpPr>
      <p:sp>
        <p:nvSpPr>
          <p:cNvPr id="28" name="Google Shape;28;p6"/>
          <p:cNvSpPr/>
          <p:nvPr/>
        </p:nvSpPr>
        <p:spPr>
          <a:xfrm>
            <a:off x="6594483" y="542917"/>
            <a:ext cx="1828800" cy="262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9;p6"/>
          <p:cNvSpPr txBox="1">
            <a:spLocks noGrp="1"/>
          </p:cNvSpPr>
          <p:nvPr>
            <p:ph type="title"/>
          </p:nvPr>
        </p:nvSpPr>
        <p:spPr>
          <a:xfrm>
            <a:off x="626684" y="404716"/>
            <a:ext cx="7927800" cy="5304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24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13455877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0"/>
        <p:cNvGrpSpPr/>
        <p:nvPr/>
      </p:nvGrpSpPr>
      <p:grpSpPr>
        <a:xfrm>
          <a:off x="0" y="0"/>
          <a:ext cx="0" cy="0"/>
          <a:chOff x="0" y="0"/>
          <a:chExt cx="0" cy="0"/>
        </a:xfrm>
      </p:grpSpPr>
      <p:sp>
        <p:nvSpPr>
          <p:cNvPr id="31" name="Google Shape;31;p7"/>
          <p:cNvSpPr txBox="1">
            <a:spLocks noGrp="1"/>
          </p:cNvSpPr>
          <p:nvPr>
            <p:ph type="body" idx="1"/>
          </p:nvPr>
        </p:nvSpPr>
        <p:spPr>
          <a:xfrm>
            <a:off x="482842" y="962878"/>
            <a:ext cx="7704000" cy="3641400"/>
          </a:xfrm>
          <a:prstGeom prst="rect">
            <a:avLst/>
          </a:prstGeom>
        </p:spPr>
        <p:txBody>
          <a:bodyPr spcFirstLastPara="1" wrap="square" lIns="91425" tIns="91425" rIns="91425" bIns="91425" anchor="t" anchorCtr="0">
            <a:noAutofit/>
          </a:bodyPr>
          <a:lstStyle>
            <a:lvl1pPr marL="457200" lvl="0" indent="-317500" rtl="0">
              <a:spcBef>
                <a:spcPts val="0"/>
              </a:spcBef>
              <a:spcAft>
                <a:spcPts val="0"/>
              </a:spcAft>
              <a:buSzPts val="1400"/>
              <a:buChar char="●"/>
              <a:defRPr sz="1400"/>
            </a:lvl1pPr>
            <a:lvl2pPr marL="914400" lvl="1" indent="-317500" rtl="0">
              <a:spcBef>
                <a:spcPts val="1600"/>
              </a:spcBef>
              <a:spcAft>
                <a:spcPts val="0"/>
              </a:spcAft>
              <a:buSzPts val="1400"/>
              <a:buChar char="○"/>
              <a:defRPr/>
            </a:lvl2pPr>
            <a:lvl3pPr marL="1371600" lvl="2" indent="-317500" rtl="0">
              <a:spcBef>
                <a:spcPts val="1600"/>
              </a:spcBef>
              <a:spcAft>
                <a:spcPts val="0"/>
              </a:spcAft>
              <a:buSzPts val="1400"/>
              <a:buChar char="■"/>
              <a:defRPr/>
            </a:lvl3pPr>
            <a:lvl4pPr marL="1828800" lvl="3" indent="-317500" rtl="0">
              <a:spcBef>
                <a:spcPts val="1600"/>
              </a:spcBef>
              <a:spcAft>
                <a:spcPts val="0"/>
              </a:spcAft>
              <a:buSzPts val="1400"/>
              <a:buChar char="●"/>
              <a:defRPr/>
            </a:lvl4pPr>
            <a:lvl5pPr marL="2286000" lvl="4" indent="-317500" rtl="0">
              <a:spcBef>
                <a:spcPts val="1600"/>
              </a:spcBef>
              <a:spcAft>
                <a:spcPts val="0"/>
              </a:spcAft>
              <a:buSzPts val="1400"/>
              <a:buChar char="○"/>
              <a:defRPr/>
            </a:lvl5pPr>
            <a:lvl6pPr marL="2743200" lvl="5" indent="-317500" rtl="0">
              <a:spcBef>
                <a:spcPts val="1600"/>
              </a:spcBef>
              <a:spcAft>
                <a:spcPts val="0"/>
              </a:spcAft>
              <a:buSzPts val="1400"/>
              <a:buChar char="■"/>
              <a:defRPr/>
            </a:lvl6pPr>
            <a:lvl7pPr marL="3200400" lvl="6" indent="-317500" rtl="0">
              <a:spcBef>
                <a:spcPts val="1600"/>
              </a:spcBef>
              <a:spcAft>
                <a:spcPts val="0"/>
              </a:spcAft>
              <a:buSzPts val="1400"/>
              <a:buChar char="●"/>
              <a:defRPr/>
            </a:lvl7pPr>
            <a:lvl8pPr marL="3657600" lvl="7" indent="-317500" rtl="0">
              <a:spcBef>
                <a:spcPts val="1600"/>
              </a:spcBef>
              <a:spcAft>
                <a:spcPts val="0"/>
              </a:spcAft>
              <a:buSzPts val="1400"/>
              <a:buChar char="○"/>
              <a:defRPr/>
            </a:lvl8pPr>
            <a:lvl9pPr marL="4114800" lvl="8" indent="-317500" rtl="0">
              <a:spcBef>
                <a:spcPts val="1600"/>
              </a:spcBef>
              <a:spcAft>
                <a:spcPts val="1600"/>
              </a:spcAft>
              <a:buSzPts val="1400"/>
              <a:buChar char="■"/>
              <a:defRPr/>
            </a:lvl9pPr>
          </a:lstStyle>
          <a:p>
            <a:endParaRPr/>
          </a:p>
        </p:txBody>
      </p:sp>
      <p:sp>
        <p:nvSpPr>
          <p:cNvPr id="32" name="Google Shape;32;p7"/>
          <p:cNvSpPr/>
          <p:nvPr/>
        </p:nvSpPr>
        <p:spPr>
          <a:xfrm>
            <a:off x="6594483" y="542917"/>
            <a:ext cx="1828800" cy="262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33;p7"/>
          <p:cNvSpPr txBox="1">
            <a:spLocks noGrp="1"/>
          </p:cNvSpPr>
          <p:nvPr>
            <p:ph type="title"/>
          </p:nvPr>
        </p:nvSpPr>
        <p:spPr>
          <a:xfrm>
            <a:off x="626684" y="404716"/>
            <a:ext cx="7927800" cy="5304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24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27426283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4"/>
        <p:cNvGrpSpPr/>
        <p:nvPr/>
      </p:nvGrpSpPr>
      <p:grpSpPr>
        <a:xfrm>
          <a:off x="0" y="0"/>
          <a:ext cx="0" cy="0"/>
          <a:chOff x="0" y="0"/>
          <a:chExt cx="0" cy="0"/>
        </a:xfrm>
      </p:grpSpPr>
      <p:sp>
        <p:nvSpPr>
          <p:cNvPr id="35" name="Google Shape;35;p8"/>
          <p:cNvSpPr/>
          <p:nvPr/>
        </p:nvSpPr>
        <p:spPr>
          <a:xfrm>
            <a:off x="6753375" y="692400"/>
            <a:ext cx="1823100" cy="4064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36;p8"/>
          <p:cNvSpPr/>
          <p:nvPr/>
        </p:nvSpPr>
        <p:spPr>
          <a:xfrm>
            <a:off x="720000" y="540000"/>
            <a:ext cx="7704000" cy="40644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8"/>
          <p:cNvSpPr txBox="1">
            <a:spLocks noGrp="1"/>
          </p:cNvSpPr>
          <p:nvPr>
            <p:ph type="title"/>
          </p:nvPr>
        </p:nvSpPr>
        <p:spPr>
          <a:xfrm>
            <a:off x="720000" y="526350"/>
            <a:ext cx="7704000" cy="40908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4800"/>
            </a:lvl1pPr>
            <a:lvl2pPr lvl="1" algn="ctr">
              <a:spcBef>
                <a:spcPts val="0"/>
              </a:spcBef>
              <a:spcAft>
                <a:spcPts val="0"/>
              </a:spcAft>
              <a:buSzPts val="4800"/>
              <a:buNone/>
              <a:defRPr sz="4800"/>
            </a:lvl2pPr>
            <a:lvl3pPr lvl="2" algn="ctr">
              <a:spcBef>
                <a:spcPts val="0"/>
              </a:spcBef>
              <a:spcAft>
                <a:spcPts val="0"/>
              </a:spcAft>
              <a:buSzPts val="4800"/>
              <a:buNone/>
              <a:defRPr sz="4800"/>
            </a:lvl3pPr>
            <a:lvl4pPr lvl="3" algn="ctr">
              <a:spcBef>
                <a:spcPts val="0"/>
              </a:spcBef>
              <a:spcAft>
                <a:spcPts val="0"/>
              </a:spcAft>
              <a:buSzPts val="4800"/>
              <a:buNone/>
              <a:defRPr sz="4800"/>
            </a:lvl4pPr>
            <a:lvl5pPr lvl="4" algn="ctr">
              <a:spcBef>
                <a:spcPts val="0"/>
              </a:spcBef>
              <a:spcAft>
                <a:spcPts val="0"/>
              </a:spcAft>
              <a:buSzPts val="4800"/>
              <a:buNone/>
              <a:defRPr sz="4800"/>
            </a:lvl5pPr>
            <a:lvl6pPr lvl="5" algn="ctr">
              <a:spcBef>
                <a:spcPts val="0"/>
              </a:spcBef>
              <a:spcAft>
                <a:spcPts val="0"/>
              </a:spcAft>
              <a:buSzPts val="4800"/>
              <a:buNone/>
              <a:defRPr sz="4800"/>
            </a:lvl6pPr>
            <a:lvl7pPr lvl="6" algn="ctr">
              <a:spcBef>
                <a:spcPts val="0"/>
              </a:spcBef>
              <a:spcAft>
                <a:spcPts val="0"/>
              </a:spcAft>
              <a:buSzPts val="4800"/>
              <a:buNone/>
              <a:defRPr sz="4800"/>
            </a:lvl7pPr>
            <a:lvl8pPr lvl="7" algn="ctr">
              <a:spcBef>
                <a:spcPts val="0"/>
              </a:spcBef>
              <a:spcAft>
                <a:spcPts val="0"/>
              </a:spcAft>
              <a:buSzPts val="4800"/>
              <a:buNone/>
              <a:defRPr sz="4800"/>
            </a:lvl8pPr>
            <a:lvl9pPr lvl="8" algn="ctr">
              <a:spcBef>
                <a:spcPts val="0"/>
              </a:spcBef>
              <a:spcAft>
                <a:spcPts val="0"/>
              </a:spcAft>
              <a:buSzPts val="4800"/>
              <a:buNone/>
              <a:defRPr sz="4800"/>
            </a:lvl9pPr>
          </a:lstStyle>
          <a:p>
            <a:endParaRPr/>
          </a:p>
        </p:txBody>
      </p:sp>
    </p:spTree>
    <p:extLst>
      <p:ext uri="{BB962C8B-B14F-4D97-AF65-F5344CB8AC3E}">
        <p14:creationId xmlns:p14="http://schemas.microsoft.com/office/powerpoint/2010/main" val="22447282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15CCE4-8C09-47E1-AC10-924A0A40869F}" type="datetime1">
              <a:rPr lang="en-US" smtClean="0"/>
              <a:t>10/28/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lvl1pPr>
              <a:defRPr>
                <a:latin typeface="Gotham Book" pitchFamily="50" charset="0"/>
                <a:cs typeface="Gotham Book" pitchFamily="50" charset="0"/>
              </a:defRPr>
            </a:lvl1pPr>
          </a:lstStyle>
          <a:p>
            <a:fld id="{B6F15528-21DE-4FAA-801E-634DDDAF4B2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8"/>
        <p:cNvGrpSpPr/>
        <p:nvPr/>
      </p:nvGrpSpPr>
      <p:grpSpPr>
        <a:xfrm>
          <a:off x="0" y="0"/>
          <a:ext cx="0" cy="0"/>
          <a:chOff x="0" y="0"/>
          <a:chExt cx="0" cy="0"/>
        </a:xfrm>
      </p:grpSpPr>
      <p:sp>
        <p:nvSpPr>
          <p:cNvPr id="39" name="Google Shape;39;p9"/>
          <p:cNvSpPr/>
          <p:nvPr/>
        </p:nvSpPr>
        <p:spPr>
          <a:xfrm>
            <a:off x="3639000" y="542917"/>
            <a:ext cx="864600" cy="262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9"/>
          <p:cNvSpPr txBox="1">
            <a:spLocks noGrp="1"/>
          </p:cNvSpPr>
          <p:nvPr>
            <p:ph type="body" idx="1"/>
          </p:nvPr>
        </p:nvSpPr>
        <p:spPr>
          <a:xfrm>
            <a:off x="482850" y="1219675"/>
            <a:ext cx="3936600" cy="3641400"/>
          </a:xfrm>
          <a:prstGeom prst="rect">
            <a:avLst/>
          </a:prstGeom>
        </p:spPr>
        <p:txBody>
          <a:bodyPr spcFirstLastPara="1" wrap="square" lIns="91425" tIns="91425" rIns="91425" bIns="91425" anchor="b" anchorCtr="0">
            <a:noAutofit/>
          </a:bodyPr>
          <a:lstStyle>
            <a:lvl1pPr marL="457200" lvl="0" indent="-317500" rtl="0">
              <a:spcBef>
                <a:spcPts val="0"/>
              </a:spcBef>
              <a:spcAft>
                <a:spcPts val="0"/>
              </a:spcAft>
              <a:buClr>
                <a:schemeClr val="dk1"/>
              </a:buClr>
              <a:buSzPts val="1400"/>
              <a:buChar char="●"/>
              <a:defRPr sz="1400">
                <a:solidFill>
                  <a:schemeClr val="dk1"/>
                </a:solidFill>
              </a:defRPr>
            </a:lvl1pPr>
            <a:lvl2pPr marL="914400" lvl="1" indent="-317500" rtl="0">
              <a:spcBef>
                <a:spcPts val="1600"/>
              </a:spcBef>
              <a:spcAft>
                <a:spcPts val="0"/>
              </a:spcAft>
              <a:buClr>
                <a:schemeClr val="dk1"/>
              </a:buClr>
              <a:buSzPts val="1400"/>
              <a:buChar char="○"/>
              <a:defRPr>
                <a:solidFill>
                  <a:schemeClr val="dk1"/>
                </a:solidFill>
              </a:defRPr>
            </a:lvl2pPr>
            <a:lvl3pPr marL="1371600" lvl="2" indent="-317500" rtl="0">
              <a:spcBef>
                <a:spcPts val="1600"/>
              </a:spcBef>
              <a:spcAft>
                <a:spcPts val="0"/>
              </a:spcAft>
              <a:buClr>
                <a:schemeClr val="dk1"/>
              </a:buClr>
              <a:buSzPts val="1400"/>
              <a:buChar char="■"/>
              <a:defRPr>
                <a:solidFill>
                  <a:schemeClr val="dk1"/>
                </a:solidFill>
              </a:defRPr>
            </a:lvl3pPr>
            <a:lvl4pPr marL="1828800" lvl="3" indent="-317500" rtl="0">
              <a:spcBef>
                <a:spcPts val="1600"/>
              </a:spcBef>
              <a:spcAft>
                <a:spcPts val="0"/>
              </a:spcAft>
              <a:buClr>
                <a:schemeClr val="dk1"/>
              </a:buClr>
              <a:buSzPts val="1400"/>
              <a:buChar char="●"/>
              <a:defRPr>
                <a:solidFill>
                  <a:schemeClr val="dk1"/>
                </a:solidFill>
              </a:defRPr>
            </a:lvl4pPr>
            <a:lvl5pPr marL="2286000" lvl="4" indent="-317500" rtl="0">
              <a:spcBef>
                <a:spcPts val="1600"/>
              </a:spcBef>
              <a:spcAft>
                <a:spcPts val="0"/>
              </a:spcAft>
              <a:buClr>
                <a:schemeClr val="dk1"/>
              </a:buClr>
              <a:buSzPts val="1400"/>
              <a:buChar char="○"/>
              <a:defRPr>
                <a:solidFill>
                  <a:schemeClr val="dk1"/>
                </a:solidFill>
              </a:defRPr>
            </a:lvl5pPr>
            <a:lvl6pPr marL="2743200" lvl="5" indent="-317500" rtl="0">
              <a:spcBef>
                <a:spcPts val="1600"/>
              </a:spcBef>
              <a:spcAft>
                <a:spcPts val="0"/>
              </a:spcAft>
              <a:buClr>
                <a:schemeClr val="dk1"/>
              </a:buClr>
              <a:buSzPts val="1400"/>
              <a:buChar char="■"/>
              <a:defRPr>
                <a:solidFill>
                  <a:schemeClr val="dk1"/>
                </a:solidFill>
              </a:defRPr>
            </a:lvl6pPr>
            <a:lvl7pPr marL="3200400" lvl="6" indent="-317500" rtl="0">
              <a:spcBef>
                <a:spcPts val="1600"/>
              </a:spcBef>
              <a:spcAft>
                <a:spcPts val="0"/>
              </a:spcAft>
              <a:buClr>
                <a:schemeClr val="dk1"/>
              </a:buClr>
              <a:buSzPts val="1400"/>
              <a:buChar char="●"/>
              <a:defRPr>
                <a:solidFill>
                  <a:schemeClr val="dk1"/>
                </a:solidFill>
              </a:defRPr>
            </a:lvl7pPr>
            <a:lvl8pPr marL="3657600" lvl="7" indent="-317500" rtl="0">
              <a:spcBef>
                <a:spcPts val="1600"/>
              </a:spcBef>
              <a:spcAft>
                <a:spcPts val="0"/>
              </a:spcAft>
              <a:buClr>
                <a:schemeClr val="dk1"/>
              </a:buClr>
              <a:buSzPts val="1400"/>
              <a:buChar char="○"/>
              <a:defRPr>
                <a:solidFill>
                  <a:schemeClr val="dk1"/>
                </a:solidFill>
              </a:defRPr>
            </a:lvl8pPr>
            <a:lvl9pPr marL="4114800" lvl="8" indent="-317500" rtl="0">
              <a:spcBef>
                <a:spcPts val="1600"/>
              </a:spcBef>
              <a:spcAft>
                <a:spcPts val="1600"/>
              </a:spcAft>
              <a:buClr>
                <a:schemeClr val="dk1"/>
              </a:buClr>
              <a:buSzPts val="1400"/>
              <a:buChar char="■"/>
              <a:defRPr>
                <a:solidFill>
                  <a:schemeClr val="dk1"/>
                </a:solidFill>
              </a:defRPr>
            </a:lvl9pPr>
          </a:lstStyle>
          <a:p>
            <a:endParaRPr/>
          </a:p>
        </p:txBody>
      </p:sp>
      <p:sp>
        <p:nvSpPr>
          <p:cNvPr id="41" name="Google Shape;41;p9"/>
          <p:cNvSpPr txBox="1">
            <a:spLocks noGrp="1"/>
          </p:cNvSpPr>
          <p:nvPr>
            <p:ph type="title"/>
          </p:nvPr>
        </p:nvSpPr>
        <p:spPr>
          <a:xfrm>
            <a:off x="626684" y="404716"/>
            <a:ext cx="7927800" cy="5304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24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754048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2"/>
        <p:cNvGrpSpPr/>
        <p:nvPr/>
      </p:nvGrpSpPr>
      <p:grpSpPr>
        <a:xfrm>
          <a:off x="0" y="0"/>
          <a:ext cx="0" cy="0"/>
          <a:chOff x="0" y="0"/>
          <a:chExt cx="0" cy="0"/>
        </a:xfrm>
      </p:grpSpPr>
      <p:sp>
        <p:nvSpPr>
          <p:cNvPr id="43" name="Google Shape;43;p10"/>
          <p:cNvSpPr txBox="1">
            <a:spLocks noGrp="1"/>
          </p:cNvSpPr>
          <p:nvPr>
            <p:ph type="title"/>
          </p:nvPr>
        </p:nvSpPr>
        <p:spPr>
          <a:xfrm>
            <a:off x="916950" y="1941000"/>
            <a:ext cx="1444200" cy="1109100"/>
          </a:xfrm>
          <a:prstGeom prst="rect">
            <a:avLst/>
          </a:prstGeom>
        </p:spPr>
        <p:txBody>
          <a:bodyPr spcFirstLastPara="1" wrap="square" lIns="91425" tIns="91425" rIns="91425" bIns="91425" anchor="ctr" anchorCtr="0">
            <a:noAutofit/>
          </a:bodyPr>
          <a:lstStyle>
            <a:lvl1pPr lvl="0" rtl="0">
              <a:spcBef>
                <a:spcPts val="0"/>
              </a:spcBef>
              <a:spcAft>
                <a:spcPts val="0"/>
              </a:spcAft>
              <a:buSzPts val="1800"/>
              <a:buFont typeface="Lato"/>
              <a:buNone/>
              <a:defRPr sz="1800">
                <a:latin typeface="Lato"/>
                <a:ea typeface="Lato"/>
                <a:cs typeface="Lato"/>
                <a:sym typeface="Lato"/>
              </a:defRPr>
            </a:lvl1pPr>
            <a:lvl2pPr lvl="1" rtl="0">
              <a:spcBef>
                <a:spcPts val="0"/>
              </a:spcBef>
              <a:spcAft>
                <a:spcPts val="0"/>
              </a:spcAft>
              <a:buSzPts val="1800"/>
              <a:buFont typeface="Lato Black"/>
              <a:buNone/>
              <a:defRPr sz="1800">
                <a:latin typeface="Lato Black"/>
                <a:ea typeface="Lato Black"/>
                <a:cs typeface="Lato Black"/>
                <a:sym typeface="Lato Black"/>
              </a:defRPr>
            </a:lvl2pPr>
            <a:lvl3pPr lvl="2" rtl="0">
              <a:spcBef>
                <a:spcPts val="0"/>
              </a:spcBef>
              <a:spcAft>
                <a:spcPts val="0"/>
              </a:spcAft>
              <a:buSzPts val="1800"/>
              <a:buFont typeface="Lato Black"/>
              <a:buNone/>
              <a:defRPr sz="1800">
                <a:latin typeface="Lato Black"/>
                <a:ea typeface="Lato Black"/>
                <a:cs typeface="Lato Black"/>
                <a:sym typeface="Lato Black"/>
              </a:defRPr>
            </a:lvl3pPr>
            <a:lvl4pPr lvl="3" rtl="0">
              <a:spcBef>
                <a:spcPts val="0"/>
              </a:spcBef>
              <a:spcAft>
                <a:spcPts val="0"/>
              </a:spcAft>
              <a:buSzPts val="1800"/>
              <a:buFont typeface="Lato Black"/>
              <a:buNone/>
              <a:defRPr sz="1800">
                <a:latin typeface="Lato Black"/>
                <a:ea typeface="Lato Black"/>
                <a:cs typeface="Lato Black"/>
                <a:sym typeface="Lato Black"/>
              </a:defRPr>
            </a:lvl4pPr>
            <a:lvl5pPr lvl="4" rtl="0">
              <a:spcBef>
                <a:spcPts val="0"/>
              </a:spcBef>
              <a:spcAft>
                <a:spcPts val="0"/>
              </a:spcAft>
              <a:buSzPts val="1800"/>
              <a:buFont typeface="Lato Black"/>
              <a:buNone/>
              <a:defRPr sz="1800">
                <a:latin typeface="Lato Black"/>
                <a:ea typeface="Lato Black"/>
                <a:cs typeface="Lato Black"/>
                <a:sym typeface="Lato Black"/>
              </a:defRPr>
            </a:lvl5pPr>
            <a:lvl6pPr lvl="5" rtl="0">
              <a:spcBef>
                <a:spcPts val="0"/>
              </a:spcBef>
              <a:spcAft>
                <a:spcPts val="0"/>
              </a:spcAft>
              <a:buSzPts val="1800"/>
              <a:buFont typeface="Lato Black"/>
              <a:buNone/>
              <a:defRPr sz="1800">
                <a:latin typeface="Lato Black"/>
                <a:ea typeface="Lato Black"/>
                <a:cs typeface="Lato Black"/>
                <a:sym typeface="Lato Black"/>
              </a:defRPr>
            </a:lvl6pPr>
            <a:lvl7pPr lvl="6" rtl="0">
              <a:spcBef>
                <a:spcPts val="0"/>
              </a:spcBef>
              <a:spcAft>
                <a:spcPts val="0"/>
              </a:spcAft>
              <a:buSzPts val="1800"/>
              <a:buFont typeface="Lato Black"/>
              <a:buNone/>
              <a:defRPr sz="1800">
                <a:latin typeface="Lato Black"/>
                <a:ea typeface="Lato Black"/>
                <a:cs typeface="Lato Black"/>
                <a:sym typeface="Lato Black"/>
              </a:defRPr>
            </a:lvl7pPr>
            <a:lvl8pPr lvl="7" rtl="0">
              <a:spcBef>
                <a:spcPts val="0"/>
              </a:spcBef>
              <a:spcAft>
                <a:spcPts val="0"/>
              </a:spcAft>
              <a:buSzPts val="1800"/>
              <a:buFont typeface="Lato Black"/>
              <a:buNone/>
              <a:defRPr sz="1800">
                <a:latin typeface="Lato Black"/>
                <a:ea typeface="Lato Black"/>
                <a:cs typeface="Lato Black"/>
                <a:sym typeface="Lato Black"/>
              </a:defRPr>
            </a:lvl8pPr>
            <a:lvl9pPr lvl="8" rtl="0">
              <a:spcBef>
                <a:spcPts val="0"/>
              </a:spcBef>
              <a:spcAft>
                <a:spcPts val="0"/>
              </a:spcAft>
              <a:buSzPts val="1800"/>
              <a:buFont typeface="Lato Black"/>
              <a:buNone/>
              <a:defRPr sz="1800">
                <a:latin typeface="Lato Black"/>
                <a:ea typeface="Lato Black"/>
                <a:cs typeface="Lato Black"/>
                <a:sym typeface="Lato Black"/>
              </a:defRPr>
            </a:lvl9pPr>
          </a:lstStyle>
          <a:p>
            <a:endParaRPr/>
          </a:p>
        </p:txBody>
      </p:sp>
    </p:spTree>
    <p:extLst>
      <p:ext uri="{BB962C8B-B14F-4D97-AF65-F5344CB8AC3E}">
        <p14:creationId xmlns:p14="http://schemas.microsoft.com/office/powerpoint/2010/main" val="160700812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Big number" userDrawn="1">
  <p:cSld name="Big number">
    <p:spTree>
      <p:nvGrpSpPr>
        <p:cNvPr id="1" name="Shape 44"/>
        <p:cNvGrpSpPr/>
        <p:nvPr/>
      </p:nvGrpSpPr>
      <p:grpSpPr>
        <a:xfrm>
          <a:off x="0" y="0"/>
          <a:ext cx="0" cy="0"/>
          <a:chOff x="0" y="0"/>
          <a:chExt cx="0" cy="0"/>
        </a:xfrm>
      </p:grpSpPr>
    </p:spTree>
    <p:extLst>
      <p:ext uri="{BB962C8B-B14F-4D97-AF65-F5344CB8AC3E}">
        <p14:creationId xmlns:p14="http://schemas.microsoft.com/office/powerpoint/2010/main" val="284727518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50"/>
        <p:cNvGrpSpPr/>
        <p:nvPr/>
      </p:nvGrpSpPr>
      <p:grpSpPr>
        <a:xfrm>
          <a:off x="0" y="0"/>
          <a:ext cx="0" cy="0"/>
          <a:chOff x="0" y="0"/>
          <a:chExt cx="0" cy="0"/>
        </a:xfrm>
      </p:grpSpPr>
      <p:sp>
        <p:nvSpPr>
          <p:cNvPr id="51" name="Google Shape;51;p13"/>
          <p:cNvSpPr txBox="1">
            <a:spLocks noGrp="1"/>
          </p:cNvSpPr>
          <p:nvPr>
            <p:ph type="title" hasCustomPrompt="1"/>
          </p:nvPr>
        </p:nvSpPr>
        <p:spPr>
          <a:xfrm>
            <a:off x="947939" y="2625825"/>
            <a:ext cx="1510800" cy="709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FFFFFF"/>
              </a:buClr>
              <a:buSzPts val="4000"/>
              <a:buFont typeface="Montserrat Light"/>
              <a:buNone/>
              <a:defRPr sz="4000">
                <a:solidFill>
                  <a:srgbClr val="FFFFFF"/>
                </a:solidFill>
                <a:latin typeface="Montserrat Light"/>
                <a:ea typeface="Montserrat Light"/>
                <a:cs typeface="Montserrat Light"/>
                <a:sym typeface="Montserrat Light"/>
              </a:defRPr>
            </a:lvl1pPr>
            <a:lvl2pPr lvl="1" rtl="0">
              <a:spcBef>
                <a:spcPts val="0"/>
              </a:spcBef>
              <a:spcAft>
                <a:spcPts val="0"/>
              </a:spcAft>
              <a:buClr>
                <a:srgbClr val="FFFFFF"/>
              </a:buClr>
              <a:buSzPts val="4000"/>
              <a:buNone/>
              <a:defRPr sz="4000">
                <a:solidFill>
                  <a:srgbClr val="FFFFFF"/>
                </a:solidFill>
              </a:defRPr>
            </a:lvl2pPr>
            <a:lvl3pPr lvl="2" rtl="0">
              <a:spcBef>
                <a:spcPts val="0"/>
              </a:spcBef>
              <a:spcAft>
                <a:spcPts val="0"/>
              </a:spcAft>
              <a:buClr>
                <a:srgbClr val="FFFFFF"/>
              </a:buClr>
              <a:buSzPts val="4000"/>
              <a:buNone/>
              <a:defRPr sz="4000">
                <a:solidFill>
                  <a:srgbClr val="FFFFFF"/>
                </a:solidFill>
              </a:defRPr>
            </a:lvl3pPr>
            <a:lvl4pPr lvl="3" rtl="0">
              <a:spcBef>
                <a:spcPts val="0"/>
              </a:spcBef>
              <a:spcAft>
                <a:spcPts val="0"/>
              </a:spcAft>
              <a:buClr>
                <a:srgbClr val="FFFFFF"/>
              </a:buClr>
              <a:buSzPts val="4000"/>
              <a:buNone/>
              <a:defRPr sz="4000">
                <a:solidFill>
                  <a:srgbClr val="FFFFFF"/>
                </a:solidFill>
              </a:defRPr>
            </a:lvl4pPr>
            <a:lvl5pPr lvl="4" rtl="0">
              <a:spcBef>
                <a:spcPts val="0"/>
              </a:spcBef>
              <a:spcAft>
                <a:spcPts val="0"/>
              </a:spcAft>
              <a:buClr>
                <a:srgbClr val="FFFFFF"/>
              </a:buClr>
              <a:buSzPts val="4000"/>
              <a:buNone/>
              <a:defRPr sz="4000">
                <a:solidFill>
                  <a:srgbClr val="FFFFFF"/>
                </a:solidFill>
              </a:defRPr>
            </a:lvl5pPr>
            <a:lvl6pPr lvl="5" rtl="0">
              <a:spcBef>
                <a:spcPts val="0"/>
              </a:spcBef>
              <a:spcAft>
                <a:spcPts val="0"/>
              </a:spcAft>
              <a:buClr>
                <a:srgbClr val="FFFFFF"/>
              </a:buClr>
              <a:buSzPts val="4000"/>
              <a:buNone/>
              <a:defRPr sz="4000">
                <a:solidFill>
                  <a:srgbClr val="FFFFFF"/>
                </a:solidFill>
              </a:defRPr>
            </a:lvl6pPr>
            <a:lvl7pPr lvl="6" rtl="0">
              <a:spcBef>
                <a:spcPts val="0"/>
              </a:spcBef>
              <a:spcAft>
                <a:spcPts val="0"/>
              </a:spcAft>
              <a:buClr>
                <a:srgbClr val="FFFFFF"/>
              </a:buClr>
              <a:buSzPts val="4000"/>
              <a:buNone/>
              <a:defRPr sz="4000">
                <a:solidFill>
                  <a:srgbClr val="FFFFFF"/>
                </a:solidFill>
              </a:defRPr>
            </a:lvl7pPr>
            <a:lvl8pPr lvl="7" rtl="0">
              <a:spcBef>
                <a:spcPts val="0"/>
              </a:spcBef>
              <a:spcAft>
                <a:spcPts val="0"/>
              </a:spcAft>
              <a:buClr>
                <a:srgbClr val="FFFFFF"/>
              </a:buClr>
              <a:buSzPts val="4000"/>
              <a:buNone/>
              <a:defRPr sz="4000">
                <a:solidFill>
                  <a:srgbClr val="FFFFFF"/>
                </a:solidFill>
              </a:defRPr>
            </a:lvl8pPr>
            <a:lvl9pPr lvl="8" rtl="0">
              <a:spcBef>
                <a:spcPts val="0"/>
              </a:spcBef>
              <a:spcAft>
                <a:spcPts val="0"/>
              </a:spcAft>
              <a:buClr>
                <a:srgbClr val="FFFFFF"/>
              </a:buClr>
              <a:buSzPts val="4000"/>
              <a:buNone/>
              <a:defRPr sz="4000">
                <a:solidFill>
                  <a:srgbClr val="FFFFFF"/>
                </a:solidFill>
              </a:defRPr>
            </a:lvl9pPr>
          </a:lstStyle>
          <a:p>
            <a:r>
              <a:t>xx%</a:t>
            </a:r>
          </a:p>
        </p:txBody>
      </p:sp>
      <p:sp>
        <p:nvSpPr>
          <p:cNvPr id="52" name="Google Shape;52;p13"/>
          <p:cNvSpPr txBox="1">
            <a:spLocks noGrp="1"/>
          </p:cNvSpPr>
          <p:nvPr>
            <p:ph type="subTitle" idx="1"/>
          </p:nvPr>
        </p:nvSpPr>
        <p:spPr>
          <a:xfrm>
            <a:off x="947949" y="3250107"/>
            <a:ext cx="1610100" cy="105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600"/>
              <a:buNone/>
              <a:defRPr sz="1600"/>
            </a:lvl1pPr>
            <a:lvl2pPr lvl="1" rtl="0">
              <a:lnSpc>
                <a:spcPct val="100000"/>
              </a:lnSpc>
              <a:spcBef>
                <a:spcPts val="0"/>
              </a:spcBef>
              <a:spcAft>
                <a:spcPts val="0"/>
              </a:spcAft>
              <a:buSzPts val="1600"/>
              <a:buNone/>
              <a:defRPr sz="1600"/>
            </a:lvl2pPr>
            <a:lvl3pPr lvl="2" rtl="0">
              <a:lnSpc>
                <a:spcPct val="100000"/>
              </a:lnSpc>
              <a:spcBef>
                <a:spcPts val="0"/>
              </a:spcBef>
              <a:spcAft>
                <a:spcPts val="0"/>
              </a:spcAft>
              <a:buSzPts val="1600"/>
              <a:buNone/>
              <a:defRPr sz="1600"/>
            </a:lvl3pPr>
            <a:lvl4pPr lvl="3" rtl="0">
              <a:lnSpc>
                <a:spcPct val="100000"/>
              </a:lnSpc>
              <a:spcBef>
                <a:spcPts val="0"/>
              </a:spcBef>
              <a:spcAft>
                <a:spcPts val="0"/>
              </a:spcAft>
              <a:buSzPts val="1600"/>
              <a:buNone/>
              <a:defRPr sz="1600"/>
            </a:lvl4pPr>
            <a:lvl5pPr lvl="4" rtl="0">
              <a:lnSpc>
                <a:spcPct val="100000"/>
              </a:lnSpc>
              <a:spcBef>
                <a:spcPts val="0"/>
              </a:spcBef>
              <a:spcAft>
                <a:spcPts val="0"/>
              </a:spcAft>
              <a:buSzPts val="1600"/>
              <a:buNone/>
              <a:defRPr sz="1600"/>
            </a:lvl5pPr>
            <a:lvl6pPr lvl="5" rtl="0">
              <a:lnSpc>
                <a:spcPct val="100000"/>
              </a:lnSpc>
              <a:spcBef>
                <a:spcPts val="0"/>
              </a:spcBef>
              <a:spcAft>
                <a:spcPts val="0"/>
              </a:spcAft>
              <a:buSzPts val="1600"/>
              <a:buNone/>
              <a:defRPr sz="1600"/>
            </a:lvl6pPr>
            <a:lvl7pPr lvl="6" rtl="0">
              <a:lnSpc>
                <a:spcPct val="100000"/>
              </a:lnSpc>
              <a:spcBef>
                <a:spcPts val="0"/>
              </a:spcBef>
              <a:spcAft>
                <a:spcPts val="0"/>
              </a:spcAft>
              <a:buSzPts val="1600"/>
              <a:buNone/>
              <a:defRPr sz="1600"/>
            </a:lvl7pPr>
            <a:lvl8pPr lvl="7" rtl="0">
              <a:lnSpc>
                <a:spcPct val="100000"/>
              </a:lnSpc>
              <a:spcBef>
                <a:spcPts val="0"/>
              </a:spcBef>
              <a:spcAft>
                <a:spcPts val="0"/>
              </a:spcAft>
              <a:buSzPts val="1600"/>
              <a:buNone/>
              <a:defRPr sz="1600"/>
            </a:lvl8pPr>
            <a:lvl9pPr lvl="8" rtl="0">
              <a:lnSpc>
                <a:spcPct val="100000"/>
              </a:lnSpc>
              <a:spcBef>
                <a:spcPts val="0"/>
              </a:spcBef>
              <a:spcAft>
                <a:spcPts val="0"/>
              </a:spcAft>
              <a:buSzPts val="1600"/>
              <a:buNone/>
              <a:defRPr sz="1600"/>
            </a:lvl9pPr>
          </a:lstStyle>
          <a:p>
            <a:endParaRPr/>
          </a:p>
        </p:txBody>
      </p:sp>
      <p:sp>
        <p:nvSpPr>
          <p:cNvPr id="53" name="Google Shape;53;p13"/>
          <p:cNvSpPr txBox="1">
            <a:spLocks noGrp="1"/>
          </p:cNvSpPr>
          <p:nvPr>
            <p:ph type="title" idx="2" hasCustomPrompt="1"/>
          </p:nvPr>
        </p:nvSpPr>
        <p:spPr>
          <a:xfrm>
            <a:off x="2903289" y="2625825"/>
            <a:ext cx="1510800" cy="709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FFFFFF"/>
              </a:buClr>
              <a:buSzPts val="4000"/>
              <a:buFont typeface="Montserrat Light"/>
              <a:buNone/>
              <a:defRPr sz="4000">
                <a:solidFill>
                  <a:srgbClr val="FFFFFF"/>
                </a:solidFill>
                <a:latin typeface="Montserrat Light"/>
                <a:ea typeface="Montserrat Light"/>
                <a:cs typeface="Montserrat Light"/>
                <a:sym typeface="Montserrat Light"/>
              </a:defRPr>
            </a:lvl1pPr>
            <a:lvl2pPr lvl="1" rtl="0">
              <a:spcBef>
                <a:spcPts val="0"/>
              </a:spcBef>
              <a:spcAft>
                <a:spcPts val="0"/>
              </a:spcAft>
              <a:buClr>
                <a:srgbClr val="FFFFFF"/>
              </a:buClr>
              <a:buSzPts val="4000"/>
              <a:buNone/>
              <a:defRPr sz="4000">
                <a:solidFill>
                  <a:srgbClr val="FFFFFF"/>
                </a:solidFill>
              </a:defRPr>
            </a:lvl2pPr>
            <a:lvl3pPr lvl="2" rtl="0">
              <a:spcBef>
                <a:spcPts val="0"/>
              </a:spcBef>
              <a:spcAft>
                <a:spcPts val="0"/>
              </a:spcAft>
              <a:buClr>
                <a:srgbClr val="FFFFFF"/>
              </a:buClr>
              <a:buSzPts val="4000"/>
              <a:buNone/>
              <a:defRPr sz="4000">
                <a:solidFill>
                  <a:srgbClr val="FFFFFF"/>
                </a:solidFill>
              </a:defRPr>
            </a:lvl3pPr>
            <a:lvl4pPr lvl="3" rtl="0">
              <a:spcBef>
                <a:spcPts val="0"/>
              </a:spcBef>
              <a:spcAft>
                <a:spcPts val="0"/>
              </a:spcAft>
              <a:buClr>
                <a:srgbClr val="FFFFFF"/>
              </a:buClr>
              <a:buSzPts val="4000"/>
              <a:buNone/>
              <a:defRPr sz="4000">
                <a:solidFill>
                  <a:srgbClr val="FFFFFF"/>
                </a:solidFill>
              </a:defRPr>
            </a:lvl4pPr>
            <a:lvl5pPr lvl="4" rtl="0">
              <a:spcBef>
                <a:spcPts val="0"/>
              </a:spcBef>
              <a:spcAft>
                <a:spcPts val="0"/>
              </a:spcAft>
              <a:buClr>
                <a:srgbClr val="FFFFFF"/>
              </a:buClr>
              <a:buSzPts val="4000"/>
              <a:buNone/>
              <a:defRPr sz="4000">
                <a:solidFill>
                  <a:srgbClr val="FFFFFF"/>
                </a:solidFill>
              </a:defRPr>
            </a:lvl5pPr>
            <a:lvl6pPr lvl="5" rtl="0">
              <a:spcBef>
                <a:spcPts val="0"/>
              </a:spcBef>
              <a:spcAft>
                <a:spcPts val="0"/>
              </a:spcAft>
              <a:buClr>
                <a:srgbClr val="FFFFFF"/>
              </a:buClr>
              <a:buSzPts val="4000"/>
              <a:buNone/>
              <a:defRPr sz="4000">
                <a:solidFill>
                  <a:srgbClr val="FFFFFF"/>
                </a:solidFill>
              </a:defRPr>
            </a:lvl6pPr>
            <a:lvl7pPr lvl="6" rtl="0">
              <a:spcBef>
                <a:spcPts val="0"/>
              </a:spcBef>
              <a:spcAft>
                <a:spcPts val="0"/>
              </a:spcAft>
              <a:buClr>
                <a:srgbClr val="FFFFFF"/>
              </a:buClr>
              <a:buSzPts val="4000"/>
              <a:buNone/>
              <a:defRPr sz="4000">
                <a:solidFill>
                  <a:srgbClr val="FFFFFF"/>
                </a:solidFill>
              </a:defRPr>
            </a:lvl7pPr>
            <a:lvl8pPr lvl="7" rtl="0">
              <a:spcBef>
                <a:spcPts val="0"/>
              </a:spcBef>
              <a:spcAft>
                <a:spcPts val="0"/>
              </a:spcAft>
              <a:buClr>
                <a:srgbClr val="FFFFFF"/>
              </a:buClr>
              <a:buSzPts val="4000"/>
              <a:buNone/>
              <a:defRPr sz="4000">
                <a:solidFill>
                  <a:srgbClr val="FFFFFF"/>
                </a:solidFill>
              </a:defRPr>
            </a:lvl8pPr>
            <a:lvl9pPr lvl="8" rtl="0">
              <a:spcBef>
                <a:spcPts val="0"/>
              </a:spcBef>
              <a:spcAft>
                <a:spcPts val="0"/>
              </a:spcAft>
              <a:buClr>
                <a:srgbClr val="FFFFFF"/>
              </a:buClr>
              <a:buSzPts val="4000"/>
              <a:buNone/>
              <a:defRPr sz="4000">
                <a:solidFill>
                  <a:srgbClr val="FFFFFF"/>
                </a:solidFill>
              </a:defRPr>
            </a:lvl9pPr>
          </a:lstStyle>
          <a:p>
            <a:r>
              <a:t>xx%</a:t>
            </a:r>
          </a:p>
        </p:txBody>
      </p:sp>
      <p:sp>
        <p:nvSpPr>
          <p:cNvPr id="54" name="Google Shape;54;p13"/>
          <p:cNvSpPr txBox="1">
            <a:spLocks noGrp="1"/>
          </p:cNvSpPr>
          <p:nvPr>
            <p:ph type="subTitle" idx="3"/>
          </p:nvPr>
        </p:nvSpPr>
        <p:spPr>
          <a:xfrm>
            <a:off x="2903299" y="3250107"/>
            <a:ext cx="1610100" cy="105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600"/>
              <a:buNone/>
              <a:defRPr sz="1600"/>
            </a:lvl1pPr>
            <a:lvl2pPr lvl="1" rtl="0">
              <a:lnSpc>
                <a:spcPct val="100000"/>
              </a:lnSpc>
              <a:spcBef>
                <a:spcPts val="0"/>
              </a:spcBef>
              <a:spcAft>
                <a:spcPts val="0"/>
              </a:spcAft>
              <a:buSzPts val="1600"/>
              <a:buNone/>
              <a:defRPr sz="1600"/>
            </a:lvl2pPr>
            <a:lvl3pPr lvl="2" rtl="0">
              <a:lnSpc>
                <a:spcPct val="100000"/>
              </a:lnSpc>
              <a:spcBef>
                <a:spcPts val="0"/>
              </a:spcBef>
              <a:spcAft>
                <a:spcPts val="0"/>
              </a:spcAft>
              <a:buSzPts val="1600"/>
              <a:buNone/>
              <a:defRPr sz="1600"/>
            </a:lvl3pPr>
            <a:lvl4pPr lvl="3" rtl="0">
              <a:lnSpc>
                <a:spcPct val="100000"/>
              </a:lnSpc>
              <a:spcBef>
                <a:spcPts val="0"/>
              </a:spcBef>
              <a:spcAft>
                <a:spcPts val="0"/>
              </a:spcAft>
              <a:buSzPts val="1600"/>
              <a:buNone/>
              <a:defRPr sz="1600"/>
            </a:lvl4pPr>
            <a:lvl5pPr lvl="4" rtl="0">
              <a:lnSpc>
                <a:spcPct val="100000"/>
              </a:lnSpc>
              <a:spcBef>
                <a:spcPts val="0"/>
              </a:spcBef>
              <a:spcAft>
                <a:spcPts val="0"/>
              </a:spcAft>
              <a:buSzPts val="1600"/>
              <a:buNone/>
              <a:defRPr sz="1600"/>
            </a:lvl5pPr>
            <a:lvl6pPr lvl="5" rtl="0">
              <a:lnSpc>
                <a:spcPct val="100000"/>
              </a:lnSpc>
              <a:spcBef>
                <a:spcPts val="0"/>
              </a:spcBef>
              <a:spcAft>
                <a:spcPts val="0"/>
              </a:spcAft>
              <a:buSzPts val="1600"/>
              <a:buNone/>
              <a:defRPr sz="1600"/>
            </a:lvl6pPr>
            <a:lvl7pPr lvl="6" rtl="0">
              <a:lnSpc>
                <a:spcPct val="100000"/>
              </a:lnSpc>
              <a:spcBef>
                <a:spcPts val="0"/>
              </a:spcBef>
              <a:spcAft>
                <a:spcPts val="0"/>
              </a:spcAft>
              <a:buSzPts val="1600"/>
              <a:buNone/>
              <a:defRPr sz="1600"/>
            </a:lvl7pPr>
            <a:lvl8pPr lvl="7" rtl="0">
              <a:lnSpc>
                <a:spcPct val="100000"/>
              </a:lnSpc>
              <a:spcBef>
                <a:spcPts val="0"/>
              </a:spcBef>
              <a:spcAft>
                <a:spcPts val="0"/>
              </a:spcAft>
              <a:buSzPts val="1600"/>
              <a:buNone/>
              <a:defRPr sz="1600"/>
            </a:lvl8pPr>
            <a:lvl9pPr lvl="8" rtl="0">
              <a:lnSpc>
                <a:spcPct val="100000"/>
              </a:lnSpc>
              <a:spcBef>
                <a:spcPts val="0"/>
              </a:spcBef>
              <a:spcAft>
                <a:spcPts val="0"/>
              </a:spcAft>
              <a:buSzPts val="1600"/>
              <a:buNone/>
              <a:defRPr sz="1600"/>
            </a:lvl9pPr>
          </a:lstStyle>
          <a:p>
            <a:endParaRPr/>
          </a:p>
        </p:txBody>
      </p:sp>
      <p:sp>
        <p:nvSpPr>
          <p:cNvPr id="55" name="Google Shape;55;p13"/>
          <p:cNvSpPr txBox="1">
            <a:spLocks noGrp="1"/>
          </p:cNvSpPr>
          <p:nvPr>
            <p:ph type="title" idx="4" hasCustomPrompt="1"/>
          </p:nvPr>
        </p:nvSpPr>
        <p:spPr>
          <a:xfrm>
            <a:off x="4858639" y="2625825"/>
            <a:ext cx="1510800" cy="709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FFFFFF"/>
              </a:buClr>
              <a:buSzPts val="4000"/>
              <a:buFont typeface="Montserrat Light"/>
              <a:buNone/>
              <a:defRPr sz="4000">
                <a:solidFill>
                  <a:srgbClr val="FFFFFF"/>
                </a:solidFill>
                <a:latin typeface="Montserrat Light"/>
                <a:ea typeface="Montserrat Light"/>
                <a:cs typeface="Montserrat Light"/>
                <a:sym typeface="Montserrat Light"/>
              </a:defRPr>
            </a:lvl1pPr>
            <a:lvl2pPr lvl="1" rtl="0">
              <a:spcBef>
                <a:spcPts val="0"/>
              </a:spcBef>
              <a:spcAft>
                <a:spcPts val="0"/>
              </a:spcAft>
              <a:buClr>
                <a:srgbClr val="FFFFFF"/>
              </a:buClr>
              <a:buSzPts val="4000"/>
              <a:buNone/>
              <a:defRPr sz="4000">
                <a:solidFill>
                  <a:srgbClr val="FFFFFF"/>
                </a:solidFill>
              </a:defRPr>
            </a:lvl2pPr>
            <a:lvl3pPr lvl="2" rtl="0">
              <a:spcBef>
                <a:spcPts val="0"/>
              </a:spcBef>
              <a:spcAft>
                <a:spcPts val="0"/>
              </a:spcAft>
              <a:buClr>
                <a:srgbClr val="FFFFFF"/>
              </a:buClr>
              <a:buSzPts val="4000"/>
              <a:buNone/>
              <a:defRPr sz="4000">
                <a:solidFill>
                  <a:srgbClr val="FFFFFF"/>
                </a:solidFill>
              </a:defRPr>
            </a:lvl3pPr>
            <a:lvl4pPr lvl="3" rtl="0">
              <a:spcBef>
                <a:spcPts val="0"/>
              </a:spcBef>
              <a:spcAft>
                <a:spcPts val="0"/>
              </a:spcAft>
              <a:buClr>
                <a:srgbClr val="FFFFFF"/>
              </a:buClr>
              <a:buSzPts val="4000"/>
              <a:buNone/>
              <a:defRPr sz="4000">
                <a:solidFill>
                  <a:srgbClr val="FFFFFF"/>
                </a:solidFill>
              </a:defRPr>
            </a:lvl4pPr>
            <a:lvl5pPr lvl="4" rtl="0">
              <a:spcBef>
                <a:spcPts val="0"/>
              </a:spcBef>
              <a:spcAft>
                <a:spcPts val="0"/>
              </a:spcAft>
              <a:buClr>
                <a:srgbClr val="FFFFFF"/>
              </a:buClr>
              <a:buSzPts val="4000"/>
              <a:buNone/>
              <a:defRPr sz="4000">
                <a:solidFill>
                  <a:srgbClr val="FFFFFF"/>
                </a:solidFill>
              </a:defRPr>
            </a:lvl5pPr>
            <a:lvl6pPr lvl="5" rtl="0">
              <a:spcBef>
                <a:spcPts val="0"/>
              </a:spcBef>
              <a:spcAft>
                <a:spcPts val="0"/>
              </a:spcAft>
              <a:buClr>
                <a:srgbClr val="FFFFFF"/>
              </a:buClr>
              <a:buSzPts val="4000"/>
              <a:buNone/>
              <a:defRPr sz="4000">
                <a:solidFill>
                  <a:srgbClr val="FFFFFF"/>
                </a:solidFill>
              </a:defRPr>
            </a:lvl6pPr>
            <a:lvl7pPr lvl="6" rtl="0">
              <a:spcBef>
                <a:spcPts val="0"/>
              </a:spcBef>
              <a:spcAft>
                <a:spcPts val="0"/>
              </a:spcAft>
              <a:buClr>
                <a:srgbClr val="FFFFFF"/>
              </a:buClr>
              <a:buSzPts val="4000"/>
              <a:buNone/>
              <a:defRPr sz="4000">
                <a:solidFill>
                  <a:srgbClr val="FFFFFF"/>
                </a:solidFill>
              </a:defRPr>
            </a:lvl7pPr>
            <a:lvl8pPr lvl="7" rtl="0">
              <a:spcBef>
                <a:spcPts val="0"/>
              </a:spcBef>
              <a:spcAft>
                <a:spcPts val="0"/>
              </a:spcAft>
              <a:buClr>
                <a:srgbClr val="FFFFFF"/>
              </a:buClr>
              <a:buSzPts val="4000"/>
              <a:buNone/>
              <a:defRPr sz="4000">
                <a:solidFill>
                  <a:srgbClr val="FFFFFF"/>
                </a:solidFill>
              </a:defRPr>
            </a:lvl8pPr>
            <a:lvl9pPr lvl="8" rtl="0">
              <a:spcBef>
                <a:spcPts val="0"/>
              </a:spcBef>
              <a:spcAft>
                <a:spcPts val="0"/>
              </a:spcAft>
              <a:buClr>
                <a:srgbClr val="FFFFFF"/>
              </a:buClr>
              <a:buSzPts val="4000"/>
              <a:buNone/>
              <a:defRPr sz="4000">
                <a:solidFill>
                  <a:srgbClr val="FFFFFF"/>
                </a:solidFill>
              </a:defRPr>
            </a:lvl9pPr>
          </a:lstStyle>
          <a:p>
            <a:r>
              <a:t>xx%</a:t>
            </a:r>
          </a:p>
        </p:txBody>
      </p:sp>
      <p:sp>
        <p:nvSpPr>
          <p:cNvPr id="56" name="Google Shape;56;p13"/>
          <p:cNvSpPr txBox="1">
            <a:spLocks noGrp="1"/>
          </p:cNvSpPr>
          <p:nvPr>
            <p:ph type="subTitle" idx="5"/>
          </p:nvPr>
        </p:nvSpPr>
        <p:spPr>
          <a:xfrm>
            <a:off x="4858649" y="3250107"/>
            <a:ext cx="1610100" cy="105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600"/>
              <a:buNone/>
              <a:defRPr sz="1600"/>
            </a:lvl1pPr>
            <a:lvl2pPr lvl="1" rtl="0">
              <a:lnSpc>
                <a:spcPct val="100000"/>
              </a:lnSpc>
              <a:spcBef>
                <a:spcPts val="0"/>
              </a:spcBef>
              <a:spcAft>
                <a:spcPts val="0"/>
              </a:spcAft>
              <a:buSzPts val="1600"/>
              <a:buNone/>
              <a:defRPr sz="1600"/>
            </a:lvl2pPr>
            <a:lvl3pPr lvl="2" rtl="0">
              <a:lnSpc>
                <a:spcPct val="100000"/>
              </a:lnSpc>
              <a:spcBef>
                <a:spcPts val="0"/>
              </a:spcBef>
              <a:spcAft>
                <a:spcPts val="0"/>
              </a:spcAft>
              <a:buSzPts val="1600"/>
              <a:buNone/>
              <a:defRPr sz="1600"/>
            </a:lvl3pPr>
            <a:lvl4pPr lvl="3" rtl="0">
              <a:lnSpc>
                <a:spcPct val="100000"/>
              </a:lnSpc>
              <a:spcBef>
                <a:spcPts val="0"/>
              </a:spcBef>
              <a:spcAft>
                <a:spcPts val="0"/>
              </a:spcAft>
              <a:buSzPts val="1600"/>
              <a:buNone/>
              <a:defRPr sz="1600"/>
            </a:lvl4pPr>
            <a:lvl5pPr lvl="4" rtl="0">
              <a:lnSpc>
                <a:spcPct val="100000"/>
              </a:lnSpc>
              <a:spcBef>
                <a:spcPts val="0"/>
              </a:spcBef>
              <a:spcAft>
                <a:spcPts val="0"/>
              </a:spcAft>
              <a:buSzPts val="1600"/>
              <a:buNone/>
              <a:defRPr sz="1600"/>
            </a:lvl5pPr>
            <a:lvl6pPr lvl="5" rtl="0">
              <a:lnSpc>
                <a:spcPct val="100000"/>
              </a:lnSpc>
              <a:spcBef>
                <a:spcPts val="0"/>
              </a:spcBef>
              <a:spcAft>
                <a:spcPts val="0"/>
              </a:spcAft>
              <a:buSzPts val="1600"/>
              <a:buNone/>
              <a:defRPr sz="1600"/>
            </a:lvl6pPr>
            <a:lvl7pPr lvl="6" rtl="0">
              <a:lnSpc>
                <a:spcPct val="100000"/>
              </a:lnSpc>
              <a:spcBef>
                <a:spcPts val="0"/>
              </a:spcBef>
              <a:spcAft>
                <a:spcPts val="0"/>
              </a:spcAft>
              <a:buSzPts val="1600"/>
              <a:buNone/>
              <a:defRPr sz="1600"/>
            </a:lvl7pPr>
            <a:lvl8pPr lvl="7" rtl="0">
              <a:lnSpc>
                <a:spcPct val="100000"/>
              </a:lnSpc>
              <a:spcBef>
                <a:spcPts val="0"/>
              </a:spcBef>
              <a:spcAft>
                <a:spcPts val="0"/>
              </a:spcAft>
              <a:buSzPts val="1600"/>
              <a:buNone/>
              <a:defRPr sz="1600"/>
            </a:lvl8pPr>
            <a:lvl9pPr lvl="8" rtl="0">
              <a:lnSpc>
                <a:spcPct val="100000"/>
              </a:lnSpc>
              <a:spcBef>
                <a:spcPts val="0"/>
              </a:spcBef>
              <a:spcAft>
                <a:spcPts val="0"/>
              </a:spcAft>
              <a:buSzPts val="1600"/>
              <a:buNone/>
              <a:defRPr sz="1600"/>
            </a:lvl9pPr>
          </a:lstStyle>
          <a:p>
            <a:endParaRPr/>
          </a:p>
        </p:txBody>
      </p:sp>
      <p:sp>
        <p:nvSpPr>
          <p:cNvPr id="57" name="Google Shape;57;p13"/>
          <p:cNvSpPr txBox="1">
            <a:spLocks noGrp="1"/>
          </p:cNvSpPr>
          <p:nvPr>
            <p:ph type="title" idx="6" hasCustomPrompt="1"/>
          </p:nvPr>
        </p:nvSpPr>
        <p:spPr>
          <a:xfrm>
            <a:off x="6813989" y="2625825"/>
            <a:ext cx="1510800" cy="709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FFFFFF"/>
              </a:buClr>
              <a:buSzPts val="4000"/>
              <a:buFont typeface="Montserrat Light"/>
              <a:buNone/>
              <a:defRPr sz="4000">
                <a:solidFill>
                  <a:srgbClr val="FFFFFF"/>
                </a:solidFill>
                <a:latin typeface="Montserrat Light"/>
                <a:ea typeface="Montserrat Light"/>
                <a:cs typeface="Montserrat Light"/>
                <a:sym typeface="Montserrat Light"/>
              </a:defRPr>
            </a:lvl1pPr>
            <a:lvl2pPr lvl="1" rtl="0">
              <a:spcBef>
                <a:spcPts val="0"/>
              </a:spcBef>
              <a:spcAft>
                <a:spcPts val="0"/>
              </a:spcAft>
              <a:buClr>
                <a:srgbClr val="FFFFFF"/>
              </a:buClr>
              <a:buSzPts val="4000"/>
              <a:buNone/>
              <a:defRPr sz="4000">
                <a:solidFill>
                  <a:srgbClr val="FFFFFF"/>
                </a:solidFill>
              </a:defRPr>
            </a:lvl2pPr>
            <a:lvl3pPr lvl="2" rtl="0">
              <a:spcBef>
                <a:spcPts val="0"/>
              </a:spcBef>
              <a:spcAft>
                <a:spcPts val="0"/>
              </a:spcAft>
              <a:buClr>
                <a:srgbClr val="FFFFFF"/>
              </a:buClr>
              <a:buSzPts val="4000"/>
              <a:buNone/>
              <a:defRPr sz="4000">
                <a:solidFill>
                  <a:srgbClr val="FFFFFF"/>
                </a:solidFill>
              </a:defRPr>
            </a:lvl3pPr>
            <a:lvl4pPr lvl="3" rtl="0">
              <a:spcBef>
                <a:spcPts val="0"/>
              </a:spcBef>
              <a:spcAft>
                <a:spcPts val="0"/>
              </a:spcAft>
              <a:buClr>
                <a:srgbClr val="FFFFFF"/>
              </a:buClr>
              <a:buSzPts val="4000"/>
              <a:buNone/>
              <a:defRPr sz="4000">
                <a:solidFill>
                  <a:srgbClr val="FFFFFF"/>
                </a:solidFill>
              </a:defRPr>
            </a:lvl4pPr>
            <a:lvl5pPr lvl="4" rtl="0">
              <a:spcBef>
                <a:spcPts val="0"/>
              </a:spcBef>
              <a:spcAft>
                <a:spcPts val="0"/>
              </a:spcAft>
              <a:buClr>
                <a:srgbClr val="FFFFFF"/>
              </a:buClr>
              <a:buSzPts val="4000"/>
              <a:buNone/>
              <a:defRPr sz="4000">
                <a:solidFill>
                  <a:srgbClr val="FFFFFF"/>
                </a:solidFill>
              </a:defRPr>
            </a:lvl5pPr>
            <a:lvl6pPr lvl="5" rtl="0">
              <a:spcBef>
                <a:spcPts val="0"/>
              </a:spcBef>
              <a:spcAft>
                <a:spcPts val="0"/>
              </a:spcAft>
              <a:buClr>
                <a:srgbClr val="FFFFFF"/>
              </a:buClr>
              <a:buSzPts val="4000"/>
              <a:buNone/>
              <a:defRPr sz="4000">
                <a:solidFill>
                  <a:srgbClr val="FFFFFF"/>
                </a:solidFill>
              </a:defRPr>
            </a:lvl6pPr>
            <a:lvl7pPr lvl="6" rtl="0">
              <a:spcBef>
                <a:spcPts val="0"/>
              </a:spcBef>
              <a:spcAft>
                <a:spcPts val="0"/>
              </a:spcAft>
              <a:buClr>
                <a:srgbClr val="FFFFFF"/>
              </a:buClr>
              <a:buSzPts val="4000"/>
              <a:buNone/>
              <a:defRPr sz="4000">
                <a:solidFill>
                  <a:srgbClr val="FFFFFF"/>
                </a:solidFill>
              </a:defRPr>
            </a:lvl7pPr>
            <a:lvl8pPr lvl="7" rtl="0">
              <a:spcBef>
                <a:spcPts val="0"/>
              </a:spcBef>
              <a:spcAft>
                <a:spcPts val="0"/>
              </a:spcAft>
              <a:buClr>
                <a:srgbClr val="FFFFFF"/>
              </a:buClr>
              <a:buSzPts val="4000"/>
              <a:buNone/>
              <a:defRPr sz="4000">
                <a:solidFill>
                  <a:srgbClr val="FFFFFF"/>
                </a:solidFill>
              </a:defRPr>
            </a:lvl8pPr>
            <a:lvl9pPr lvl="8" rtl="0">
              <a:spcBef>
                <a:spcPts val="0"/>
              </a:spcBef>
              <a:spcAft>
                <a:spcPts val="0"/>
              </a:spcAft>
              <a:buClr>
                <a:srgbClr val="FFFFFF"/>
              </a:buClr>
              <a:buSzPts val="4000"/>
              <a:buNone/>
              <a:defRPr sz="4000">
                <a:solidFill>
                  <a:srgbClr val="FFFFFF"/>
                </a:solidFill>
              </a:defRPr>
            </a:lvl9pPr>
          </a:lstStyle>
          <a:p>
            <a:r>
              <a:t>xx%</a:t>
            </a:r>
          </a:p>
        </p:txBody>
      </p:sp>
      <p:sp>
        <p:nvSpPr>
          <p:cNvPr id="58" name="Google Shape;58;p13"/>
          <p:cNvSpPr txBox="1">
            <a:spLocks noGrp="1"/>
          </p:cNvSpPr>
          <p:nvPr>
            <p:ph type="subTitle" idx="7"/>
          </p:nvPr>
        </p:nvSpPr>
        <p:spPr>
          <a:xfrm>
            <a:off x="6813999" y="3250107"/>
            <a:ext cx="1610100" cy="105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600"/>
              <a:buNone/>
              <a:defRPr sz="1600"/>
            </a:lvl1pPr>
            <a:lvl2pPr lvl="1" rtl="0">
              <a:lnSpc>
                <a:spcPct val="100000"/>
              </a:lnSpc>
              <a:spcBef>
                <a:spcPts val="0"/>
              </a:spcBef>
              <a:spcAft>
                <a:spcPts val="0"/>
              </a:spcAft>
              <a:buSzPts val="1600"/>
              <a:buNone/>
              <a:defRPr sz="1600"/>
            </a:lvl2pPr>
            <a:lvl3pPr lvl="2" rtl="0">
              <a:lnSpc>
                <a:spcPct val="100000"/>
              </a:lnSpc>
              <a:spcBef>
                <a:spcPts val="0"/>
              </a:spcBef>
              <a:spcAft>
                <a:spcPts val="0"/>
              </a:spcAft>
              <a:buSzPts val="1600"/>
              <a:buNone/>
              <a:defRPr sz="1600"/>
            </a:lvl3pPr>
            <a:lvl4pPr lvl="3" rtl="0">
              <a:lnSpc>
                <a:spcPct val="100000"/>
              </a:lnSpc>
              <a:spcBef>
                <a:spcPts val="0"/>
              </a:spcBef>
              <a:spcAft>
                <a:spcPts val="0"/>
              </a:spcAft>
              <a:buSzPts val="1600"/>
              <a:buNone/>
              <a:defRPr sz="1600"/>
            </a:lvl4pPr>
            <a:lvl5pPr lvl="4" rtl="0">
              <a:lnSpc>
                <a:spcPct val="100000"/>
              </a:lnSpc>
              <a:spcBef>
                <a:spcPts val="0"/>
              </a:spcBef>
              <a:spcAft>
                <a:spcPts val="0"/>
              </a:spcAft>
              <a:buSzPts val="1600"/>
              <a:buNone/>
              <a:defRPr sz="1600"/>
            </a:lvl5pPr>
            <a:lvl6pPr lvl="5" rtl="0">
              <a:lnSpc>
                <a:spcPct val="100000"/>
              </a:lnSpc>
              <a:spcBef>
                <a:spcPts val="0"/>
              </a:spcBef>
              <a:spcAft>
                <a:spcPts val="0"/>
              </a:spcAft>
              <a:buSzPts val="1600"/>
              <a:buNone/>
              <a:defRPr sz="1600"/>
            </a:lvl6pPr>
            <a:lvl7pPr lvl="6" rtl="0">
              <a:lnSpc>
                <a:spcPct val="100000"/>
              </a:lnSpc>
              <a:spcBef>
                <a:spcPts val="0"/>
              </a:spcBef>
              <a:spcAft>
                <a:spcPts val="0"/>
              </a:spcAft>
              <a:buSzPts val="1600"/>
              <a:buNone/>
              <a:defRPr sz="1600"/>
            </a:lvl7pPr>
            <a:lvl8pPr lvl="7" rtl="0">
              <a:lnSpc>
                <a:spcPct val="100000"/>
              </a:lnSpc>
              <a:spcBef>
                <a:spcPts val="0"/>
              </a:spcBef>
              <a:spcAft>
                <a:spcPts val="0"/>
              </a:spcAft>
              <a:buSzPts val="1600"/>
              <a:buNone/>
              <a:defRPr sz="1600"/>
            </a:lvl8pPr>
            <a:lvl9pPr lvl="8" rtl="0">
              <a:lnSpc>
                <a:spcPct val="100000"/>
              </a:lnSpc>
              <a:spcBef>
                <a:spcPts val="0"/>
              </a:spcBef>
              <a:spcAft>
                <a:spcPts val="0"/>
              </a:spcAft>
              <a:buSzPts val="1600"/>
              <a:buNone/>
              <a:defRPr sz="1600"/>
            </a:lvl9pPr>
          </a:lstStyle>
          <a:p>
            <a:endParaRPr/>
          </a:p>
        </p:txBody>
      </p:sp>
      <p:sp>
        <p:nvSpPr>
          <p:cNvPr id="59" name="Google Shape;59;p13"/>
          <p:cNvSpPr/>
          <p:nvPr/>
        </p:nvSpPr>
        <p:spPr>
          <a:xfrm>
            <a:off x="6594483" y="542917"/>
            <a:ext cx="1828800" cy="262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0;p13"/>
          <p:cNvSpPr txBox="1">
            <a:spLocks noGrp="1"/>
          </p:cNvSpPr>
          <p:nvPr>
            <p:ph type="title" idx="8"/>
          </p:nvPr>
        </p:nvSpPr>
        <p:spPr>
          <a:xfrm>
            <a:off x="626684" y="404716"/>
            <a:ext cx="7927800" cy="5304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24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352165517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itle and four columns" userDrawn="1">
  <p:cSld name="Title and four columns">
    <p:spTree>
      <p:nvGrpSpPr>
        <p:cNvPr id="1" name="Shape 61"/>
        <p:cNvGrpSpPr/>
        <p:nvPr/>
      </p:nvGrpSpPr>
      <p:grpSpPr>
        <a:xfrm>
          <a:off x="0" y="0"/>
          <a:ext cx="0" cy="0"/>
          <a:chOff x="0" y="0"/>
          <a:chExt cx="0" cy="0"/>
        </a:xfrm>
      </p:grpSpPr>
      <p:sp>
        <p:nvSpPr>
          <p:cNvPr id="62" name="Google Shape;62;p14"/>
          <p:cNvSpPr txBox="1">
            <a:spLocks noGrp="1"/>
          </p:cNvSpPr>
          <p:nvPr>
            <p:ph type="title" hasCustomPrompt="1"/>
          </p:nvPr>
        </p:nvSpPr>
        <p:spPr>
          <a:xfrm>
            <a:off x="1244192" y="1589650"/>
            <a:ext cx="1510800" cy="3099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spcBef>
                <a:spcPts val="0"/>
              </a:spcBef>
              <a:spcAft>
                <a:spcPts val="0"/>
              </a:spcAft>
              <a:buClr>
                <a:schemeClr val="accent5"/>
              </a:buClr>
              <a:buSzPts val="4000"/>
              <a:buNone/>
              <a:defRPr sz="4000">
                <a:solidFill>
                  <a:schemeClr val="accent5"/>
                </a:solidFill>
              </a:defRPr>
            </a:lvl2pPr>
            <a:lvl3pPr lvl="2" rtl="0">
              <a:spcBef>
                <a:spcPts val="0"/>
              </a:spcBef>
              <a:spcAft>
                <a:spcPts val="0"/>
              </a:spcAft>
              <a:buClr>
                <a:schemeClr val="accent5"/>
              </a:buClr>
              <a:buSzPts val="4000"/>
              <a:buNone/>
              <a:defRPr sz="4000">
                <a:solidFill>
                  <a:schemeClr val="accent5"/>
                </a:solidFill>
              </a:defRPr>
            </a:lvl3pPr>
            <a:lvl4pPr lvl="3" rtl="0">
              <a:spcBef>
                <a:spcPts val="0"/>
              </a:spcBef>
              <a:spcAft>
                <a:spcPts val="0"/>
              </a:spcAft>
              <a:buClr>
                <a:schemeClr val="accent5"/>
              </a:buClr>
              <a:buSzPts val="4000"/>
              <a:buNone/>
              <a:defRPr sz="4000">
                <a:solidFill>
                  <a:schemeClr val="accent5"/>
                </a:solidFill>
              </a:defRPr>
            </a:lvl4pPr>
            <a:lvl5pPr lvl="4" rtl="0">
              <a:spcBef>
                <a:spcPts val="0"/>
              </a:spcBef>
              <a:spcAft>
                <a:spcPts val="0"/>
              </a:spcAft>
              <a:buClr>
                <a:schemeClr val="accent5"/>
              </a:buClr>
              <a:buSzPts val="4000"/>
              <a:buNone/>
              <a:defRPr sz="4000">
                <a:solidFill>
                  <a:schemeClr val="accent5"/>
                </a:solidFill>
              </a:defRPr>
            </a:lvl5pPr>
            <a:lvl6pPr lvl="5" rtl="0">
              <a:spcBef>
                <a:spcPts val="0"/>
              </a:spcBef>
              <a:spcAft>
                <a:spcPts val="0"/>
              </a:spcAft>
              <a:buClr>
                <a:schemeClr val="accent5"/>
              </a:buClr>
              <a:buSzPts val="4000"/>
              <a:buNone/>
              <a:defRPr sz="4000">
                <a:solidFill>
                  <a:schemeClr val="accent5"/>
                </a:solidFill>
              </a:defRPr>
            </a:lvl6pPr>
            <a:lvl7pPr lvl="6" rtl="0">
              <a:spcBef>
                <a:spcPts val="0"/>
              </a:spcBef>
              <a:spcAft>
                <a:spcPts val="0"/>
              </a:spcAft>
              <a:buClr>
                <a:schemeClr val="accent5"/>
              </a:buClr>
              <a:buSzPts val="4000"/>
              <a:buNone/>
              <a:defRPr sz="4000">
                <a:solidFill>
                  <a:schemeClr val="accent5"/>
                </a:solidFill>
              </a:defRPr>
            </a:lvl7pPr>
            <a:lvl8pPr lvl="7" rtl="0">
              <a:spcBef>
                <a:spcPts val="0"/>
              </a:spcBef>
              <a:spcAft>
                <a:spcPts val="0"/>
              </a:spcAft>
              <a:buClr>
                <a:schemeClr val="accent5"/>
              </a:buClr>
              <a:buSzPts val="4000"/>
              <a:buNone/>
              <a:defRPr sz="4000">
                <a:solidFill>
                  <a:schemeClr val="accent5"/>
                </a:solidFill>
              </a:defRPr>
            </a:lvl8pPr>
            <a:lvl9pPr lvl="8" rtl="0">
              <a:spcBef>
                <a:spcPts val="0"/>
              </a:spcBef>
              <a:spcAft>
                <a:spcPts val="0"/>
              </a:spcAft>
              <a:buClr>
                <a:schemeClr val="accent5"/>
              </a:buClr>
              <a:buSzPts val="4000"/>
              <a:buNone/>
              <a:defRPr sz="4000">
                <a:solidFill>
                  <a:schemeClr val="accent5"/>
                </a:solidFill>
              </a:defRPr>
            </a:lvl9pPr>
          </a:lstStyle>
          <a:p>
            <a:r>
              <a:t>xx%</a:t>
            </a:r>
          </a:p>
        </p:txBody>
      </p:sp>
      <p:sp>
        <p:nvSpPr>
          <p:cNvPr id="63" name="Google Shape;63;p14"/>
          <p:cNvSpPr txBox="1">
            <a:spLocks noGrp="1"/>
          </p:cNvSpPr>
          <p:nvPr>
            <p:ph type="subTitle" idx="1"/>
          </p:nvPr>
        </p:nvSpPr>
        <p:spPr>
          <a:xfrm>
            <a:off x="1244192" y="1814800"/>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4" name="Google Shape;64;p14"/>
          <p:cNvSpPr txBox="1">
            <a:spLocks noGrp="1"/>
          </p:cNvSpPr>
          <p:nvPr>
            <p:ph type="title" idx="2" hasCustomPrompt="1"/>
          </p:nvPr>
        </p:nvSpPr>
        <p:spPr>
          <a:xfrm>
            <a:off x="3723842" y="1589650"/>
            <a:ext cx="1510800" cy="3099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spcBef>
                <a:spcPts val="0"/>
              </a:spcBef>
              <a:spcAft>
                <a:spcPts val="0"/>
              </a:spcAft>
              <a:buClr>
                <a:schemeClr val="accent5"/>
              </a:buClr>
              <a:buSzPts val="4000"/>
              <a:buNone/>
              <a:defRPr sz="4000">
                <a:solidFill>
                  <a:schemeClr val="accent5"/>
                </a:solidFill>
              </a:defRPr>
            </a:lvl2pPr>
            <a:lvl3pPr lvl="2" rtl="0">
              <a:spcBef>
                <a:spcPts val="0"/>
              </a:spcBef>
              <a:spcAft>
                <a:spcPts val="0"/>
              </a:spcAft>
              <a:buClr>
                <a:schemeClr val="accent5"/>
              </a:buClr>
              <a:buSzPts val="4000"/>
              <a:buNone/>
              <a:defRPr sz="4000">
                <a:solidFill>
                  <a:schemeClr val="accent5"/>
                </a:solidFill>
              </a:defRPr>
            </a:lvl3pPr>
            <a:lvl4pPr lvl="3" rtl="0">
              <a:spcBef>
                <a:spcPts val="0"/>
              </a:spcBef>
              <a:spcAft>
                <a:spcPts val="0"/>
              </a:spcAft>
              <a:buClr>
                <a:schemeClr val="accent5"/>
              </a:buClr>
              <a:buSzPts val="4000"/>
              <a:buNone/>
              <a:defRPr sz="4000">
                <a:solidFill>
                  <a:schemeClr val="accent5"/>
                </a:solidFill>
              </a:defRPr>
            </a:lvl4pPr>
            <a:lvl5pPr lvl="4" rtl="0">
              <a:spcBef>
                <a:spcPts val="0"/>
              </a:spcBef>
              <a:spcAft>
                <a:spcPts val="0"/>
              </a:spcAft>
              <a:buClr>
                <a:schemeClr val="accent5"/>
              </a:buClr>
              <a:buSzPts val="4000"/>
              <a:buNone/>
              <a:defRPr sz="4000">
                <a:solidFill>
                  <a:schemeClr val="accent5"/>
                </a:solidFill>
              </a:defRPr>
            </a:lvl5pPr>
            <a:lvl6pPr lvl="5" rtl="0">
              <a:spcBef>
                <a:spcPts val="0"/>
              </a:spcBef>
              <a:spcAft>
                <a:spcPts val="0"/>
              </a:spcAft>
              <a:buClr>
                <a:schemeClr val="accent5"/>
              </a:buClr>
              <a:buSzPts val="4000"/>
              <a:buNone/>
              <a:defRPr sz="4000">
                <a:solidFill>
                  <a:schemeClr val="accent5"/>
                </a:solidFill>
              </a:defRPr>
            </a:lvl6pPr>
            <a:lvl7pPr lvl="6" rtl="0">
              <a:spcBef>
                <a:spcPts val="0"/>
              </a:spcBef>
              <a:spcAft>
                <a:spcPts val="0"/>
              </a:spcAft>
              <a:buClr>
                <a:schemeClr val="accent5"/>
              </a:buClr>
              <a:buSzPts val="4000"/>
              <a:buNone/>
              <a:defRPr sz="4000">
                <a:solidFill>
                  <a:schemeClr val="accent5"/>
                </a:solidFill>
              </a:defRPr>
            </a:lvl7pPr>
            <a:lvl8pPr lvl="7" rtl="0">
              <a:spcBef>
                <a:spcPts val="0"/>
              </a:spcBef>
              <a:spcAft>
                <a:spcPts val="0"/>
              </a:spcAft>
              <a:buClr>
                <a:schemeClr val="accent5"/>
              </a:buClr>
              <a:buSzPts val="4000"/>
              <a:buNone/>
              <a:defRPr sz="4000">
                <a:solidFill>
                  <a:schemeClr val="accent5"/>
                </a:solidFill>
              </a:defRPr>
            </a:lvl8pPr>
            <a:lvl9pPr lvl="8" rtl="0">
              <a:spcBef>
                <a:spcPts val="0"/>
              </a:spcBef>
              <a:spcAft>
                <a:spcPts val="0"/>
              </a:spcAft>
              <a:buClr>
                <a:schemeClr val="accent5"/>
              </a:buClr>
              <a:buSzPts val="4000"/>
              <a:buNone/>
              <a:defRPr sz="4000">
                <a:solidFill>
                  <a:schemeClr val="accent5"/>
                </a:solidFill>
              </a:defRPr>
            </a:lvl9pPr>
          </a:lstStyle>
          <a:p>
            <a:r>
              <a:t>xx%</a:t>
            </a:r>
          </a:p>
        </p:txBody>
      </p:sp>
      <p:sp>
        <p:nvSpPr>
          <p:cNvPr id="65" name="Google Shape;65;p14"/>
          <p:cNvSpPr txBox="1">
            <a:spLocks noGrp="1"/>
          </p:cNvSpPr>
          <p:nvPr>
            <p:ph type="subTitle" idx="3"/>
          </p:nvPr>
        </p:nvSpPr>
        <p:spPr>
          <a:xfrm>
            <a:off x="3723842" y="1814800"/>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6" name="Google Shape;66;p14"/>
          <p:cNvSpPr txBox="1">
            <a:spLocks noGrp="1"/>
          </p:cNvSpPr>
          <p:nvPr>
            <p:ph type="title" idx="4" hasCustomPrompt="1"/>
          </p:nvPr>
        </p:nvSpPr>
        <p:spPr>
          <a:xfrm>
            <a:off x="1244192" y="3721326"/>
            <a:ext cx="1510800" cy="3099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spcBef>
                <a:spcPts val="0"/>
              </a:spcBef>
              <a:spcAft>
                <a:spcPts val="0"/>
              </a:spcAft>
              <a:buClr>
                <a:schemeClr val="accent5"/>
              </a:buClr>
              <a:buSzPts val="4000"/>
              <a:buNone/>
              <a:defRPr sz="4000">
                <a:solidFill>
                  <a:schemeClr val="accent5"/>
                </a:solidFill>
              </a:defRPr>
            </a:lvl2pPr>
            <a:lvl3pPr lvl="2" rtl="0">
              <a:spcBef>
                <a:spcPts val="0"/>
              </a:spcBef>
              <a:spcAft>
                <a:spcPts val="0"/>
              </a:spcAft>
              <a:buClr>
                <a:schemeClr val="accent5"/>
              </a:buClr>
              <a:buSzPts val="4000"/>
              <a:buNone/>
              <a:defRPr sz="4000">
                <a:solidFill>
                  <a:schemeClr val="accent5"/>
                </a:solidFill>
              </a:defRPr>
            </a:lvl3pPr>
            <a:lvl4pPr lvl="3" rtl="0">
              <a:spcBef>
                <a:spcPts val="0"/>
              </a:spcBef>
              <a:spcAft>
                <a:spcPts val="0"/>
              </a:spcAft>
              <a:buClr>
                <a:schemeClr val="accent5"/>
              </a:buClr>
              <a:buSzPts val="4000"/>
              <a:buNone/>
              <a:defRPr sz="4000">
                <a:solidFill>
                  <a:schemeClr val="accent5"/>
                </a:solidFill>
              </a:defRPr>
            </a:lvl4pPr>
            <a:lvl5pPr lvl="4" rtl="0">
              <a:spcBef>
                <a:spcPts val="0"/>
              </a:spcBef>
              <a:spcAft>
                <a:spcPts val="0"/>
              </a:spcAft>
              <a:buClr>
                <a:schemeClr val="accent5"/>
              </a:buClr>
              <a:buSzPts val="4000"/>
              <a:buNone/>
              <a:defRPr sz="4000">
                <a:solidFill>
                  <a:schemeClr val="accent5"/>
                </a:solidFill>
              </a:defRPr>
            </a:lvl5pPr>
            <a:lvl6pPr lvl="5" rtl="0">
              <a:spcBef>
                <a:spcPts val="0"/>
              </a:spcBef>
              <a:spcAft>
                <a:spcPts val="0"/>
              </a:spcAft>
              <a:buClr>
                <a:schemeClr val="accent5"/>
              </a:buClr>
              <a:buSzPts val="4000"/>
              <a:buNone/>
              <a:defRPr sz="4000">
                <a:solidFill>
                  <a:schemeClr val="accent5"/>
                </a:solidFill>
              </a:defRPr>
            </a:lvl6pPr>
            <a:lvl7pPr lvl="6" rtl="0">
              <a:spcBef>
                <a:spcPts val="0"/>
              </a:spcBef>
              <a:spcAft>
                <a:spcPts val="0"/>
              </a:spcAft>
              <a:buClr>
                <a:schemeClr val="accent5"/>
              </a:buClr>
              <a:buSzPts val="4000"/>
              <a:buNone/>
              <a:defRPr sz="4000">
                <a:solidFill>
                  <a:schemeClr val="accent5"/>
                </a:solidFill>
              </a:defRPr>
            </a:lvl7pPr>
            <a:lvl8pPr lvl="7" rtl="0">
              <a:spcBef>
                <a:spcPts val="0"/>
              </a:spcBef>
              <a:spcAft>
                <a:spcPts val="0"/>
              </a:spcAft>
              <a:buClr>
                <a:schemeClr val="accent5"/>
              </a:buClr>
              <a:buSzPts val="4000"/>
              <a:buNone/>
              <a:defRPr sz="4000">
                <a:solidFill>
                  <a:schemeClr val="accent5"/>
                </a:solidFill>
              </a:defRPr>
            </a:lvl8pPr>
            <a:lvl9pPr lvl="8" rtl="0">
              <a:spcBef>
                <a:spcPts val="0"/>
              </a:spcBef>
              <a:spcAft>
                <a:spcPts val="0"/>
              </a:spcAft>
              <a:buClr>
                <a:schemeClr val="accent5"/>
              </a:buClr>
              <a:buSzPts val="4000"/>
              <a:buNone/>
              <a:defRPr sz="4000">
                <a:solidFill>
                  <a:schemeClr val="accent5"/>
                </a:solidFill>
              </a:defRPr>
            </a:lvl9pPr>
          </a:lstStyle>
          <a:p>
            <a:r>
              <a:t>xx%</a:t>
            </a:r>
          </a:p>
        </p:txBody>
      </p:sp>
      <p:sp>
        <p:nvSpPr>
          <p:cNvPr id="67" name="Google Shape;67;p14"/>
          <p:cNvSpPr txBox="1">
            <a:spLocks noGrp="1"/>
          </p:cNvSpPr>
          <p:nvPr>
            <p:ph type="subTitle" idx="5"/>
          </p:nvPr>
        </p:nvSpPr>
        <p:spPr>
          <a:xfrm>
            <a:off x="1244192" y="3946476"/>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8" name="Google Shape;68;p14"/>
          <p:cNvSpPr txBox="1">
            <a:spLocks noGrp="1"/>
          </p:cNvSpPr>
          <p:nvPr>
            <p:ph type="title" idx="6" hasCustomPrompt="1"/>
          </p:nvPr>
        </p:nvSpPr>
        <p:spPr>
          <a:xfrm>
            <a:off x="3723842" y="3721326"/>
            <a:ext cx="1510800" cy="3099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spcBef>
                <a:spcPts val="0"/>
              </a:spcBef>
              <a:spcAft>
                <a:spcPts val="0"/>
              </a:spcAft>
              <a:buClr>
                <a:schemeClr val="accent5"/>
              </a:buClr>
              <a:buSzPts val="4000"/>
              <a:buNone/>
              <a:defRPr sz="4000">
                <a:solidFill>
                  <a:schemeClr val="accent5"/>
                </a:solidFill>
              </a:defRPr>
            </a:lvl2pPr>
            <a:lvl3pPr lvl="2" rtl="0">
              <a:spcBef>
                <a:spcPts val="0"/>
              </a:spcBef>
              <a:spcAft>
                <a:spcPts val="0"/>
              </a:spcAft>
              <a:buClr>
                <a:schemeClr val="accent5"/>
              </a:buClr>
              <a:buSzPts val="4000"/>
              <a:buNone/>
              <a:defRPr sz="4000">
                <a:solidFill>
                  <a:schemeClr val="accent5"/>
                </a:solidFill>
              </a:defRPr>
            </a:lvl3pPr>
            <a:lvl4pPr lvl="3" rtl="0">
              <a:spcBef>
                <a:spcPts val="0"/>
              </a:spcBef>
              <a:spcAft>
                <a:spcPts val="0"/>
              </a:spcAft>
              <a:buClr>
                <a:schemeClr val="accent5"/>
              </a:buClr>
              <a:buSzPts val="4000"/>
              <a:buNone/>
              <a:defRPr sz="4000">
                <a:solidFill>
                  <a:schemeClr val="accent5"/>
                </a:solidFill>
              </a:defRPr>
            </a:lvl4pPr>
            <a:lvl5pPr lvl="4" rtl="0">
              <a:spcBef>
                <a:spcPts val="0"/>
              </a:spcBef>
              <a:spcAft>
                <a:spcPts val="0"/>
              </a:spcAft>
              <a:buClr>
                <a:schemeClr val="accent5"/>
              </a:buClr>
              <a:buSzPts val="4000"/>
              <a:buNone/>
              <a:defRPr sz="4000">
                <a:solidFill>
                  <a:schemeClr val="accent5"/>
                </a:solidFill>
              </a:defRPr>
            </a:lvl5pPr>
            <a:lvl6pPr lvl="5" rtl="0">
              <a:spcBef>
                <a:spcPts val="0"/>
              </a:spcBef>
              <a:spcAft>
                <a:spcPts val="0"/>
              </a:spcAft>
              <a:buClr>
                <a:schemeClr val="accent5"/>
              </a:buClr>
              <a:buSzPts val="4000"/>
              <a:buNone/>
              <a:defRPr sz="4000">
                <a:solidFill>
                  <a:schemeClr val="accent5"/>
                </a:solidFill>
              </a:defRPr>
            </a:lvl6pPr>
            <a:lvl7pPr lvl="6" rtl="0">
              <a:spcBef>
                <a:spcPts val="0"/>
              </a:spcBef>
              <a:spcAft>
                <a:spcPts val="0"/>
              </a:spcAft>
              <a:buClr>
                <a:schemeClr val="accent5"/>
              </a:buClr>
              <a:buSzPts val="4000"/>
              <a:buNone/>
              <a:defRPr sz="4000">
                <a:solidFill>
                  <a:schemeClr val="accent5"/>
                </a:solidFill>
              </a:defRPr>
            </a:lvl7pPr>
            <a:lvl8pPr lvl="7" rtl="0">
              <a:spcBef>
                <a:spcPts val="0"/>
              </a:spcBef>
              <a:spcAft>
                <a:spcPts val="0"/>
              </a:spcAft>
              <a:buClr>
                <a:schemeClr val="accent5"/>
              </a:buClr>
              <a:buSzPts val="4000"/>
              <a:buNone/>
              <a:defRPr sz="4000">
                <a:solidFill>
                  <a:schemeClr val="accent5"/>
                </a:solidFill>
              </a:defRPr>
            </a:lvl8pPr>
            <a:lvl9pPr lvl="8" rtl="0">
              <a:spcBef>
                <a:spcPts val="0"/>
              </a:spcBef>
              <a:spcAft>
                <a:spcPts val="0"/>
              </a:spcAft>
              <a:buClr>
                <a:schemeClr val="accent5"/>
              </a:buClr>
              <a:buSzPts val="4000"/>
              <a:buNone/>
              <a:defRPr sz="4000">
                <a:solidFill>
                  <a:schemeClr val="accent5"/>
                </a:solidFill>
              </a:defRPr>
            </a:lvl9pPr>
          </a:lstStyle>
          <a:p>
            <a:r>
              <a:t>xx%</a:t>
            </a:r>
          </a:p>
        </p:txBody>
      </p:sp>
      <p:sp>
        <p:nvSpPr>
          <p:cNvPr id="69" name="Google Shape;69;p14"/>
          <p:cNvSpPr txBox="1">
            <a:spLocks noGrp="1"/>
          </p:cNvSpPr>
          <p:nvPr>
            <p:ph type="subTitle" idx="7"/>
          </p:nvPr>
        </p:nvSpPr>
        <p:spPr>
          <a:xfrm>
            <a:off x="3723842" y="3946476"/>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706594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 and five columns">
  <p:cSld name="Title and five columns">
    <p:spTree>
      <p:nvGrpSpPr>
        <p:cNvPr id="1" name="Shape 72"/>
        <p:cNvGrpSpPr/>
        <p:nvPr/>
      </p:nvGrpSpPr>
      <p:grpSpPr>
        <a:xfrm>
          <a:off x="0" y="0"/>
          <a:ext cx="0" cy="0"/>
          <a:chOff x="0" y="0"/>
          <a:chExt cx="0" cy="0"/>
        </a:xfrm>
      </p:grpSpPr>
      <p:sp>
        <p:nvSpPr>
          <p:cNvPr id="73" name="Google Shape;73;p15"/>
          <p:cNvSpPr txBox="1">
            <a:spLocks noGrp="1"/>
          </p:cNvSpPr>
          <p:nvPr>
            <p:ph type="subTitle" idx="1"/>
          </p:nvPr>
        </p:nvSpPr>
        <p:spPr>
          <a:xfrm>
            <a:off x="2110450" y="3883822"/>
            <a:ext cx="2197500" cy="606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74" name="Google Shape;74;p15"/>
          <p:cNvSpPr txBox="1">
            <a:spLocks noGrp="1"/>
          </p:cNvSpPr>
          <p:nvPr>
            <p:ph type="subTitle" idx="2"/>
          </p:nvPr>
        </p:nvSpPr>
        <p:spPr>
          <a:xfrm>
            <a:off x="719625" y="1916775"/>
            <a:ext cx="2197500" cy="486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algn="ctr" rtl="0">
              <a:lnSpc>
                <a:spcPct val="100000"/>
              </a:lnSpc>
              <a:spcBef>
                <a:spcPts val="0"/>
              </a:spcBef>
              <a:spcAft>
                <a:spcPts val="0"/>
              </a:spcAft>
              <a:buSzPts val="1400"/>
              <a:buFont typeface="Montserrat"/>
              <a:buNone/>
              <a:defRPr b="1">
                <a:latin typeface="Montserrat"/>
                <a:ea typeface="Montserrat"/>
                <a:cs typeface="Montserrat"/>
                <a:sym typeface="Montserrat"/>
              </a:defRPr>
            </a:lvl2pPr>
            <a:lvl3pPr lvl="2" algn="ctr" rtl="0">
              <a:lnSpc>
                <a:spcPct val="100000"/>
              </a:lnSpc>
              <a:spcBef>
                <a:spcPts val="0"/>
              </a:spcBef>
              <a:spcAft>
                <a:spcPts val="0"/>
              </a:spcAft>
              <a:buSzPts val="1400"/>
              <a:buFont typeface="Montserrat"/>
              <a:buNone/>
              <a:defRPr b="1">
                <a:latin typeface="Montserrat"/>
                <a:ea typeface="Montserrat"/>
                <a:cs typeface="Montserrat"/>
                <a:sym typeface="Montserrat"/>
              </a:defRPr>
            </a:lvl3pPr>
            <a:lvl4pPr lvl="3" algn="ctr" rtl="0">
              <a:lnSpc>
                <a:spcPct val="100000"/>
              </a:lnSpc>
              <a:spcBef>
                <a:spcPts val="0"/>
              </a:spcBef>
              <a:spcAft>
                <a:spcPts val="0"/>
              </a:spcAft>
              <a:buSzPts val="1400"/>
              <a:buFont typeface="Montserrat"/>
              <a:buNone/>
              <a:defRPr b="1">
                <a:latin typeface="Montserrat"/>
                <a:ea typeface="Montserrat"/>
                <a:cs typeface="Montserrat"/>
                <a:sym typeface="Montserrat"/>
              </a:defRPr>
            </a:lvl4pPr>
            <a:lvl5pPr lvl="4" algn="ctr" rtl="0">
              <a:lnSpc>
                <a:spcPct val="100000"/>
              </a:lnSpc>
              <a:spcBef>
                <a:spcPts val="0"/>
              </a:spcBef>
              <a:spcAft>
                <a:spcPts val="0"/>
              </a:spcAft>
              <a:buSzPts val="1400"/>
              <a:buFont typeface="Montserrat"/>
              <a:buNone/>
              <a:defRPr b="1">
                <a:latin typeface="Montserrat"/>
                <a:ea typeface="Montserrat"/>
                <a:cs typeface="Montserrat"/>
                <a:sym typeface="Montserrat"/>
              </a:defRPr>
            </a:lvl5pPr>
            <a:lvl6pPr lvl="5" algn="ctr" rtl="0">
              <a:lnSpc>
                <a:spcPct val="100000"/>
              </a:lnSpc>
              <a:spcBef>
                <a:spcPts val="0"/>
              </a:spcBef>
              <a:spcAft>
                <a:spcPts val="0"/>
              </a:spcAft>
              <a:buSzPts val="1400"/>
              <a:buFont typeface="Montserrat"/>
              <a:buNone/>
              <a:defRPr b="1">
                <a:latin typeface="Montserrat"/>
                <a:ea typeface="Montserrat"/>
                <a:cs typeface="Montserrat"/>
                <a:sym typeface="Montserrat"/>
              </a:defRPr>
            </a:lvl6pPr>
            <a:lvl7pPr lvl="6" algn="ctr" rtl="0">
              <a:lnSpc>
                <a:spcPct val="100000"/>
              </a:lnSpc>
              <a:spcBef>
                <a:spcPts val="0"/>
              </a:spcBef>
              <a:spcAft>
                <a:spcPts val="0"/>
              </a:spcAft>
              <a:buSzPts val="1400"/>
              <a:buFont typeface="Montserrat"/>
              <a:buNone/>
              <a:defRPr b="1">
                <a:latin typeface="Montserrat"/>
                <a:ea typeface="Montserrat"/>
                <a:cs typeface="Montserrat"/>
                <a:sym typeface="Montserrat"/>
              </a:defRPr>
            </a:lvl7pPr>
            <a:lvl8pPr lvl="7" algn="ctr" rtl="0">
              <a:lnSpc>
                <a:spcPct val="100000"/>
              </a:lnSpc>
              <a:spcBef>
                <a:spcPts val="0"/>
              </a:spcBef>
              <a:spcAft>
                <a:spcPts val="0"/>
              </a:spcAft>
              <a:buSzPts val="1400"/>
              <a:buFont typeface="Montserrat"/>
              <a:buNone/>
              <a:defRPr b="1">
                <a:latin typeface="Montserrat"/>
                <a:ea typeface="Montserrat"/>
                <a:cs typeface="Montserrat"/>
                <a:sym typeface="Montserrat"/>
              </a:defRPr>
            </a:lvl8pPr>
            <a:lvl9pPr lvl="8" algn="ctr" rtl="0">
              <a:lnSpc>
                <a:spcPct val="100000"/>
              </a:lnSpc>
              <a:spcBef>
                <a:spcPts val="0"/>
              </a:spcBef>
              <a:spcAft>
                <a:spcPts val="0"/>
              </a:spcAft>
              <a:buSzPts val="1400"/>
              <a:buFont typeface="Montserrat"/>
              <a:buNone/>
              <a:defRPr b="1">
                <a:latin typeface="Montserrat"/>
                <a:ea typeface="Montserrat"/>
                <a:cs typeface="Montserrat"/>
                <a:sym typeface="Montserrat"/>
              </a:defRPr>
            </a:lvl9pPr>
          </a:lstStyle>
          <a:p>
            <a:endParaRPr/>
          </a:p>
        </p:txBody>
      </p:sp>
      <p:sp>
        <p:nvSpPr>
          <p:cNvPr id="75" name="Google Shape;75;p15"/>
          <p:cNvSpPr txBox="1">
            <a:spLocks noGrp="1"/>
          </p:cNvSpPr>
          <p:nvPr>
            <p:ph type="subTitle" idx="3"/>
          </p:nvPr>
        </p:nvSpPr>
        <p:spPr>
          <a:xfrm>
            <a:off x="3445365" y="2278797"/>
            <a:ext cx="2197500" cy="606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76" name="Google Shape;76;p15"/>
          <p:cNvSpPr txBox="1">
            <a:spLocks noGrp="1"/>
          </p:cNvSpPr>
          <p:nvPr>
            <p:ph type="subTitle" idx="4"/>
          </p:nvPr>
        </p:nvSpPr>
        <p:spPr>
          <a:xfrm>
            <a:off x="3445375" y="1916775"/>
            <a:ext cx="2197500" cy="486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algn="ctr" rtl="0">
              <a:lnSpc>
                <a:spcPct val="100000"/>
              </a:lnSpc>
              <a:spcBef>
                <a:spcPts val="0"/>
              </a:spcBef>
              <a:spcAft>
                <a:spcPts val="0"/>
              </a:spcAft>
              <a:buSzPts val="1400"/>
              <a:buFont typeface="Montserrat"/>
              <a:buNone/>
              <a:defRPr b="1">
                <a:latin typeface="Montserrat"/>
                <a:ea typeface="Montserrat"/>
                <a:cs typeface="Montserrat"/>
                <a:sym typeface="Montserrat"/>
              </a:defRPr>
            </a:lvl2pPr>
            <a:lvl3pPr lvl="2" algn="ctr" rtl="0">
              <a:lnSpc>
                <a:spcPct val="100000"/>
              </a:lnSpc>
              <a:spcBef>
                <a:spcPts val="0"/>
              </a:spcBef>
              <a:spcAft>
                <a:spcPts val="0"/>
              </a:spcAft>
              <a:buSzPts val="1400"/>
              <a:buFont typeface="Montserrat"/>
              <a:buNone/>
              <a:defRPr b="1">
                <a:latin typeface="Montserrat"/>
                <a:ea typeface="Montserrat"/>
                <a:cs typeface="Montserrat"/>
                <a:sym typeface="Montserrat"/>
              </a:defRPr>
            </a:lvl3pPr>
            <a:lvl4pPr lvl="3" algn="ctr" rtl="0">
              <a:lnSpc>
                <a:spcPct val="100000"/>
              </a:lnSpc>
              <a:spcBef>
                <a:spcPts val="0"/>
              </a:spcBef>
              <a:spcAft>
                <a:spcPts val="0"/>
              </a:spcAft>
              <a:buSzPts val="1400"/>
              <a:buFont typeface="Montserrat"/>
              <a:buNone/>
              <a:defRPr b="1">
                <a:latin typeface="Montserrat"/>
                <a:ea typeface="Montserrat"/>
                <a:cs typeface="Montserrat"/>
                <a:sym typeface="Montserrat"/>
              </a:defRPr>
            </a:lvl4pPr>
            <a:lvl5pPr lvl="4" algn="ctr" rtl="0">
              <a:lnSpc>
                <a:spcPct val="100000"/>
              </a:lnSpc>
              <a:spcBef>
                <a:spcPts val="0"/>
              </a:spcBef>
              <a:spcAft>
                <a:spcPts val="0"/>
              </a:spcAft>
              <a:buSzPts val="1400"/>
              <a:buFont typeface="Montserrat"/>
              <a:buNone/>
              <a:defRPr b="1">
                <a:latin typeface="Montserrat"/>
                <a:ea typeface="Montserrat"/>
                <a:cs typeface="Montserrat"/>
                <a:sym typeface="Montserrat"/>
              </a:defRPr>
            </a:lvl5pPr>
            <a:lvl6pPr lvl="5" algn="ctr" rtl="0">
              <a:lnSpc>
                <a:spcPct val="100000"/>
              </a:lnSpc>
              <a:spcBef>
                <a:spcPts val="0"/>
              </a:spcBef>
              <a:spcAft>
                <a:spcPts val="0"/>
              </a:spcAft>
              <a:buSzPts val="1400"/>
              <a:buFont typeface="Montserrat"/>
              <a:buNone/>
              <a:defRPr b="1">
                <a:latin typeface="Montserrat"/>
                <a:ea typeface="Montserrat"/>
                <a:cs typeface="Montserrat"/>
                <a:sym typeface="Montserrat"/>
              </a:defRPr>
            </a:lvl6pPr>
            <a:lvl7pPr lvl="6" algn="ctr" rtl="0">
              <a:lnSpc>
                <a:spcPct val="100000"/>
              </a:lnSpc>
              <a:spcBef>
                <a:spcPts val="0"/>
              </a:spcBef>
              <a:spcAft>
                <a:spcPts val="0"/>
              </a:spcAft>
              <a:buSzPts val="1400"/>
              <a:buFont typeface="Montserrat"/>
              <a:buNone/>
              <a:defRPr b="1">
                <a:latin typeface="Montserrat"/>
                <a:ea typeface="Montserrat"/>
                <a:cs typeface="Montserrat"/>
                <a:sym typeface="Montserrat"/>
              </a:defRPr>
            </a:lvl7pPr>
            <a:lvl8pPr lvl="7" algn="ctr" rtl="0">
              <a:lnSpc>
                <a:spcPct val="100000"/>
              </a:lnSpc>
              <a:spcBef>
                <a:spcPts val="0"/>
              </a:spcBef>
              <a:spcAft>
                <a:spcPts val="0"/>
              </a:spcAft>
              <a:buSzPts val="1400"/>
              <a:buFont typeface="Montserrat"/>
              <a:buNone/>
              <a:defRPr b="1">
                <a:latin typeface="Montserrat"/>
                <a:ea typeface="Montserrat"/>
                <a:cs typeface="Montserrat"/>
                <a:sym typeface="Montserrat"/>
              </a:defRPr>
            </a:lvl8pPr>
            <a:lvl9pPr lvl="8" algn="ctr" rtl="0">
              <a:lnSpc>
                <a:spcPct val="100000"/>
              </a:lnSpc>
              <a:spcBef>
                <a:spcPts val="0"/>
              </a:spcBef>
              <a:spcAft>
                <a:spcPts val="0"/>
              </a:spcAft>
              <a:buSzPts val="1400"/>
              <a:buFont typeface="Montserrat"/>
              <a:buNone/>
              <a:defRPr b="1">
                <a:latin typeface="Montserrat"/>
                <a:ea typeface="Montserrat"/>
                <a:cs typeface="Montserrat"/>
                <a:sym typeface="Montserrat"/>
              </a:defRPr>
            </a:lvl9pPr>
          </a:lstStyle>
          <a:p>
            <a:endParaRPr/>
          </a:p>
        </p:txBody>
      </p:sp>
      <p:sp>
        <p:nvSpPr>
          <p:cNvPr id="77" name="Google Shape;77;p15"/>
          <p:cNvSpPr txBox="1">
            <a:spLocks noGrp="1"/>
          </p:cNvSpPr>
          <p:nvPr>
            <p:ph type="subTitle" idx="5"/>
          </p:nvPr>
        </p:nvSpPr>
        <p:spPr>
          <a:xfrm>
            <a:off x="6198936" y="2278797"/>
            <a:ext cx="2197500" cy="606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78" name="Google Shape;78;p15"/>
          <p:cNvSpPr txBox="1">
            <a:spLocks noGrp="1"/>
          </p:cNvSpPr>
          <p:nvPr>
            <p:ph type="subTitle" idx="6"/>
          </p:nvPr>
        </p:nvSpPr>
        <p:spPr>
          <a:xfrm>
            <a:off x="6198925" y="1916775"/>
            <a:ext cx="2197500" cy="486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algn="ctr" rtl="0">
              <a:lnSpc>
                <a:spcPct val="100000"/>
              </a:lnSpc>
              <a:spcBef>
                <a:spcPts val="0"/>
              </a:spcBef>
              <a:spcAft>
                <a:spcPts val="0"/>
              </a:spcAft>
              <a:buSzPts val="1400"/>
              <a:buFont typeface="Montserrat"/>
              <a:buNone/>
              <a:defRPr b="1">
                <a:latin typeface="Montserrat"/>
                <a:ea typeface="Montserrat"/>
                <a:cs typeface="Montserrat"/>
                <a:sym typeface="Montserrat"/>
              </a:defRPr>
            </a:lvl2pPr>
            <a:lvl3pPr lvl="2" algn="ctr" rtl="0">
              <a:lnSpc>
                <a:spcPct val="100000"/>
              </a:lnSpc>
              <a:spcBef>
                <a:spcPts val="0"/>
              </a:spcBef>
              <a:spcAft>
                <a:spcPts val="0"/>
              </a:spcAft>
              <a:buSzPts val="1400"/>
              <a:buFont typeface="Montserrat"/>
              <a:buNone/>
              <a:defRPr b="1">
                <a:latin typeface="Montserrat"/>
                <a:ea typeface="Montserrat"/>
                <a:cs typeface="Montserrat"/>
                <a:sym typeface="Montserrat"/>
              </a:defRPr>
            </a:lvl3pPr>
            <a:lvl4pPr lvl="3" algn="ctr" rtl="0">
              <a:lnSpc>
                <a:spcPct val="100000"/>
              </a:lnSpc>
              <a:spcBef>
                <a:spcPts val="0"/>
              </a:spcBef>
              <a:spcAft>
                <a:spcPts val="0"/>
              </a:spcAft>
              <a:buSzPts val="1400"/>
              <a:buFont typeface="Montserrat"/>
              <a:buNone/>
              <a:defRPr b="1">
                <a:latin typeface="Montserrat"/>
                <a:ea typeface="Montserrat"/>
                <a:cs typeface="Montserrat"/>
                <a:sym typeface="Montserrat"/>
              </a:defRPr>
            </a:lvl4pPr>
            <a:lvl5pPr lvl="4" algn="ctr" rtl="0">
              <a:lnSpc>
                <a:spcPct val="100000"/>
              </a:lnSpc>
              <a:spcBef>
                <a:spcPts val="0"/>
              </a:spcBef>
              <a:spcAft>
                <a:spcPts val="0"/>
              </a:spcAft>
              <a:buSzPts val="1400"/>
              <a:buFont typeface="Montserrat"/>
              <a:buNone/>
              <a:defRPr b="1">
                <a:latin typeface="Montserrat"/>
                <a:ea typeface="Montserrat"/>
                <a:cs typeface="Montserrat"/>
                <a:sym typeface="Montserrat"/>
              </a:defRPr>
            </a:lvl5pPr>
            <a:lvl6pPr lvl="5" algn="ctr" rtl="0">
              <a:lnSpc>
                <a:spcPct val="100000"/>
              </a:lnSpc>
              <a:spcBef>
                <a:spcPts val="0"/>
              </a:spcBef>
              <a:spcAft>
                <a:spcPts val="0"/>
              </a:spcAft>
              <a:buSzPts val="1400"/>
              <a:buFont typeface="Montserrat"/>
              <a:buNone/>
              <a:defRPr b="1">
                <a:latin typeface="Montserrat"/>
                <a:ea typeface="Montserrat"/>
                <a:cs typeface="Montserrat"/>
                <a:sym typeface="Montserrat"/>
              </a:defRPr>
            </a:lvl6pPr>
            <a:lvl7pPr lvl="6" algn="ctr" rtl="0">
              <a:lnSpc>
                <a:spcPct val="100000"/>
              </a:lnSpc>
              <a:spcBef>
                <a:spcPts val="0"/>
              </a:spcBef>
              <a:spcAft>
                <a:spcPts val="0"/>
              </a:spcAft>
              <a:buSzPts val="1400"/>
              <a:buFont typeface="Montserrat"/>
              <a:buNone/>
              <a:defRPr b="1">
                <a:latin typeface="Montserrat"/>
                <a:ea typeface="Montserrat"/>
                <a:cs typeface="Montserrat"/>
                <a:sym typeface="Montserrat"/>
              </a:defRPr>
            </a:lvl7pPr>
            <a:lvl8pPr lvl="7" algn="ctr" rtl="0">
              <a:lnSpc>
                <a:spcPct val="100000"/>
              </a:lnSpc>
              <a:spcBef>
                <a:spcPts val="0"/>
              </a:spcBef>
              <a:spcAft>
                <a:spcPts val="0"/>
              </a:spcAft>
              <a:buSzPts val="1400"/>
              <a:buFont typeface="Montserrat"/>
              <a:buNone/>
              <a:defRPr b="1">
                <a:latin typeface="Montserrat"/>
                <a:ea typeface="Montserrat"/>
                <a:cs typeface="Montserrat"/>
                <a:sym typeface="Montserrat"/>
              </a:defRPr>
            </a:lvl8pPr>
            <a:lvl9pPr lvl="8" algn="ctr" rtl="0">
              <a:lnSpc>
                <a:spcPct val="100000"/>
              </a:lnSpc>
              <a:spcBef>
                <a:spcPts val="0"/>
              </a:spcBef>
              <a:spcAft>
                <a:spcPts val="0"/>
              </a:spcAft>
              <a:buSzPts val="1400"/>
              <a:buFont typeface="Montserrat"/>
              <a:buNone/>
              <a:defRPr b="1">
                <a:latin typeface="Montserrat"/>
                <a:ea typeface="Montserrat"/>
                <a:cs typeface="Montserrat"/>
                <a:sym typeface="Montserrat"/>
              </a:defRPr>
            </a:lvl9pPr>
          </a:lstStyle>
          <a:p>
            <a:endParaRPr/>
          </a:p>
        </p:txBody>
      </p:sp>
      <p:sp>
        <p:nvSpPr>
          <p:cNvPr id="79" name="Google Shape;79;p15"/>
          <p:cNvSpPr txBox="1">
            <a:spLocks noGrp="1"/>
          </p:cNvSpPr>
          <p:nvPr>
            <p:ph type="title" hasCustomPrompt="1"/>
          </p:nvPr>
        </p:nvSpPr>
        <p:spPr>
          <a:xfrm>
            <a:off x="1647825" y="1575375"/>
            <a:ext cx="341400" cy="3414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Clr>
                <a:srgbClr val="FFFFFF"/>
              </a:buClr>
              <a:buSzPts val="1400"/>
              <a:buFont typeface="Montserrat"/>
              <a:buNone/>
              <a:defRPr sz="1400" b="1">
                <a:solidFill>
                  <a:srgbClr val="FFFFFF"/>
                </a:solidFill>
                <a:latin typeface="Montserrat"/>
                <a:ea typeface="Montserrat"/>
                <a:cs typeface="Montserrat"/>
                <a:sym typeface="Montserrat"/>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r>
              <a:t>xx%</a:t>
            </a:r>
          </a:p>
        </p:txBody>
      </p:sp>
      <p:sp>
        <p:nvSpPr>
          <p:cNvPr id="80" name="Google Shape;80;p15"/>
          <p:cNvSpPr txBox="1">
            <a:spLocks noGrp="1"/>
          </p:cNvSpPr>
          <p:nvPr>
            <p:ph type="title" idx="7" hasCustomPrompt="1"/>
          </p:nvPr>
        </p:nvSpPr>
        <p:spPr>
          <a:xfrm>
            <a:off x="4373415" y="1575375"/>
            <a:ext cx="341400" cy="3414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Clr>
                <a:srgbClr val="FFFFFF"/>
              </a:buClr>
              <a:buSzPts val="1400"/>
              <a:buFont typeface="Montserrat"/>
              <a:buNone/>
              <a:defRPr sz="1400" b="1">
                <a:solidFill>
                  <a:srgbClr val="FFFFFF"/>
                </a:solidFill>
                <a:latin typeface="Montserrat"/>
                <a:ea typeface="Montserrat"/>
                <a:cs typeface="Montserrat"/>
                <a:sym typeface="Montserrat"/>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r>
              <a:t>xx%</a:t>
            </a:r>
          </a:p>
        </p:txBody>
      </p:sp>
      <p:sp>
        <p:nvSpPr>
          <p:cNvPr id="81" name="Google Shape;81;p15"/>
          <p:cNvSpPr txBox="1">
            <a:spLocks noGrp="1"/>
          </p:cNvSpPr>
          <p:nvPr>
            <p:ph type="title" idx="8" hasCustomPrompt="1"/>
          </p:nvPr>
        </p:nvSpPr>
        <p:spPr>
          <a:xfrm>
            <a:off x="7126986" y="1575375"/>
            <a:ext cx="341400" cy="3414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Clr>
                <a:srgbClr val="FFFFFF"/>
              </a:buClr>
              <a:buSzPts val="1400"/>
              <a:buFont typeface="Montserrat"/>
              <a:buNone/>
              <a:defRPr sz="1400" b="1">
                <a:solidFill>
                  <a:srgbClr val="FFFFFF"/>
                </a:solidFill>
                <a:latin typeface="Montserrat"/>
                <a:ea typeface="Montserrat"/>
                <a:cs typeface="Montserrat"/>
                <a:sym typeface="Montserrat"/>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r>
              <a:t>xx%</a:t>
            </a:r>
          </a:p>
        </p:txBody>
      </p:sp>
      <p:sp>
        <p:nvSpPr>
          <p:cNvPr id="82" name="Google Shape;82;p15"/>
          <p:cNvSpPr txBox="1">
            <a:spLocks noGrp="1"/>
          </p:cNvSpPr>
          <p:nvPr>
            <p:ph type="subTitle" idx="9"/>
          </p:nvPr>
        </p:nvSpPr>
        <p:spPr>
          <a:xfrm>
            <a:off x="2110525" y="3807622"/>
            <a:ext cx="2197500" cy="606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83" name="Google Shape;83;p15"/>
          <p:cNvSpPr txBox="1">
            <a:spLocks noGrp="1"/>
          </p:cNvSpPr>
          <p:nvPr>
            <p:ph type="subTitle" idx="13"/>
          </p:nvPr>
        </p:nvSpPr>
        <p:spPr>
          <a:xfrm>
            <a:off x="2110375" y="3521850"/>
            <a:ext cx="2197500" cy="486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algn="ctr" rtl="0">
              <a:lnSpc>
                <a:spcPct val="100000"/>
              </a:lnSpc>
              <a:spcBef>
                <a:spcPts val="0"/>
              </a:spcBef>
              <a:spcAft>
                <a:spcPts val="0"/>
              </a:spcAft>
              <a:buSzPts val="1400"/>
              <a:buFont typeface="Montserrat"/>
              <a:buNone/>
              <a:defRPr b="1">
                <a:latin typeface="Montserrat"/>
                <a:ea typeface="Montserrat"/>
                <a:cs typeface="Montserrat"/>
                <a:sym typeface="Montserrat"/>
              </a:defRPr>
            </a:lvl2pPr>
            <a:lvl3pPr lvl="2" algn="ctr" rtl="0">
              <a:lnSpc>
                <a:spcPct val="100000"/>
              </a:lnSpc>
              <a:spcBef>
                <a:spcPts val="0"/>
              </a:spcBef>
              <a:spcAft>
                <a:spcPts val="0"/>
              </a:spcAft>
              <a:buSzPts val="1400"/>
              <a:buFont typeface="Montserrat"/>
              <a:buNone/>
              <a:defRPr b="1">
                <a:latin typeface="Montserrat"/>
                <a:ea typeface="Montserrat"/>
                <a:cs typeface="Montserrat"/>
                <a:sym typeface="Montserrat"/>
              </a:defRPr>
            </a:lvl3pPr>
            <a:lvl4pPr lvl="3" algn="ctr" rtl="0">
              <a:lnSpc>
                <a:spcPct val="100000"/>
              </a:lnSpc>
              <a:spcBef>
                <a:spcPts val="0"/>
              </a:spcBef>
              <a:spcAft>
                <a:spcPts val="0"/>
              </a:spcAft>
              <a:buSzPts val="1400"/>
              <a:buFont typeface="Montserrat"/>
              <a:buNone/>
              <a:defRPr b="1">
                <a:latin typeface="Montserrat"/>
                <a:ea typeface="Montserrat"/>
                <a:cs typeface="Montserrat"/>
                <a:sym typeface="Montserrat"/>
              </a:defRPr>
            </a:lvl4pPr>
            <a:lvl5pPr lvl="4" algn="ctr" rtl="0">
              <a:lnSpc>
                <a:spcPct val="100000"/>
              </a:lnSpc>
              <a:spcBef>
                <a:spcPts val="0"/>
              </a:spcBef>
              <a:spcAft>
                <a:spcPts val="0"/>
              </a:spcAft>
              <a:buSzPts val="1400"/>
              <a:buFont typeface="Montserrat"/>
              <a:buNone/>
              <a:defRPr b="1">
                <a:latin typeface="Montserrat"/>
                <a:ea typeface="Montserrat"/>
                <a:cs typeface="Montserrat"/>
                <a:sym typeface="Montserrat"/>
              </a:defRPr>
            </a:lvl5pPr>
            <a:lvl6pPr lvl="5" algn="ctr" rtl="0">
              <a:lnSpc>
                <a:spcPct val="100000"/>
              </a:lnSpc>
              <a:spcBef>
                <a:spcPts val="0"/>
              </a:spcBef>
              <a:spcAft>
                <a:spcPts val="0"/>
              </a:spcAft>
              <a:buSzPts val="1400"/>
              <a:buFont typeface="Montserrat"/>
              <a:buNone/>
              <a:defRPr b="1">
                <a:latin typeface="Montserrat"/>
                <a:ea typeface="Montserrat"/>
                <a:cs typeface="Montserrat"/>
                <a:sym typeface="Montserrat"/>
              </a:defRPr>
            </a:lvl6pPr>
            <a:lvl7pPr lvl="6" algn="ctr" rtl="0">
              <a:lnSpc>
                <a:spcPct val="100000"/>
              </a:lnSpc>
              <a:spcBef>
                <a:spcPts val="0"/>
              </a:spcBef>
              <a:spcAft>
                <a:spcPts val="0"/>
              </a:spcAft>
              <a:buSzPts val="1400"/>
              <a:buFont typeface="Montserrat"/>
              <a:buNone/>
              <a:defRPr b="1">
                <a:latin typeface="Montserrat"/>
                <a:ea typeface="Montserrat"/>
                <a:cs typeface="Montserrat"/>
                <a:sym typeface="Montserrat"/>
              </a:defRPr>
            </a:lvl7pPr>
            <a:lvl8pPr lvl="7" algn="ctr" rtl="0">
              <a:lnSpc>
                <a:spcPct val="100000"/>
              </a:lnSpc>
              <a:spcBef>
                <a:spcPts val="0"/>
              </a:spcBef>
              <a:spcAft>
                <a:spcPts val="0"/>
              </a:spcAft>
              <a:buSzPts val="1400"/>
              <a:buFont typeface="Montserrat"/>
              <a:buNone/>
              <a:defRPr b="1">
                <a:latin typeface="Montserrat"/>
                <a:ea typeface="Montserrat"/>
                <a:cs typeface="Montserrat"/>
                <a:sym typeface="Montserrat"/>
              </a:defRPr>
            </a:lvl8pPr>
            <a:lvl9pPr lvl="8" algn="ctr" rtl="0">
              <a:lnSpc>
                <a:spcPct val="100000"/>
              </a:lnSpc>
              <a:spcBef>
                <a:spcPts val="0"/>
              </a:spcBef>
              <a:spcAft>
                <a:spcPts val="0"/>
              </a:spcAft>
              <a:buSzPts val="1400"/>
              <a:buFont typeface="Montserrat"/>
              <a:buNone/>
              <a:defRPr b="1">
                <a:latin typeface="Montserrat"/>
                <a:ea typeface="Montserrat"/>
                <a:cs typeface="Montserrat"/>
                <a:sym typeface="Montserrat"/>
              </a:defRPr>
            </a:lvl9pPr>
          </a:lstStyle>
          <a:p>
            <a:endParaRPr/>
          </a:p>
        </p:txBody>
      </p:sp>
      <p:sp>
        <p:nvSpPr>
          <p:cNvPr id="84" name="Google Shape;84;p15"/>
          <p:cNvSpPr txBox="1">
            <a:spLocks noGrp="1"/>
          </p:cNvSpPr>
          <p:nvPr>
            <p:ph type="subTitle" idx="14"/>
          </p:nvPr>
        </p:nvSpPr>
        <p:spPr>
          <a:xfrm>
            <a:off x="4836115" y="3883822"/>
            <a:ext cx="2197500" cy="606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85" name="Google Shape;85;p15"/>
          <p:cNvSpPr txBox="1">
            <a:spLocks noGrp="1"/>
          </p:cNvSpPr>
          <p:nvPr>
            <p:ph type="subTitle" idx="15"/>
          </p:nvPr>
        </p:nvSpPr>
        <p:spPr>
          <a:xfrm>
            <a:off x="4836125" y="3521850"/>
            <a:ext cx="2197500" cy="486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algn="ctr" rtl="0">
              <a:lnSpc>
                <a:spcPct val="100000"/>
              </a:lnSpc>
              <a:spcBef>
                <a:spcPts val="0"/>
              </a:spcBef>
              <a:spcAft>
                <a:spcPts val="0"/>
              </a:spcAft>
              <a:buSzPts val="1400"/>
              <a:buFont typeface="Montserrat"/>
              <a:buNone/>
              <a:defRPr b="1">
                <a:latin typeface="Montserrat"/>
                <a:ea typeface="Montserrat"/>
                <a:cs typeface="Montserrat"/>
                <a:sym typeface="Montserrat"/>
              </a:defRPr>
            </a:lvl2pPr>
            <a:lvl3pPr lvl="2" algn="ctr" rtl="0">
              <a:lnSpc>
                <a:spcPct val="100000"/>
              </a:lnSpc>
              <a:spcBef>
                <a:spcPts val="0"/>
              </a:spcBef>
              <a:spcAft>
                <a:spcPts val="0"/>
              </a:spcAft>
              <a:buSzPts val="1400"/>
              <a:buFont typeface="Montserrat"/>
              <a:buNone/>
              <a:defRPr b="1">
                <a:latin typeface="Montserrat"/>
                <a:ea typeface="Montserrat"/>
                <a:cs typeface="Montserrat"/>
                <a:sym typeface="Montserrat"/>
              </a:defRPr>
            </a:lvl3pPr>
            <a:lvl4pPr lvl="3" algn="ctr" rtl="0">
              <a:lnSpc>
                <a:spcPct val="100000"/>
              </a:lnSpc>
              <a:spcBef>
                <a:spcPts val="0"/>
              </a:spcBef>
              <a:spcAft>
                <a:spcPts val="0"/>
              </a:spcAft>
              <a:buSzPts val="1400"/>
              <a:buFont typeface="Montserrat"/>
              <a:buNone/>
              <a:defRPr b="1">
                <a:latin typeface="Montserrat"/>
                <a:ea typeface="Montserrat"/>
                <a:cs typeface="Montserrat"/>
                <a:sym typeface="Montserrat"/>
              </a:defRPr>
            </a:lvl4pPr>
            <a:lvl5pPr lvl="4" algn="ctr" rtl="0">
              <a:lnSpc>
                <a:spcPct val="100000"/>
              </a:lnSpc>
              <a:spcBef>
                <a:spcPts val="0"/>
              </a:spcBef>
              <a:spcAft>
                <a:spcPts val="0"/>
              </a:spcAft>
              <a:buSzPts val="1400"/>
              <a:buFont typeface="Montserrat"/>
              <a:buNone/>
              <a:defRPr b="1">
                <a:latin typeface="Montserrat"/>
                <a:ea typeface="Montserrat"/>
                <a:cs typeface="Montserrat"/>
                <a:sym typeface="Montserrat"/>
              </a:defRPr>
            </a:lvl5pPr>
            <a:lvl6pPr lvl="5" algn="ctr" rtl="0">
              <a:lnSpc>
                <a:spcPct val="100000"/>
              </a:lnSpc>
              <a:spcBef>
                <a:spcPts val="0"/>
              </a:spcBef>
              <a:spcAft>
                <a:spcPts val="0"/>
              </a:spcAft>
              <a:buSzPts val="1400"/>
              <a:buFont typeface="Montserrat"/>
              <a:buNone/>
              <a:defRPr b="1">
                <a:latin typeface="Montserrat"/>
                <a:ea typeface="Montserrat"/>
                <a:cs typeface="Montserrat"/>
                <a:sym typeface="Montserrat"/>
              </a:defRPr>
            </a:lvl6pPr>
            <a:lvl7pPr lvl="6" algn="ctr" rtl="0">
              <a:lnSpc>
                <a:spcPct val="100000"/>
              </a:lnSpc>
              <a:spcBef>
                <a:spcPts val="0"/>
              </a:spcBef>
              <a:spcAft>
                <a:spcPts val="0"/>
              </a:spcAft>
              <a:buSzPts val="1400"/>
              <a:buFont typeface="Montserrat"/>
              <a:buNone/>
              <a:defRPr b="1">
                <a:latin typeface="Montserrat"/>
                <a:ea typeface="Montserrat"/>
                <a:cs typeface="Montserrat"/>
                <a:sym typeface="Montserrat"/>
              </a:defRPr>
            </a:lvl7pPr>
            <a:lvl8pPr lvl="7" algn="ctr" rtl="0">
              <a:lnSpc>
                <a:spcPct val="100000"/>
              </a:lnSpc>
              <a:spcBef>
                <a:spcPts val="0"/>
              </a:spcBef>
              <a:spcAft>
                <a:spcPts val="0"/>
              </a:spcAft>
              <a:buSzPts val="1400"/>
              <a:buFont typeface="Montserrat"/>
              <a:buNone/>
              <a:defRPr b="1">
                <a:latin typeface="Montserrat"/>
                <a:ea typeface="Montserrat"/>
                <a:cs typeface="Montserrat"/>
                <a:sym typeface="Montserrat"/>
              </a:defRPr>
            </a:lvl8pPr>
            <a:lvl9pPr lvl="8" algn="ctr" rtl="0">
              <a:lnSpc>
                <a:spcPct val="100000"/>
              </a:lnSpc>
              <a:spcBef>
                <a:spcPts val="0"/>
              </a:spcBef>
              <a:spcAft>
                <a:spcPts val="0"/>
              </a:spcAft>
              <a:buSzPts val="1400"/>
              <a:buFont typeface="Montserrat"/>
              <a:buNone/>
              <a:defRPr b="1">
                <a:latin typeface="Montserrat"/>
                <a:ea typeface="Montserrat"/>
                <a:cs typeface="Montserrat"/>
                <a:sym typeface="Montserrat"/>
              </a:defRPr>
            </a:lvl9pPr>
          </a:lstStyle>
          <a:p>
            <a:endParaRPr/>
          </a:p>
        </p:txBody>
      </p:sp>
      <p:sp>
        <p:nvSpPr>
          <p:cNvPr id="86" name="Google Shape;86;p15"/>
          <p:cNvSpPr txBox="1">
            <a:spLocks noGrp="1"/>
          </p:cNvSpPr>
          <p:nvPr>
            <p:ph type="title" idx="16" hasCustomPrompt="1"/>
          </p:nvPr>
        </p:nvSpPr>
        <p:spPr>
          <a:xfrm>
            <a:off x="3038575" y="3180450"/>
            <a:ext cx="341400" cy="3414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Clr>
                <a:srgbClr val="FFFFFF"/>
              </a:buClr>
              <a:buSzPts val="1400"/>
              <a:buFont typeface="Montserrat"/>
              <a:buNone/>
              <a:defRPr sz="1400" b="1">
                <a:solidFill>
                  <a:srgbClr val="FFFFFF"/>
                </a:solidFill>
                <a:latin typeface="Montserrat"/>
                <a:ea typeface="Montserrat"/>
                <a:cs typeface="Montserrat"/>
                <a:sym typeface="Montserrat"/>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r>
              <a:t>xx%</a:t>
            </a:r>
          </a:p>
        </p:txBody>
      </p:sp>
      <p:sp>
        <p:nvSpPr>
          <p:cNvPr id="87" name="Google Shape;87;p15"/>
          <p:cNvSpPr txBox="1">
            <a:spLocks noGrp="1"/>
          </p:cNvSpPr>
          <p:nvPr>
            <p:ph type="title" idx="17" hasCustomPrompt="1"/>
          </p:nvPr>
        </p:nvSpPr>
        <p:spPr>
          <a:xfrm>
            <a:off x="5764165" y="3180450"/>
            <a:ext cx="341400" cy="3414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Clr>
                <a:srgbClr val="FFFFFF"/>
              </a:buClr>
              <a:buSzPts val="1400"/>
              <a:buFont typeface="Montserrat"/>
              <a:buNone/>
              <a:defRPr sz="1400" b="1">
                <a:solidFill>
                  <a:srgbClr val="FFFFFF"/>
                </a:solidFill>
                <a:latin typeface="Montserrat"/>
                <a:ea typeface="Montserrat"/>
                <a:cs typeface="Montserrat"/>
                <a:sym typeface="Montserrat"/>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r>
              <a:t>xx%</a:t>
            </a:r>
          </a:p>
        </p:txBody>
      </p:sp>
      <p:sp>
        <p:nvSpPr>
          <p:cNvPr id="88" name="Google Shape;88;p15"/>
          <p:cNvSpPr/>
          <p:nvPr/>
        </p:nvSpPr>
        <p:spPr>
          <a:xfrm>
            <a:off x="6594483" y="542917"/>
            <a:ext cx="1828800" cy="262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89;p15"/>
          <p:cNvSpPr txBox="1">
            <a:spLocks noGrp="1"/>
          </p:cNvSpPr>
          <p:nvPr>
            <p:ph type="title" idx="18"/>
          </p:nvPr>
        </p:nvSpPr>
        <p:spPr>
          <a:xfrm>
            <a:off x="626684" y="404716"/>
            <a:ext cx="7927800" cy="5304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24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289800901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itle and three columns">
  <p:cSld name="Title and three columns">
    <p:spTree>
      <p:nvGrpSpPr>
        <p:cNvPr id="1" name="Shape 90"/>
        <p:cNvGrpSpPr/>
        <p:nvPr/>
      </p:nvGrpSpPr>
      <p:grpSpPr>
        <a:xfrm>
          <a:off x="0" y="0"/>
          <a:ext cx="0" cy="0"/>
          <a:chOff x="0" y="0"/>
          <a:chExt cx="0" cy="0"/>
        </a:xfrm>
      </p:grpSpPr>
      <p:sp>
        <p:nvSpPr>
          <p:cNvPr id="91" name="Google Shape;91;p16"/>
          <p:cNvSpPr txBox="1">
            <a:spLocks noGrp="1"/>
          </p:cNvSpPr>
          <p:nvPr>
            <p:ph type="title" hasCustomPrompt="1"/>
          </p:nvPr>
        </p:nvSpPr>
        <p:spPr>
          <a:xfrm>
            <a:off x="1380800" y="3456200"/>
            <a:ext cx="1859100" cy="3099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algn="ctr" rtl="0">
              <a:spcBef>
                <a:spcPts val="0"/>
              </a:spcBef>
              <a:spcAft>
                <a:spcPts val="0"/>
              </a:spcAft>
              <a:buClr>
                <a:schemeClr val="accent5"/>
              </a:buClr>
              <a:buSzPts val="4000"/>
              <a:buNone/>
              <a:defRPr sz="4000">
                <a:solidFill>
                  <a:schemeClr val="accent5"/>
                </a:solidFill>
              </a:defRPr>
            </a:lvl2pPr>
            <a:lvl3pPr lvl="2" algn="ctr" rtl="0">
              <a:spcBef>
                <a:spcPts val="0"/>
              </a:spcBef>
              <a:spcAft>
                <a:spcPts val="0"/>
              </a:spcAft>
              <a:buClr>
                <a:schemeClr val="accent5"/>
              </a:buClr>
              <a:buSzPts val="4000"/>
              <a:buNone/>
              <a:defRPr sz="4000">
                <a:solidFill>
                  <a:schemeClr val="accent5"/>
                </a:solidFill>
              </a:defRPr>
            </a:lvl3pPr>
            <a:lvl4pPr lvl="3" algn="ctr" rtl="0">
              <a:spcBef>
                <a:spcPts val="0"/>
              </a:spcBef>
              <a:spcAft>
                <a:spcPts val="0"/>
              </a:spcAft>
              <a:buClr>
                <a:schemeClr val="accent5"/>
              </a:buClr>
              <a:buSzPts val="4000"/>
              <a:buNone/>
              <a:defRPr sz="4000">
                <a:solidFill>
                  <a:schemeClr val="accent5"/>
                </a:solidFill>
              </a:defRPr>
            </a:lvl4pPr>
            <a:lvl5pPr lvl="4" algn="ctr" rtl="0">
              <a:spcBef>
                <a:spcPts val="0"/>
              </a:spcBef>
              <a:spcAft>
                <a:spcPts val="0"/>
              </a:spcAft>
              <a:buClr>
                <a:schemeClr val="accent5"/>
              </a:buClr>
              <a:buSzPts val="4000"/>
              <a:buNone/>
              <a:defRPr sz="4000">
                <a:solidFill>
                  <a:schemeClr val="accent5"/>
                </a:solidFill>
              </a:defRPr>
            </a:lvl5pPr>
            <a:lvl6pPr lvl="5" algn="ctr" rtl="0">
              <a:spcBef>
                <a:spcPts val="0"/>
              </a:spcBef>
              <a:spcAft>
                <a:spcPts val="0"/>
              </a:spcAft>
              <a:buClr>
                <a:schemeClr val="accent5"/>
              </a:buClr>
              <a:buSzPts val="4000"/>
              <a:buNone/>
              <a:defRPr sz="4000">
                <a:solidFill>
                  <a:schemeClr val="accent5"/>
                </a:solidFill>
              </a:defRPr>
            </a:lvl6pPr>
            <a:lvl7pPr lvl="6" algn="ctr" rtl="0">
              <a:spcBef>
                <a:spcPts val="0"/>
              </a:spcBef>
              <a:spcAft>
                <a:spcPts val="0"/>
              </a:spcAft>
              <a:buClr>
                <a:schemeClr val="accent5"/>
              </a:buClr>
              <a:buSzPts val="4000"/>
              <a:buNone/>
              <a:defRPr sz="4000">
                <a:solidFill>
                  <a:schemeClr val="accent5"/>
                </a:solidFill>
              </a:defRPr>
            </a:lvl7pPr>
            <a:lvl8pPr lvl="7" algn="ctr" rtl="0">
              <a:spcBef>
                <a:spcPts val="0"/>
              </a:spcBef>
              <a:spcAft>
                <a:spcPts val="0"/>
              </a:spcAft>
              <a:buClr>
                <a:schemeClr val="accent5"/>
              </a:buClr>
              <a:buSzPts val="4000"/>
              <a:buNone/>
              <a:defRPr sz="4000">
                <a:solidFill>
                  <a:schemeClr val="accent5"/>
                </a:solidFill>
              </a:defRPr>
            </a:lvl8pPr>
            <a:lvl9pPr lvl="8" algn="ctr" rtl="0">
              <a:spcBef>
                <a:spcPts val="0"/>
              </a:spcBef>
              <a:spcAft>
                <a:spcPts val="0"/>
              </a:spcAft>
              <a:buClr>
                <a:schemeClr val="accent5"/>
              </a:buClr>
              <a:buSzPts val="4000"/>
              <a:buNone/>
              <a:defRPr sz="4000">
                <a:solidFill>
                  <a:schemeClr val="accent5"/>
                </a:solidFill>
              </a:defRPr>
            </a:lvl9pPr>
          </a:lstStyle>
          <a:p>
            <a:r>
              <a:t>xx%</a:t>
            </a:r>
          </a:p>
        </p:txBody>
      </p:sp>
      <p:sp>
        <p:nvSpPr>
          <p:cNvPr id="92" name="Google Shape;92;p16"/>
          <p:cNvSpPr txBox="1">
            <a:spLocks noGrp="1"/>
          </p:cNvSpPr>
          <p:nvPr>
            <p:ph type="subTitle" idx="1"/>
          </p:nvPr>
        </p:nvSpPr>
        <p:spPr>
          <a:xfrm>
            <a:off x="1380800" y="3683650"/>
            <a:ext cx="1859100" cy="606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93" name="Google Shape;93;p16"/>
          <p:cNvSpPr txBox="1">
            <a:spLocks noGrp="1"/>
          </p:cNvSpPr>
          <p:nvPr>
            <p:ph type="title" idx="2" hasCustomPrompt="1"/>
          </p:nvPr>
        </p:nvSpPr>
        <p:spPr>
          <a:xfrm>
            <a:off x="3642450" y="3456200"/>
            <a:ext cx="1859100" cy="3099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algn="ctr" rtl="0">
              <a:spcBef>
                <a:spcPts val="0"/>
              </a:spcBef>
              <a:spcAft>
                <a:spcPts val="0"/>
              </a:spcAft>
              <a:buClr>
                <a:schemeClr val="accent5"/>
              </a:buClr>
              <a:buSzPts val="4000"/>
              <a:buNone/>
              <a:defRPr sz="4000">
                <a:solidFill>
                  <a:schemeClr val="accent5"/>
                </a:solidFill>
              </a:defRPr>
            </a:lvl2pPr>
            <a:lvl3pPr lvl="2" algn="ctr" rtl="0">
              <a:spcBef>
                <a:spcPts val="0"/>
              </a:spcBef>
              <a:spcAft>
                <a:spcPts val="0"/>
              </a:spcAft>
              <a:buClr>
                <a:schemeClr val="accent5"/>
              </a:buClr>
              <a:buSzPts val="4000"/>
              <a:buNone/>
              <a:defRPr sz="4000">
                <a:solidFill>
                  <a:schemeClr val="accent5"/>
                </a:solidFill>
              </a:defRPr>
            </a:lvl3pPr>
            <a:lvl4pPr lvl="3" algn="ctr" rtl="0">
              <a:spcBef>
                <a:spcPts val="0"/>
              </a:spcBef>
              <a:spcAft>
                <a:spcPts val="0"/>
              </a:spcAft>
              <a:buClr>
                <a:schemeClr val="accent5"/>
              </a:buClr>
              <a:buSzPts val="4000"/>
              <a:buNone/>
              <a:defRPr sz="4000">
                <a:solidFill>
                  <a:schemeClr val="accent5"/>
                </a:solidFill>
              </a:defRPr>
            </a:lvl4pPr>
            <a:lvl5pPr lvl="4" algn="ctr" rtl="0">
              <a:spcBef>
                <a:spcPts val="0"/>
              </a:spcBef>
              <a:spcAft>
                <a:spcPts val="0"/>
              </a:spcAft>
              <a:buClr>
                <a:schemeClr val="accent5"/>
              </a:buClr>
              <a:buSzPts val="4000"/>
              <a:buNone/>
              <a:defRPr sz="4000">
                <a:solidFill>
                  <a:schemeClr val="accent5"/>
                </a:solidFill>
              </a:defRPr>
            </a:lvl5pPr>
            <a:lvl6pPr lvl="5" algn="ctr" rtl="0">
              <a:spcBef>
                <a:spcPts val="0"/>
              </a:spcBef>
              <a:spcAft>
                <a:spcPts val="0"/>
              </a:spcAft>
              <a:buClr>
                <a:schemeClr val="accent5"/>
              </a:buClr>
              <a:buSzPts val="4000"/>
              <a:buNone/>
              <a:defRPr sz="4000">
                <a:solidFill>
                  <a:schemeClr val="accent5"/>
                </a:solidFill>
              </a:defRPr>
            </a:lvl6pPr>
            <a:lvl7pPr lvl="6" algn="ctr" rtl="0">
              <a:spcBef>
                <a:spcPts val="0"/>
              </a:spcBef>
              <a:spcAft>
                <a:spcPts val="0"/>
              </a:spcAft>
              <a:buClr>
                <a:schemeClr val="accent5"/>
              </a:buClr>
              <a:buSzPts val="4000"/>
              <a:buNone/>
              <a:defRPr sz="4000">
                <a:solidFill>
                  <a:schemeClr val="accent5"/>
                </a:solidFill>
              </a:defRPr>
            </a:lvl7pPr>
            <a:lvl8pPr lvl="7" algn="ctr" rtl="0">
              <a:spcBef>
                <a:spcPts val="0"/>
              </a:spcBef>
              <a:spcAft>
                <a:spcPts val="0"/>
              </a:spcAft>
              <a:buClr>
                <a:schemeClr val="accent5"/>
              </a:buClr>
              <a:buSzPts val="4000"/>
              <a:buNone/>
              <a:defRPr sz="4000">
                <a:solidFill>
                  <a:schemeClr val="accent5"/>
                </a:solidFill>
              </a:defRPr>
            </a:lvl8pPr>
            <a:lvl9pPr lvl="8" algn="ctr" rtl="0">
              <a:spcBef>
                <a:spcPts val="0"/>
              </a:spcBef>
              <a:spcAft>
                <a:spcPts val="0"/>
              </a:spcAft>
              <a:buClr>
                <a:schemeClr val="accent5"/>
              </a:buClr>
              <a:buSzPts val="4000"/>
              <a:buNone/>
              <a:defRPr sz="4000">
                <a:solidFill>
                  <a:schemeClr val="accent5"/>
                </a:solidFill>
              </a:defRPr>
            </a:lvl9pPr>
          </a:lstStyle>
          <a:p>
            <a:r>
              <a:t>xx%</a:t>
            </a:r>
          </a:p>
        </p:txBody>
      </p:sp>
      <p:sp>
        <p:nvSpPr>
          <p:cNvPr id="94" name="Google Shape;94;p16"/>
          <p:cNvSpPr txBox="1">
            <a:spLocks noGrp="1"/>
          </p:cNvSpPr>
          <p:nvPr>
            <p:ph type="subTitle" idx="3"/>
          </p:nvPr>
        </p:nvSpPr>
        <p:spPr>
          <a:xfrm>
            <a:off x="3642450" y="3683650"/>
            <a:ext cx="1859100" cy="606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95" name="Google Shape;95;p16"/>
          <p:cNvSpPr txBox="1">
            <a:spLocks noGrp="1"/>
          </p:cNvSpPr>
          <p:nvPr>
            <p:ph type="title" idx="4" hasCustomPrompt="1"/>
          </p:nvPr>
        </p:nvSpPr>
        <p:spPr>
          <a:xfrm>
            <a:off x="5904100" y="3456200"/>
            <a:ext cx="1859100" cy="3099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algn="ctr" rtl="0">
              <a:spcBef>
                <a:spcPts val="0"/>
              </a:spcBef>
              <a:spcAft>
                <a:spcPts val="0"/>
              </a:spcAft>
              <a:buClr>
                <a:schemeClr val="accent5"/>
              </a:buClr>
              <a:buSzPts val="4000"/>
              <a:buNone/>
              <a:defRPr sz="4000">
                <a:solidFill>
                  <a:schemeClr val="accent5"/>
                </a:solidFill>
              </a:defRPr>
            </a:lvl2pPr>
            <a:lvl3pPr lvl="2" algn="ctr" rtl="0">
              <a:spcBef>
                <a:spcPts val="0"/>
              </a:spcBef>
              <a:spcAft>
                <a:spcPts val="0"/>
              </a:spcAft>
              <a:buClr>
                <a:schemeClr val="accent5"/>
              </a:buClr>
              <a:buSzPts val="4000"/>
              <a:buNone/>
              <a:defRPr sz="4000">
                <a:solidFill>
                  <a:schemeClr val="accent5"/>
                </a:solidFill>
              </a:defRPr>
            </a:lvl3pPr>
            <a:lvl4pPr lvl="3" algn="ctr" rtl="0">
              <a:spcBef>
                <a:spcPts val="0"/>
              </a:spcBef>
              <a:spcAft>
                <a:spcPts val="0"/>
              </a:spcAft>
              <a:buClr>
                <a:schemeClr val="accent5"/>
              </a:buClr>
              <a:buSzPts val="4000"/>
              <a:buNone/>
              <a:defRPr sz="4000">
                <a:solidFill>
                  <a:schemeClr val="accent5"/>
                </a:solidFill>
              </a:defRPr>
            </a:lvl4pPr>
            <a:lvl5pPr lvl="4" algn="ctr" rtl="0">
              <a:spcBef>
                <a:spcPts val="0"/>
              </a:spcBef>
              <a:spcAft>
                <a:spcPts val="0"/>
              </a:spcAft>
              <a:buClr>
                <a:schemeClr val="accent5"/>
              </a:buClr>
              <a:buSzPts val="4000"/>
              <a:buNone/>
              <a:defRPr sz="4000">
                <a:solidFill>
                  <a:schemeClr val="accent5"/>
                </a:solidFill>
              </a:defRPr>
            </a:lvl5pPr>
            <a:lvl6pPr lvl="5" algn="ctr" rtl="0">
              <a:spcBef>
                <a:spcPts val="0"/>
              </a:spcBef>
              <a:spcAft>
                <a:spcPts val="0"/>
              </a:spcAft>
              <a:buClr>
                <a:schemeClr val="accent5"/>
              </a:buClr>
              <a:buSzPts val="4000"/>
              <a:buNone/>
              <a:defRPr sz="4000">
                <a:solidFill>
                  <a:schemeClr val="accent5"/>
                </a:solidFill>
              </a:defRPr>
            </a:lvl6pPr>
            <a:lvl7pPr lvl="6" algn="ctr" rtl="0">
              <a:spcBef>
                <a:spcPts val="0"/>
              </a:spcBef>
              <a:spcAft>
                <a:spcPts val="0"/>
              </a:spcAft>
              <a:buClr>
                <a:schemeClr val="accent5"/>
              </a:buClr>
              <a:buSzPts val="4000"/>
              <a:buNone/>
              <a:defRPr sz="4000">
                <a:solidFill>
                  <a:schemeClr val="accent5"/>
                </a:solidFill>
              </a:defRPr>
            </a:lvl7pPr>
            <a:lvl8pPr lvl="7" algn="ctr" rtl="0">
              <a:spcBef>
                <a:spcPts val="0"/>
              </a:spcBef>
              <a:spcAft>
                <a:spcPts val="0"/>
              </a:spcAft>
              <a:buClr>
                <a:schemeClr val="accent5"/>
              </a:buClr>
              <a:buSzPts val="4000"/>
              <a:buNone/>
              <a:defRPr sz="4000">
                <a:solidFill>
                  <a:schemeClr val="accent5"/>
                </a:solidFill>
              </a:defRPr>
            </a:lvl8pPr>
            <a:lvl9pPr lvl="8" algn="ctr" rtl="0">
              <a:spcBef>
                <a:spcPts val="0"/>
              </a:spcBef>
              <a:spcAft>
                <a:spcPts val="0"/>
              </a:spcAft>
              <a:buClr>
                <a:schemeClr val="accent5"/>
              </a:buClr>
              <a:buSzPts val="4000"/>
              <a:buNone/>
              <a:defRPr sz="4000">
                <a:solidFill>
                  <a:schemeClr val="accent5"/>
                </a:solidFill>
              </a:defRPr>
            </a:lvl9pPr>
          </a:lstStyle>
          <a:p>
            <a:r>
              <a:t>xx%</a:t>
            </a:r>
          </a:p>
        </p:txBody>
      </p:sp>
      <p:sp>
        <p:nvSpPr>
          <p:cNvPr id="96" name="Google Shape;96;p16"/>
          <p:cNvSpPr txBox="1">
            <a:spLocks noGrp="1"/>
          </p:cNvSpPr>
          <p:nvPr>
            <p:ph type="subTitle" idx="5"/>
          </p:nvPr>
        </p:nvSpPr>
        <p:spPr>
          <a:xfrm>
            <a:off x="5904100" y="3683650"/>
            <a:ext cx="1859100" cy="606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97" name="Google Shape;97;p16"/>
          <p:cNvSpPr/>
          <p:nvPr/>
        </p:nvSpPr>
        <p:spPr>
          <a:xfrm>
            <a:off x="6594483" y="542917"/>
            <a:ext cx="1828800" cy="262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16"/>
          <p:cNvSpPr txBox="1">
            <a:spLocks noGrp="1"/>
          </p:cNvSpPr>
          <p:nvPr>
            <p:ph type="title" idx="6"/>
          </p:nvPr>
        </p:nvSpPr>
        <p:spPr>
          <a:xfrm>
            <a:off x="626684" y="404716"/>
            <a:ext cx="7927800" cy="5304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24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26704891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itle and six columns">
  <p:cSld name="Title and six columns">
    <p:spTree>
      <p:nvGrpSpPr>
        <p:cNvPr id="1" name="Shape 99"/>
        <p:cNvGrpSpPr/>
        <p:nvPr/>
      </p:nvGrpSpPr>
      <p:grpSpPr>
        <a:xfrm>
          <a:off x="0" y="0"/>
          <a:ext cx="0" cy="0"/>
          <a:chOff x="0" y="0"/>
          <a:chExt cx="0" cy="0"/>
        </a:xfrm>
      </p:grpSpPr>
      <p:sp>
        <p:nvSpPr>
          <p:cNvPr id="100" name="Google Shape;100;p17"/>
          <p:cNvSpPr txBox="1">
            <a:spLocks noGrp="1"/>
          </p:cNvSpPr>
          <p:nvPr>
            <p:ph type="title" hasCustomPrompt="1"/>
          </p:nvPr>
        </p:nvSpPr>
        <p:spPr>
          <a:xfrm>
            <a:off x="721675" y="1847825"/>
            <a:ext cx="341400" cy="3414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Clr>
                <a:srgbClr val="FFFFFF"/>
              </a:buClr>
              <a:buSzPts val="1400"/>
              <a:buFont typeface="Montserrat"/>
              <a:buNone/>
              <a:defRPr sz="1400" b="1">
                <a:solidFill>
                  <a:srgbClr val="FFFFFF"/>
                </a:solidFill>
                <a:latin typeface="Montserrat"/>
                <a:ea typeface="Montserrat"/>
                <a:cs typeface="Montserrat"/>
                <a:sym typeface="Montserrat"/>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r>
              <a:t>xx%</a:t>
            </a:r>
          </a:p>
        </p:txBody>
      </p:sp>
      <p:sp>
        <p:nvSpPr>
          <p:cNvPr id="101" name="Google Shape;101;p17"/>
          <p:cNvSpPr txBox="1">
            <a:spLocks noGrp="1"/>
          </p:cNvSpPr>
          <p:nvPr>
            <p:ph type="subTitle" idx="1"/>
          </p:nvPr>
        </p:nvSpPr>
        <p:spPr>
          <a:xfrm>
            <a:off x="626675" y="2457880"/>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02" name="Google Shape;102;p17"/>
          <p:cNvSpPr txBox="1">
            <a:spLocks noGrp="1"/>
          </p:cNvSpPr>
          <p:nvPr>
            <p:ph type="subTitle" idx="2"/>
          </p:nvPr>
        </p:nvSpPr>
        <p:spPr>
          <a:xfrm>
            <a:off x="626675" y="1967307"/>
            <a:ext cx="2679000" cy="6066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lnSpc>
                <a:spcPct val="100000"/>
              </a:lnSpc>
              <a:spcBef>
                <a:spcPts val="0"/>
              </a:spcBef>
              <a:spcAft>
                <a:spcPts val="0"/>
              </a:spcAft>
              <a:buSzPts val="1400"/>
              <a:buFont typeface="Montserrat"/>
              <a:buNone/>
              <a:defRPr b="1">
                <a:latin typeface="Montserrat"/>
                <a:ea typeface="Montserrat"/>
                <a:cs typeface="Montserrat"/>
                <a:sym typeface="Montserrat"/>
              </a:defRPr>
            </a:lvl2pPr>
            <a:lvl3pPr lvl="2" rtl="0">
              <a:lnSpc>
                <a:spcPct val="100000"/>
              </a:lnSpc>
              <a:spcBef>
                <a:spcPts val="0"/>
              </a:spcBef>
              <a:spcAft>
                <a:spcPts val="0"/>
              </a:spcAft>
              <a:buSzPts val="1400"/>
              <a:buFont typeface="Montserrat"/>
              <a:buNone/>
              <a:defRPr b="1">
                <a:latin typeface="Montserrat"/>
                <a:ea typeface="Montserrat"/>
                <a:cs typeface="Montserrat"/>
                <a:sym typeface="Montserrat"/>
              </a:defRPr>
            </a:lvl3pPr>
            <a:lvl4pPr lvl="3" rtl="0">
              <a:lnSpc>
                <a:spcPct val="100000"/>
              </a:lnSpc>
              <a:spcBef>
                <a:spcPts val="0"/>
              </a:spcBef>
              <a:spcAft>
                <a:spcPts val="0"/>
              </a:spcAft>
              <a:buSzPts val="1400"/>
              <a:buFont typeface="Montserrat"/>
              <a:buNone/>
              <a:defRPr b="1">
                <a:latin typeface="Montserrat"/>
                <a:ea typeface="Montserrat"/>
                <a:cs typeface="Montserrat"/>
                <a:sym typeface="Montserrat"/>
              </a:defRPr>
            </a:lvl4pPr>
            <a:lvl5pPr lvl="4" rtl="0">
              <a:lnSpc>
                <a:spcPct val="100000"/>
              </a:lnSpc>
              <a:spcBef>
                <a:spcPts val="0"/>
              </a:spcBef>
              <a:spcAft>
                <a:spcPts val="0"/>
              </a:spcAft>
              <a:buSzPts val="1400"/>
              <a:buFont typeface="Montserrat"/>
              <a:buNone/>
              <a:defRPr b="1">
                <a:latin typeface="Montserrat"/>
                <a:ea typeface="Montserrat"/>
                <a:cs typeface="Montserrat"/>
                <a:sym typeface="Montserrat"/>
              </a:defRPr>
            </a:lvl5pPr>
            <a:lvl6pPr lvl="5" rtl="0">
              <a:lnSpc>
                <a:spcPct val="100000"/>
              </a:lnSpc>
              <a:spcBef>
                <a:spcPts val="0"/>
              </a:spcBef>
              <a:spcAft>
                <a:spcPts val="0"/>
              </a:spcAft>
              <a:buSzPts val="1400"/>
              <a:buFont typeface="Montserrat"/>
              <a:buNone/>
              <a:defRPr b="1">
                <a:latin typeface="Montserrat"/>
                <a:ea typeface="Montserrat"/>
                <a:cs typeface="Montserrat"/>
                <a:sym typeface="Montserrat"/>
              </a:defRPr>
            </a:lvl6pPr>
            <a:lvl7pPr lvl="6" rtl="0">
              <a:lnSpc>
                <a:spcPct val="100000"/>
              </a:lnSpc>
              <a:spcBef>
                <a:spcPts val="0"/>
              </a:spcBef>
              <a:spcAft>
                <a:spcPts val="0"/>
              </a:spcAft>
              <a:buSzPts val="1400"/>
              <a:buFont typeface="Montserrat"/>
              <a:buNone/>
              <a:defRPr b="1">
                <a:latin typeface="Montserrat"/>
                <a:ea typeface="Montserrat"/>
                <a:cs typeface="Montserrat"/>
                <a:sym typeface="Montserrat"/>
              </a:defRPr>
            </a:lvl7pPr>
            <a:lvl8pPr lvl="7" rtl="0">
              <a:lnSpc>
                <a:spcPct val="100000"/>
              </a:lnSpc>
              <a:spcBef>
                <a:spcPts val="0"/>
              </a:spcBef>
              <a:spcAft>
                <a:spcPts val="0"/>
              </a:spcAft>
              <a:buSzPts val="1400"/>
              <a:buFont typeface="Montserrat"/>
              <a:buNone/>
              <a:defRPr b="1">
                <a:latin typeface="Montserrat"/>
                <a:ea typeface="Montserrat"/>
                <a:cs typeface="Montserrat"/>
                <a:sym typeface="Montserrat"/>
              </a:defRPr>
            </a:lvl8pPr>
            <a:lvl9pPr lvl="8" rtl="0">
              <a:lnSpc>
                <a:spcPct val="100000"/>
              </a:lnSpc>
              <a:spcBef>
                <a:spcPts val="0"/>
              </a:spcBef>
              <a:spcAft>
                <a:spcPts val="0"/>
              </a:spcAft>
              <a:buSzPts val="1400"/>
              <a:buFont typeface="Montserrat"/>
              <a:buNone/>
              <a:defRPr b="1">
                <a:latin typeface="Montserrat"/>
                <a:ea typeface="Montserrat"/>
                <a:cs typeface="Montserrat"/>
                <a:sym typeface="Montserrat"/>
              </a:defRPr>
            </a:lvl9pPr>
          </a:lstStyle>
          <a:p>
            <a:endParaRPr/>
          </a:p>
        </p:txBody>
      </p:sp>
      <p:sp>
        <p:nvSpPr>
          <p:cNvPr id="103" name="Google Shape;103;p17"/>
          <p:cNvSpPr txBox="1">
            <a:spLocks noGrp="1"/>
          </p:cNvSpPr>
          <p:nvPr>
            <p:ph type="title" idx="3" hasCustomPrompt="1"/>
          </p:nvPr>
        </p:nvSpPr>
        <p:spPr>
          <a:xfrm>
            <a:off x="3444988" y="1847825"/>
            <a:ext cx="341400" cy="3414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Clr>
                <a:srgbClr val="FFFFFF"/>
              </a:buClr>
              <a:buSzPts val="1400"/>
              <a:buFont typeface="Montserrat"/>
              <a:buNone/>
              <a:defRPr sz="1400" b="1">
                <a:solidFill>
                  <a:srgbClr val="FFFFFF"/>
                </a:solidFill>
                <a:latin typeface="Montserrat"/>
                <a:ea typeface="Montserrat"/>
                <a:cs typeface="Montserrat"/>
                <a:sym typeface="Montserrat"/>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r>
              <a:t>xx%</a:t>
            </a:r>
          </a:p>
        </p:txBody>
      </p:sp>
      <p:sp>
        <p:nvSpPr>
          <p:cNvPr id="104" name="Google Shape;104;p17"/>
          <p:cNvSpPr txBox="1">
            <a:spLocks noGrp="1"/>
          </p:cNvSpPr>
          <p:nvPr>
            <p:ph type="subTitle" idx="4"/>
          </p:nvPr>
        </p:nvSpPr>
        <p:spPr>
          <a:xfrm>
            <a:off x="3349988" y="2457880"/>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05" name="Google Shape;105;p17"/>
          <p:cNvSpPr txBox="1">
            <a:spLocks noGrp="1"/>
          </p:cNvSpPr>
          <p:nvPr>
            <p:ph type="subTitle" idx="5"/>
          </p:nvPr>
        </p:nvSpPr>
        <p:spPr>
          <a:xfrm>
            <a:off x="3349988" y="1967307"/>
            <a:ext cx="2679000" cy="6066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lnSpc>
                <a:spcPct val="100000"/>
              </a:lnSpc>
              <a:spcBef>
                <a:spcPts val="0"/>
              </a:spcBef>
              <a:spcAft>
                <a:spcPts val="0"/>
              </a:spcAft>
              <a:buSzPts val="1400"/>
              <a:buFont typeface="Montserrat"/>
              <a:buNone/>
              <a:defRPr b="1">
                <a:latin typeface="Montserrat"/>
                <a:ea typeface="Montserrat"/>
                <a:cs typeface="Montserrat"/>
                <a:sym typeface="Montserrat"/>
              </a:defRPr>
            </a:lvl2pPr>
            <a:lvl3pPr lvl="2" rtl="0">
              <a:lnSpc>
                <a:spcPct val="100000"/>
              </a:lnSpc>
              <a:spcBef>
                <a:spcPts val="0"/>
              </a:spcBef>
              <a:spcAft>
                <a:spcPts val="0"/>
              </a:spcAft>
              <a:buSzPts val="1400"/>
              <a:buFont typeface="Montserrat"/>
              <a:buNone/>
              <a:defRPr b="1">
                <a:latin typeface="Montserrat"/>
                <a:ea typeface="Montserrat"/>
                <a:cs typeface="Montserrat"/>
                <a:sym typeface="Montserrat"/>
              </a:defRPr>
            </a:lvl3pPr>
            <a:lvl4pPr lvl="3" rtl="0">
              <a:lnSpc>
                <a:spcPct val="100000"/>
              </a:lnSpc>
              <a:spcBef>
                <a:spcPts val="0"/>
              </a:spcBef>
              <a:spcAft>
                <a:spcPts val="0"/>
              </a:spcAft>
              <a:buSzPts val="1400"/>
              <a:buFont typeface="Montserrat"/>
              <a:buNone/>
              <a:defRPr b="1">
                <a:latin typeface="Montserrat"/>
                <a:ea typeface="Montserrat"/>
                <a:cs typeface="Montserrat"/>
                <a:sym typeface="Montserrat"/>
              </a:defRPr>
            </a:lvl4pPr>
            <a:lvl5pPr lvl="4" rtl="0">
              <a:lnSpc>
                <a:spcPct val="100000"/>
              </a:lnSpc>
              <a:spcBef>
                <a:spcPts val="0"/>
              </a:spcBef>
              <a:spcAft>
                <a:spcPts val="0"/>
              </a:spcAft>
              <a:buSzPts val="1400"/>
              <a:buFont typeface="Montserrat"/>
              <a:buNone/>
              <a:defRPr b="1">
                <a:latin typeface="Montserrat"/>
                <a:ea typeface="Montserrat"/>
                <a:cs typeface="Montserrat"/>
                <a:sym typeface="Montserrat"/>
              </a:defRPr>
            </a:lvl5pPr>
            <a:lvl6pPr lvl="5" rtl="0">
              <a:lnSpc>
                <a:spcPct val="100000"/>
              </a:lnSpc>
              <a:spcBef>
                <a:spcPts val="0"/>
              </a:spcBef>
              <a:spcAft>
                <a:spcPts val="0"/>
              </a:spcAft>
              <a:buSzPts val="1400"/>
              <a:buFont typeface="Montserrat"/>
              <a:buNone/>
              <a:defRPr b="1">
                <a:latin typeface="Montserrat"/>
                <a:ea typeface="Montserrat"/>
                <a:cs typeface="Montserrat"/>
                <a:sym typeface="Montserrat"/>
              </a:defRPr>
            </a:lvl6pPr>
            <a:lvl7pPr lvl="6" rtl="0">
              <a:lnSpc>
                <a:spcPct val="100000"/>
              </a:lnSpc>
              <a:spcBef>
                <a:spcPts val="0"/>
              </a:spcBef>
              <a:spcAft>
                <a:spcPts val="0"/>
              </a:spcAft>
              <a:buSzPts val="1400"/>
              <a:buFont typeface="Montserrat"/>
              <a:buNone/>
              <a:defRPr b="1">
                <a:latin typeface="Montserrat"/>
                <a:ea typeface="Montserrat"/>
                <a:cs typeface="Montserrat"/>
                <a:sym typeface="Montserrat"/>
              </a:defRPr>
            </a:lvl7pPr>
            <a:lvl8pPr lvl="7" rtl="0">
              <a:lnSpc>
                <a:spcPct val="100000"/>
              </a:lnSpc>
              <a:spcBef>
                <a:spcPts val="0"/>
              </a:spcBef>
              <a:spcAft>
                <a:spcPts val="0"/>
              </a:spcAft>
              <a:buSzPts val="1400"/>
              <a:buFont typeface="Montserrat"/>
              <a:buNone/>
              <a:defRPr b="1">
                <a:latin typeface="Montserrat"/>
                <a:ea typeface="Montserrat"/>
                <a:cs typeface="Montserrat"/>
                <a:sym typeface="Montserrat"/>
              </a:defRPr>
            </a:lvl8pPr>
            <a:lvl9pPr lvl="8" rtl="0">
              <a:lnSpc>
                <a:spcPct val="100000"/>
              </a:lnSpc>
              <a:spcBef>
                <a:spcPts val="0"/>
              </a:spcBef>
              <a:spcAft>
                <a:spcPts val="0"/>
              </a:spcAft>
              <a:buSzPts val="1400"/>
              <a:buFont typeface="Montserrat"/>
              <a:buNone/>
              <a:defRPr b="1">
                <a:latin typeface="Montserrat"/>
                <a:ea typeface="Montserrat"/>
                <a:cs typeface="Montserrat"/>
                <a:sym typeface="Montserrat"/>
              </a:defRPr>
            </a:lvl9pPr>
          </a:lstStyle>
          <a:p>
            <a:endParaRPr/>
          </a:p>
        </p:txBody>
      </p:sp>
      <p:sp>
        <p:nvSpPr>
          <p:cNvPr id="106" name="Google Shape;106;p17"/>
          <p:cNvSpPr txBox="1">
            <a:spLocks noGrp="1"/>
          </p:cNvSpPr>
          <p:nvPr>
            <p:ph type="title" idx="6" hasCustomPrompt="1"/>
          </p:nvPr>
        </p:nvSpPr>
        <p:spPr>
          <a:xfrm>
            <a:off x="6168313" y="1847825"/>
            <a:ext cx="341400" cy="3414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Clr>
                <a:srgbClr val="FFFFFF"/>
              </a:buClr>
              <a:buSzPts val="1400"/>
              <a:buFont typeface="Montserrat"/>
              <a:buNone/>
              <a:defRPr sz="1400" b="1">
                <a:solidFill>
                  <a:srgbClr val="FFFFFF"/>
                </a:solidFill>
                <a:latin typeface="Montserrat"/>
                <a:ea typeface="Montserrat"/>
                <a:cs typeface="Montserrat"/>
                <a:sym typeface="Montserrat"/>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r>
              <a:t>xx%</a:t>
            </a:r>
          </a:p>
        </p:txBody>
      </p:sp>
      <p:sp>
        <p:nvSpPr>
          <p:cNvPr id="107" name="Google Shape;107;p17"/>
          <p:cNvSpPr txBox="1">
            <a:spLocks noGrp="1"/>
          </p:cNvSpPr>
          <p:nvPr>
            <p:ph type="subTitle" idx="7"/>
          </p:nvPr>
        </p:nvSpPr>
        <p:spPr>
          <a:xfrm>
            <a:off x="6073313" y="2457880"/>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08" name="Google Shape;108;p17"/>
          <p:cNvSpPr txBox="1">
            <a:spLocks noGrp="1"/>
          </p:cNvSpPr>
          <p:nvPr>
            <p:ph type="subTitle" idx="8"/>
          </p:nvPr>
        </p:nvSpPr>
        <p:spPr>
          <a:xfrm>
            <a:off x="6073313" y="1967307"/>
            <a:ext cx="2679000" cy="6066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lnSpc>
                <a:spcPct val="100000"/>
              </a:lnSpc>
              <a:spcBef>
                <a:spcPts val="0"/>
              </a:spcBef>
              <a:spcAft>
                <a:spcPts val="0"/>
              </a:spcAft>
              <a:buSzPts val="1400"/>
              <a:buFont typeface="Montserrat"/>
              <a:buNone/>
              <a:defRPr b="1">
                <a:latin typeface="Montserrat"/>
                <a:ea typeface="Montserrat"/>
                <a:cs typeface="Montserrat"/>
                <a:sym typeface="Montserrat"/>
              </a:defRPr>
            </a:lvl2pPr>
            <a:lvl3pPr lvl="2" rtl="0">
              <a:lnSpc>
                <a:spcPct val="100000"/>
              </a:lnSpc>
              <a:spcBef>
                <a:spcPts val="0"/>
              </a:spcBef>
              <a:spcAft>
                <a:spcPts val="0"/>
              </a:spcAft>
              <a:buSzPts val="1400"/>
              <a:buFont typeface="Montserrat"/>
              <a:buNone/>
              <a:defRPr b="1">
                <a:latin typeface="Montserrat"/>
                <a:ea typeface="Montserrat"/>
                <a:cs typeface="Montserrat"/>
                <a:sym typeface="Montserrat"/>
              </a:defRPr>
            </a:lvl3pPr>
            <a:lvl4pPr lvl="3" rtl="0">
              <a:lnSpc>
                <a:spcPct val="100000"/>
              </a:lnSpc>
              <a:spcBef>
                <a:spcPts val="0"/>
              </a:spcBef>
              <a:spcAft>
                <a:spcPts val="0"/>
              </a:spcAft>
              <a:buSzPts val="1400"/>
              <a:buFont typeface="Montserrat"/>
              <a:buNone/>
              <a:defRPr b="1">
                <a:latin typeface="Montserrat"/>
                <a:ea typeface="Montserrat"/>
                <a:cs typeface="Montserrat"/>
                <a:sym typeface="Montserrat"/>
              </a:defRPr>
            </a:lvl4pPr>
            <a:lvl5pPr lvl="4" rtl="0">
              <a:lnSpc>
                <a:spcPct val="100000"/>
              </a:lnSpc>
              <a:spcBef>
                <a:spcPts val="0"/>
              </a:spcBef>
              <a:spcAft>
                <a:spcPts val="0"/>
              </a:spcAft>
              <a:buSzPts val="1400"/>
              <a:buFont typeface="Montserrat"/>
              <a:buNone/>
              <a:defRPr b="1">
                <a:latin typeface="Montserrat"/>
                <a:ea typeface="Montserrat"/>
                <a:cs typeface="Montserrat"/>
                <a:sym typeface="Montserrat"/>
              </a:defRPr>
            </a:lvl5pPr>
            <a:lvl6pPr lvl="5" rtl="0">
              <a:lnSpc>
                <a:spcPct val="100000"/>
              </a:lnSpc>
              <a:spcBef>
                <a:spcPts val="0"/>
              </a:spcBef>
              <a:spcAft>
                <a:spcPts val="0"/>
              </a:spcAft>
              <a:buSzPts val="1400"/>
              <a:buFont typeface="Montserrat"/>
              <a:buNone/>
              <a:defRPr b="1">
                <a:latin typeface="Montserrat"/>
                <a:ea typeface="Montserrat"/>
                <a:cs typeface="Montserrat"/>
                <a:sym typeface="Montserrat"/>
              </a:defRPr>
            </a:lvl6pPr>
            <a:lvl7pPr lvl="6" rtl="0">
              <a:lnSpc>
                <a:spcPct val="100000"/>
              </a:lnSpc>
              <a:spcBef>
                <a:spcPts val="0"/>
              </a:spcBef>
              <a:spcAft>
                <a:spcPts val="0"/>
              </a:spcAft>
              <a:buSzPts val="1400"/>
              <a:buFont typeface="Montserrat"/>
              <a:buNone/>
              <a:defRPr b="1">
                <a:latin typeface="Montserrat"/>
                <a:ea typeface="Montserrat"/>
                <a:cs typeface="Montserrat"/>
                <a:sym typeface="Montserrat"/>
              </a:defRPr>
            </a:lvl7pPr>
            <a:lvl8pPr lvl="7" rtl="0">
              <a:lnSpc>
                <a:spcPct val="100000"/>
              </a:lnSpc>
              <a:spcBef>
                <a:spcPts val="0"/>
              </a:spcBef>
              <a:spcAft>
                <a:spcPts val="0"/>
              </a:spcAft>
              <a:buSzPts val="1400"/>
              <a:buFont typeface="Montserrat"/>
              <a:buNone/>
              <a:defRPr b="1">
                <a:latin typeface="Montserrat"/>
                <a:ea typeface="Montserrat"/>
                <a:cs typeface="Montserrat"/>
                <a:sym typeface="Montserrat"/>
              </a:defRPr>
            </a:lvl8pPr>
            <a:lvl9pPr lvl="8" rtl="0">
              <a:lnSpc>
                <a:spcPct val="100000"/>
              </a:lnSpc>
              <a:spcBef>
                <a:spcPts val="0"/>
              </a:spcBef>
              <a:spcAft>
                <a:spcPts val="0"/>
              </a:spcAft>
              <a:buSzPts val="1400"/>
              <a:buFont typeface="Montserrat"/>
              <a:buNone/>
              <a:defRPr b="1">
                <a:latin typeface="Montserrat"/>
                <a:ea typeface="Montserrat"/>
                <a:cs typeface="Montserrat"/>
                <a:sym typeface="Montserrat"/>
              </a:defRPr>
            </a:lvl9pPr>
          </a:lstStyle>
          <a:p>
            <a:endParaRPr/>
          </a:p>
        </p:txBody>
      </p:sp>
      <p:sp>
        <p:nvSpPr>
          <p:cNvPr id="109" name="Google Shape;109;p17"/>
          <p:cNvSpPr txBox="1">
            <a:spLocks noGrp="1"/>
          </p:cNvSpPr>
          <p:nvPr>
            <p:ph type="title" idx="9" hasCustomPrompt="1"/>
          </p:nvPr>
        </p:nvSpPr>
        <p:spPr>
          <a:xfrm>
            <a:off x="721675" y="3293625"/>
            <a:ext cx="341400" cy="3414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Clr>
                <a:srgbClr val="FFFFFF"/>
              </a:buClr>
              <a:buSzPts val="1400"/>
              <a:buFont typeface="Montserrat"/>
              <a:buNone/>
              <a:defRPr sz="1400" b="1">
                <a:solidFill>
                  <a:srgbClr val="FFFFFF"/>
                </a:solidFill>
                <a:latin typeface="Montserrat"/>
                <a:ea typeface="Montserrat"/>
                <a:cs typeface="Montserrat"/>
                <a:sym typeface="Montserrat"/>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r>
              <a:t>xx%</a:t>
            </a:r>
          </a:p>
        </p:txBody>
      </p:sp>
      <p:sp>
        <p:nvSpPr>
          <p:cNvPr id="110" name="Google Shape;110;p17"/>
          <p:cNvSpPr txBox="1">
            <a:spLocks noGrp="1"/>
          </p:cNvSpPr>
          <p:nvPr>
            <p:ph type="subTitle" idx="13"/>
          </p:nvPr>
        </p:nvSpPr>
        <p:spPr>
          <a:xfrm>
            <a:off x="626675" y="3903680"/>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11" name="Google Shape;111;p17"/>
          <p:cNvSpPr txBox="1">
            <a:spLocks noGrp="1"/>
          </p:cNvSpPr>
          <p:nvPr>
            <p:ph type="subTitle" idx="14"/>
          </p:nvPr>
        </p:nvSpPr>
        <p:spPr>
          <a:xfrm>
            <a:off x="626675" y="3413107"/>
            <a:ext cx="2679000" cy="6066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lnSpc>
                <a:spcPct val="100000"/>
              </a:lnSpc>
              <a:spcBef>
                <a:spcPts val="0"/>
              </a:spcBef>
              <a:spcAft>
                <a:spcPts val="0"/>
              </a:spcAft>
              <a:buSzPts val="1400"/>
              <a:buFont typeface="Montserrat"/>
              <a:buNone/>
              <a:defRPr b="1">
                <a:latin typeface="Montserrat"/>
                <a:ea typeface="Montserrat"/>
                <a:cs typeface="Montserrat"/>
                <a:sym typeface="Montserrat"/>
              </a:defRPr>
            </a:lvl2pPr>
            <a:lvl3pPr lvl="2" rtl="0">
              <a:lnSpc>
                <a:spcPct val="100000"/>
              </a:lnSpc>
              <a:spcBef>
                <a:spcPts val="0"/>
              </a:spcBef>
              <a:spcAft>
                <a:spcPts val="0"/>
              </a:spcAft>
              <a:buSzPts val="1400"/>
              <a:buFont typeface="Montserrat"/>
              <a:buNone/>
              <a:defRPr b="1">
                <a:latin typeface="Montserrat"/>
                <a:ea typeface="Montserrat"/>
                <a:cs typeface="Montserrat"/>
                <a:sym typeface="Montserrat"/>
              </a:defRPr>
            </a:lvl3pPr>
            <a:lvl4pPr lvl="3" rtl="0">
              <a:lnSpc>
                <a:spcPct val="100000"/>
              </a:lnSpc>
              <a:spcBef>
                <a:spcPts val="0"/>
              </a:spcBef>
              <a:spcAft>
                <a:spcPts val="0"/>
              </a:spcAft>
              <a:buSzPts val="1400"/>
              <a:buFont typeface="Montserrat"/>
              <a:buNone/>
              <a:defRPr b="1">
                <a:latin typeface="Montserrat"/>
                <a:ea typeface="Montserrat"/>
                <a:cs typeface="Montserrat"/>
                <a:sym typeface="Montserrat"/>
              </a:defRPr>
            </a:lvl4pPr>
            <a:lvl5pPr lvl="4" rtl="0">
              <a:lnSpc>
                <a:spcPct val="100000"/>
              </a:lnSpc>
              <a:spcBef>
                <a:spcPts val="0"/>
              </a:spcBef>
              <a:spcAft>
                <a:spcPts val="0"/>
              </a:spcAft>
              <a:buSzPts val="1400"/>
              <a:buFont typeface="Montserrat"/>
              <a:buNone/>
              <a:defRPr b="1">
                <a:latin typeface="Montserrat"/>
                <a:ea typeface="Montserrat"/>
                <a:cs typeface="Montserrat"/>
                <a:sym typeface="Montserrat"/>
              </a:defRPr>
            </a:lvl5pPr>
            <a:lvl6pPr lvl="5" rtl="0">
              <a:lnSpc>
                <a:spcPct val="100000"/>
              </a:lnSpc>
              <a:spcBef>
                <a:spcPts val="0"/>
              </a:spcBef>
              <a:spcAft>
                <a:spcPts val="0"/>
              </a:spcAft>
              <a:buSzPts val="1400"/>
              <a:buFont typeface="Montserrat"/>
              <a:buNone/>
              <a:defRPr b="1">
                <a:latin typeface="Montserrat"/>
                <a:ea typeface="Montserrat"/>
                <a:cs typeface="Montserrat"/>
                <a:sym typeface="Montserrat"/>
              </a:defRPr>
            </a:lvl6pPr>
            <a:lvl7pPr lvl="6" rtl="0">
              <a:lnSpc>
                <a:spcPct val="100000"/>
              </a:lnSpc>
              <a:spcBef>
                <a:spcPts val="0"/>
              </a:spcBef>
              <a:spcAft>
                <a:spcPts val="0"/>
              </a:spcAft>
              <a:buSzPts val="1400"/>
              <a:buFont typeface="Montserrat"/>
              <a:buNone/>
              <a:defRPr b="1">
                <a:latin typeface="Montserrat"/>
                <a:ea typeface="Montserrat"/>
                <a:cs typeface="Montserrat"/>
                <a:sym typeface="Montserrat"/>
              </a:defRPr>
            </a:lvl7pPr>
            <a:lvl8pPr lvl="7" rtl="0">
              <a:lnSpc>
                <a:spcPct val="100000"/>
              </a:lnSpc>
              <a:spcBef>
                <a:spcPts val="0"/>
              </a:spcBef>
              <a:spcAft>
                <a:spcPts val="0"/>
              </a:spcAft>
              <a:buSzPts val="1400"/>
              <a:buFont typeface="Montserrat"/>
              <a:buNone/>
              <a:defRPr b="1">
                <a:latin typeface="Montserrat"/>
                <a:ea typeface="Montserrat"/>
                <a:cs typeface="Montserrat"/>
                <a:sym typeface="Montserrat"/>
              </a:defRPr>
            </a:lvl8pPr>
            <a:lvl9pPr lvl="8" rtl="0">
              <a:lnSpc>
                <a:spcPct val="100000"/>
              </a:lnSpc>
              <a:spcBef>
                <a:spcPts val="0"/>
              </a:spcBef>
              <a:spcAft>
                <a:spcPts val="0"/>
              </a:spcAft>
              <a:buSzPts val="1400"/>
              <a:buFont typeface="Montserrat"/>
              <a:buNone/>
              <a:defRPr b="1">
                <a:latin typeface="Montserrat"/>
                <a:ea typeface="Montserrat"/>
                <a:cs typeface="Montserrat"/>
                <a:sym typeface="Montserrat"/>
              </a:defRPr>
            </a:lvl9pPr>
          </a:lstStyle>
          <a:p>
            <a:endParaRPr/>
          </a:p>
        </p:txBody>
      </p:sp>
      <p:sp>
        <p:nvSpPr>
          <p:cNvPr id="112" name="Google Shape;112;p17"/>
          <p:cNvSpPr txBox="1">
            <a:spLocks noGrp="1"/>
          </p:cNvSpPr>
          <p:nvPr>
            <p:ph type="title" idx="15" hasCustomPrompt="1"/>
          </p:nvPr>
        </p:nvSpPr>
        <p:spPr>
          <a:xfrm>
            <a:off x="3444988" y="3293625"/>
            <a:ext cx="341400" cy="3414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Clr>
                <a:srgbClr val="FFFFFF"/>
              </a:buClr>
              <a:buSzPts val="1400"/>
              <a:buFont typeface="Montserrat"/>
              <a:buNone/>
              <a:defRPr sz="1400" b="1">
                <a:solidFill>
                  <a:srgbClr val="FFFFFF"/>
                </a:solidFill>
                <a:latin typeface="Montserrat"/>
                <a:ea typeface="Montserrat"/>
                <a:cs typeface="Montserrat"/>
                <a:sym typeface="Montserrat"/>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r>
              <a:t>xx%</a:t>
            </a:r>
          </a:p>
        </p:txBody>
      </p:sp>
      <p:sp>
        <p:nvSpPr>
          <p:cNvPr id="113" name="Google Shape;113;p17"/>
          <p:cNvSpPr txBox="1">
            <a:spLocks noGrp="1"/>
          </p:cNvSpPr>
          <p:nvPr>
            <p:ph type="subTitle" idx="16"/>
          </p:nvPr>
        </p:nvSpPr>
        <p:spPr>
          <a:xfrm>
            <a:off x="3349988" y="3903680"/>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14" name="Google Shape;114;p17"/>
          <p:cNvSpPr txBox="1">
            <a:spLocks noGrp="1"/>
          </p:cNvSpPr>
          <p:nvPr>
            <p:ph type="subTitle" idx="17"/>
          </p:nvPr>
        </p:nvSpPr>
        <p:spPr>
          <a:xfrm>
            <a:off x="3349988" y="3413107"/>
            <a:ext cx="2679000" cy="6066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lnSpc>
                <a:spcPct val="100000"/>
              </a:lnSpc>
              <a:spcBef>
                <a:spcPts val="0"/>
              </a:spcBef>
              <a:spcAft>
                <a:spcPts val="0"/>
              </a:spcAft>
              <a:buSzPts val="1400"/>
              <a:buFont typeface="Montserrat"/>
              <a:buNone/>
              <a:defRPr b="1">
                <a:latin typeface="Montserrat"/>
                <a:ea typeface="Montserrat"/>
                <a:cs typeface="Montserrat"/>
                <a:sym typeface="Montserrat"/>
              </a:defRPr>
            </a:lvl2pPr>
            <a:lvl3pPr lvl="2" rtl="0">
              <a:lnSpc>
                <a:spcPct val="100000"/>
              </a:lnSpc>
              <a:spcBef>
                <a:spcPts val="0"/>
              </a:spcBef>
              <a:spcAft>
                <a:spcPts val="0"/>
              </a:spcAft>
              <a:buSzPts val="1400"/>
              <a:buFont typeface="Montserrat"/>
              <a:buNone/>
              <a:defRPr b="1">
                <a:latin typeface="Montserrat"/>
                <a:ea typeface="Montserrat"/>
                <a:cs typeface="Montserrat"/>
                <a:sym typeface="Montserrat"/>
              </a:defRPr>
            </a:lvl3pPr>
            <a:lvl4pPr lvl="3" rtl="0">
              <a:lnSpc>
                <a:spcPct val="100000"/>
              </a:lnSpc>
              <a:spcBef>
                <a:spcPts val="0"/>
              </a:spcBef>
              <a:spcAft>
                <a:spcPts val="0"/>
              </a:spcAft>
              <a:buSzPts val="1400"/>
              <a:buFont typeface="Montserrat"/>
              <a:buNone/>
              <a:defRPr b="1">
                <a:latin typeface="Montserrat"/>
                <a:ea typeface="Montserrat"/>
                <a:cs typeface="Montserrat"/>
                <a:sym typeface="Montserrat"/>
              </a:defRPr>
            </a:lvl4pPr>
            <a:lvl5pPr lvl="4" rtl="0">
              <a:lnSpc>
                <a:spcPct val="100000"/>
              </a:lnSpc>
              <a:spcBef>
                <a:spcPts val="0"/>
              </a:spcBef>
              <a:spcAft>
                <a:spcPts val="0"/>
              </a:spcAft>
              <a:buSzPts val="1400"/>
              <a:buFont typeface="Montserrat"/>
              <a:buNone/>
              <a:defRPr b="1">
                <a:latin typeface="Montserrat"/>
                <a:ea typeface="Montserrat"/>
                <a:cs typeface="Montserrat"/>
                <a:sym typeface="Montserrat"/>
              </a:defRPr>
            </a:lvl5pPr>
            <a:lvl6pPr lvl="5" rtl="0">
              <a:lnSpc>
                <a:spcPct val="100000"/>
              </a:lnSpc>
              <a:spcBef>
                <a:spcPts val="0"/>
              </a:spcBef>
              <a:spcAft>
                <a:spcPts val="0"/>
              </a:spcAft>
              <a:buSzPts val="1400"/>
              <a:buFont typeface="Montserrat"/>
              <a:buNone/>
              <a:defRPr b="1">
                <a:latin typeface="Montserrat"/>
                <a:ea typeface="Montserrat"/>
                <a:cs typeface="Montserrat"/>
                <a:sym typeface="Montserrat"/>
              </a:defRPr>
            </a:lvl6pPr>
            <a:lvl7pPr lvl="6" rtl="0">
              <a:lnSpc>
                <a:spcPct val="100000"/>
              </a:lnSpc>
              <a:spcBef>
                <a:spcPts val="0"/>
              </a:spcBef>
              <a:spcAft>
                <a:spcPts val="0"/>
              </a:spcAft>
              <a:buSzPts val="1400"/>
              <a:buFont typeface="Montserrat"/>
              <a:buNone/>
              <a:defRPr b="1">
                <a:latin typeface="Montserrat"/>
                <a:ea typeface="Montserrat"/>
                <a:cs typeface="Montserrat"/>
                <a:sym typeface="Montserrat"/>
              </a:defRPr>
            </a:lvl7pPr>
            <a:lvl8pPr lvl="7" rtl="0">
              <a:lnSpc>
                <a:spcPct val="100000"/>
              </a:lnSpc>
              <a:spcBef>
                <a:spcPts val="0"/>
              </a:spcBef>
              <a:spcAft>
                <a:spcPts val="0"/>
              </a:spcAft>
              <a:buSzPts val="1400"/>
              <a:buFont typeface="Montserrat"/>
              <a:buNone/>
              <a:defRPr b="1">
                <a:latin typeface="Montserrat"/>
                <a:ea typeface="Montserrat"/>
                <a:cs typeface="Montserrat"/>
                <a:sym typeface="Montserrat"/>
              </a:defRPr>
            </a:lvl8pPr>
            <a:lvl9pPr lvl="8" rtl="0">
              <a:lnSpc>
                <a:spcPct val="100000"/>
              </a:lnSpc>
              <a:spcBef>
                <a:spcPts val="0"/>
              </a:spcBef>
              <a:spcAft>
                <a:spcPts val="0"/>
              </a:spcAft>
              <a:buSzPts val="1400"/>
              <a:buFont typeface="Montserrat"/>
              <a:buNone/>
              <a:defRPr b="1">
                <a:latin typeface="Montserrat"/>
                <a:ea typeface="Montserrat"/>
                <a:cs typeface="Montserrat"/>
                <a:sym typeface="Montserrat"/>
              </a:defRPr>
            </a:lvl9pPr>
          </a:lstStyle>
          <a:p>
            <a:endParaRPr/>
          </a:p>
        </p:txBody>
      </p:sp>
      <p:sp>
        <p:nvSpPr>
          <p:cNvPr id="115" name="Google Shape;115;p17"/>
          <p:cNvSpPr txBox="1">
            <a:spLocks noGrp="1"/>
          </p:cNvSpPr>
          <p:nvPr>
            <p:ph type="title" idx="18" hasCustomPrompt="1"/>
          </p:nvPr>
        </p:nvSpPr>
        <p:spPr>
          <a:xfrm>
            <a:off x="6168313" y="3293625"/>
            <a:ext cx="341400" cy="3414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Clr>
                <a:srgbClr val="FFFFFF"/>
              </a:buClr>
              <a:buSzPts val="1400"/>
              <a:buFont typeface="Montserrat"/>
              <a:buNone/>
              <a:defRPr sz="1400" b="1">
                <a:solidFill>
                  <a:srgbClr val="FFFFFF"/>
                </a:solidFill>
                <a:latin typeface="Montserrat"/>
                <a:ea typeface="Montserrat"/>
                <a:cs typeface="Montserrat"/>
                <a:sym typeface="Montserrat"/>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r>
              <a:t>xx%</a:t>
            </a:r>
          </a:p>
        </p:txBody>
      </p:sp>
      <p:sp>
        <p:nvSpPr>
          <p:cNvPr id="116" name="Google Shape;116;p17"/>
          <p:cNvSpPr txBox="1">
            <a:spLocks noGrp="1"/>
          </p:cNvSpPr>
          <p:nvPr>
            <p:ph type="subTitle" idx="19"/>
          </p:nvPr>
        </p:nvSpPr>
        <p:spPr>
          <a:xfrm>
            <a:off x="6073313" y="3903680"/>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17" name="Google Shape;117;p17"/>
          <p:cNvSpPr txBox="1">
            <a:spLocks noGrp="1"/>
          </p:cNvSpPr>
          <p:nvPr>
            <p:ph type="subTitle" idx="20"/>
          </p:nvPr>
        </p:nvSpPr>
        <p:spPr>
          <a:xfrm>
            <a:off x="6073313" y="3413107"/>
            <a:ext cx="2679000" cy="6066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chemeClr val="accent5"/>
              </a:buClr>
              <a:buSzPts val="1400"/>
              <a:buFont typeface="Montserrat"/>
              <a:buNone/>
              <a:defRPr sz="1400" b="1">
                <a:solidFill>
                  <a:schemeClr val="accent5"/>
                </a:solidFill>
                <a:latin typeface="Montserrat"/>
                <a:ea typeface="Montserrat"/>
                <a:cs typeface="Montserrat"/>
                <a:sym typeface="Montserrat"/>
              </a:defRPr>
            </a:lvl1pPr>
            <a:lvl2pPr lvl="1" rtl="0">
              <a:lnSpc>
                <a:spcPct val="100000"/>
              </a:lnSpc>
              <a:spcBef>
                <a:spcPts val="0"/>
              </a:spcBef>
              <a:spcAft>
                <a:spcPts val="0"/>
              </a:spcAft>
              <a:buSzPts val="1400"/>
              <a:buFont typeface="Montserrat"/>
              <a:buNone/>
              <a:defRPr b="1">
                <a:latin typeface="Montserrat"/>
                <a:ea typeface="Montserrat"/>
                <a:cs typeface="Montserrat"/>
                <a:sym typeface="Montserrat"/>
              </a:defRPr>
            </a:lvl2pPr>
            <a:lvl3pPr lvl="2" rtl="0">
              <a:lnSpc>
                <a:spcPct val="100000"/>
              </a:lnSpc>
              <a:spcBef>
                <a:spcPts val="0"/>
              </a:spcBef>
              <a:spcAft>
                <a:spcPts val="0"/>
              </a:spcAft>
              <a:buSzPts val="1400"/>
              <a:buFont typeface="Montserrat"/>
              <a:buNone/>
              <a:defRPr b="1">
                <a:latin typeface="Montserrat"/>
                <a:ea typeface="Montserrat"/>
                <a:cs typeface="Montserrat"/>
                <a:sym typeface="Montserrat"/>
              </a:defRPr>
            </a:lvl3pPr>
            <a:lvl4pPr lvl="3" rtl="0">
              <a:lnSpc>
                <a:spcPct val="100000"/>
              </a:lnSpc>
              <a:spcBef>
                <a:spcPts val="0"/>
              </a:spcBef>
              <a:spcAft>
                <a:spcPts val="0"/>
              </a:spcAft>
              <a:buSzPts val="1400"/>
              <a:buFont typeface="Montserrat"/>
              <a:buNone/>
              <a:defRPr b="1">
                <a:latin typeface="Montserrat"/>
                <a:ea typeface="Montserrat"/>
                <a:cs typeface="Montserrat"/>
                <a:sym typeface="Montserrat"/>
              </a:defRPr>
            </a:lvl4pPr>
            <a:lvl5pPr lvl="4" rtl="0">
              <a:lnSpc>
                <a:spcPct val="100000"/>
              </a:lnSpc>
              <a:spcBef>
                <a:spcPts val="0"/>
              </a:spcBef>
              <a:spcAft>
                <a:spcPts val="0"/>
              </a:spcAft>
              <a:buSzPts val="1400"/>
              <a:buFont typeface="Montserrat"/>
              <a:buNone/>
              <a:defRPr b="1">
                <a:latin typeface="Montserrat"/>
                <a:ea typeface="Montserrat"/>
                <a:cs typeface="Montserrat"/>
                <a:sym typeface="Montserrat"/>
              </a:defRPr>
            </a:lvl5pPr>
            <a:lvl6pPr lvl="5" rtl="0">
              <a:lnSpc>
                <a:spcPct val="100000"/>
              </a:lnSpc>
              <a:spcBef>
                <a:spcPts val="0"/>
              </a:spcBef>
              <a:spcAft>
                <a:spcPts val="0"/>
              </a:spcAft>
              <a:buSzPts val="1400"/>
              <a:buFont typeface="Montserrat"/>
              <a:buNone/>
              <a:defRPr b="1">
                <a:latin typeface="Montserrat"/>
                <a:ea typeface="Montserrat"/>
                <a:cs typeface="Montserrat"/>
                <a:sym typeface="Montserrat"/>
              </a:defRPr>
            </a:lvl6pPr>
            <a:lvl7pPr lvl="6" rtl="0">
              <a:lnSpc>
                <a:spcPct val="100000"/>
              </a:lnSpc>
              <a:spcBef>
                <a:spcPts val="0"/>
              </a:spcBef>
              <a:spcAft>
                <a:spcPts val="0"/>
              </a:spcAft>
              <a:buSzPts val="1400"/>
              <a:buFont typeface="Montserrat"/>
              <a:buNone/>
              <a:defRPr b="1">
                <a:latin typeface="Montserrat"/>
                <a:ea typeface="Montserrat"/>
                <a:cs typeface="Montserrat"/>
                <a:sym typeface="Montserrat"/>
              </a:defRPr>
            </a:lvl7pPr>
            <a:lvl8pPr lvl="7" rtl="0">
              <a:lnSpc>
                <a:spcPct val="100000"/>
              </a:lnSpc>
              <a:spcBef>
                <a:spcPts val="0"/>
              </a:spcBef>
              <a:spcAft>
                <a:spcPts val="0"/>
              </a:spcAft>
              <a:buSzPts val="1400"/>
              <a:buFont typeface="Montserrat"/>
              <a:buNone/>
              <a:defRPr b="1">
                <a:latin typeface="Montserrat"/>
                <a:ea typeface="Montserrat"/>
                <a:cs typeface="Montserrat"/>
                <a:sym typeface="Montserrat"/>
              </a:defRPr>
            </a:lvl8pPr>
            <a:lvl9pPr lvl="8" rtl="0">
              <a:lnSpc>
                <a:spcPct val="100000"/>
              </a:lnSpc>
              <a:spcBef>
                <a:spcPts val="0"/>
              </a:spcBef>
              <a:spcAft>
                <a:spcPts val="0"/>
              </a:spcAft>
              <a:buSzPts val="1400"/>
              <a:buFont typeface="Montserrat"/>
              <a:buNone/>
              <a:defRPr b="1">
                <a:latin typeface="Montserrat"/>
                <a:ea typeface="Montserrat"/>
                <a:cs typeface="Montserrat"/>
                <a:sym typeface="Montserrat"/>
              </a:defRPr>
            </a:lvl9pPr>
          </a:lstStyle>
          <a:p>
            <a:endParaRPr/>
          </a:p>
        </p:txBody>
      </p:sp>
      <p:sp>
        <p:nvSpPr>
          <p:cNvPr id="118" name="Google Shape;118;p17"/>
          <p:cNvSpPr/>
          <p:nvPr/>
        </p:nvSpPr>
        <p:spPr>
          <a:xfrm>
            <a:off x="6594483" y="542917"/>
            <a:ext cx="1828800" cy="262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119;p17"/>
          <p:cNvSpPr txBox="1">
            <a:spLocks noGrp="1"/>
          </p:cNvSpPr>
          <p:nvPr>
            <p:ph type="title" idx="21"/>
          </p:nvPr>
        </p:nvSpPr>
        <p:spPr>
          <a:xfrm>
            <a:off x="626684" y="404716"/>
            <a:ext cx="7927800" cy="5304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24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31783441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hanks">
  <p:cSld name="Thanks">
    <p:spTree>
      <p:nvGrpSpPr>
        <p:cNvPr id="1" name="Shape 120"/>
        <p:cNvGrpSpPr/>
        <p:nvPr/>
      </p:nvGrpSpPr>
      <p:grpSpPr>
        <a:xfrm>
          <a:off x="0" y="0"/>
          <a:ext cx="0" cy="0"/>
          <a:chOff x="0" y="0"/>
          <a:chExt cx="0" cy="0"/>
        </a:xfrm>
      </p:grpSpPr>
      <p:sp>
        <p:nvSpPr>
          <p:cNvPr id="121" name="Google Shape;121;p18"/>
          <p:cNvSpPr txBox="1"/>
          <p:nvPr/>
        </p:nvSpPr>
        <p:spPr>
          <a:xfrm>
            <a:off x="4790250" y="3427772"/>
            <a:ext cx="3531600" cy="670500"/>
          </a:xfrm>
          <a:prstGeom prst="rect">
            <a:avLst/>
          </a:prstGeom>
          <a:noFill/>
          <a:ln>
            <a:noFill/>
          </a:ln>
        </p:spPr>
        <p:txBody>
          <a:bodyPr spcFirstLastPara="1" wrap="square" lIns="91425" tIns="91425" rIns="91425" bIns="91425" anchor="t" anchorCtr="0">
            <a:noAutofit/>
          </a:bodyPr>
          <a:lstStyle/>
          <a:p>
            <a:pPr marL="0" lvl="0" indent="0" algn="l" rtl="0">
              <a:spcBef>
                <a:spcPts val="300"/>
              </a:spcBef>
              <a:spcAft>
                <a:spcPts val="0"/>
              </a:spcAft>
              <a:buNone/>
            </a:pPr>
            <a:r>
              <a:rPr lang="en" sz="1200">
                <a:solidFill>
                  <a:srgbClr val="434343"/>
                </a:solidFill>
                <a:latin typeface="Lato"/>
                <a:ea typeface="Lato"/>
                <a:cs typeface="Lato"/>
                <a:sym typeface="Lato"/>
              </a:rPr>
              <a:t>CREDITS: This presentation template was created by </a:t>
            </a:r>
            <a:r>
              <a:rPr lang="en" sz="1200" b="1">
                <a:solidFill>
                  <a:srgbClr val="434343"/>
                </a:solidFill>
                <a:uFill>
                  <a:noFill/>
                </a:uFill>
                <a:latin typeface="Lato"/>
                <a:ea typeface="Lato"/>
                <a:cs typeface="Lato"/>
                <a:sym typeface="Lato"/>
                <a:hlinkClick r:id="rId2"/>
              </a:rPr>
              <a:t>Slidesgo</a:t>
            </a:r>
            <a:r>
              <a:rPr lang="en" sz="1200">
                <a:solidFill>
                  <a:srgbClr val="434343"/>
                </a:solidFill>
                <a:latin typeface="Lato"/>
                <a:ea typeface="Lato"/>
                <a:cs typeface="Lato"/>
                <a:sym typeface="Lato"/>
              </a:rPr>
              <a:t>, including icons by </a:t>
            </a:r>
            <a:r>
              <a:rPr lang="en" sz="1200" b="1">
                <a:solidFill>
                  <a:srgbClr val="434343"/>
                </a:solidFill>
                <a:uFill>
                  <a:noFill/>
                </a:uFill>
                <a:latin typeface="Lato"/>
                <a:ea typeface="Lato"/>
                <a:cs typeface="Lato"/>
                <a:sym typeface="Lato"/>
                <a:hlinkClick r:id="rId3"/>
              </a:rPr>
              <a:t>Flaticon</a:t>
            </a:r>
            <a:r>
              <a:rPr lang="en" sz="1200">
                <a:solidFill>
                  <a:srgbClr val="434343"/>
                </a:solidFill>
                <a:latin typeface="Lato"/>
                <a:ea typeface="Lato"/>
                <a:cs typeface="Lato"/>
                <a:sym typeface="Lato"/>
              </a:rPr>
              <a:t>, and infographics &amp; images by </a:t>
            </a:r>
            <a:r>
              <a:rPr lang="en" sz="1200" b="1">
                <a:solidFill>
                  <a:srgbClr val="434343"/>
                </a:solidFill>
                <a:uFill>
                  <a:noFill/>
                </a:uFill>
                <a:latin typeface="Lato"/>
                <a:ea typeface="Lato"/>
                <a:cs typeface="Lato"/>
                <a:sym typeface="Lato"/>
                <a:hlinkClick r:id="rId4"/>
              </a:rPr>
              <a:t>Freepik</a:t>
            </a:r>
            <a:r>
              <a:rPr lang="en" sz="1200">
                <a:solidFill>
                  <a:srgbClr val="434343"/>
                </a:solidFill>
                <a:latin typeface="Lato"/>
                <a:ea typeface="Lato"/>
                <a:cs typeface="Lato"/>
                <a:sym typeface="Lato"/>
              </a:rPr>
              <a:t>. </a:t>
            </a:r>
            <a:endParaRPr sz="1200">
              <a:solidFill>
                <a:srgbClr val="434343"/>
              </a:solidFill>
              <a:latin typeface="Lato"/>
              <a:ea typeface="Lato"/>
              <a:cs typeface="Lato"/>
              <a:sym typeface="Lato"/>
            </a:endParaRPr>
          </a:p>
        </p:txBody>
      </p:sp>
      <p:sp>
        <p:nvSpPr>
          <p:cNvPr id="122" name="Google Shape;122;p18"/>
          <p:cNvSpPr txBox="1">
            <a:spLocks noGrp="1"/>
          </p:cNvSpPr>
          <p:nvPr>
            <p:ph type="title"/>
          </p:nvPr>
        </p:nvSpPr>
        <p:spPr>
          <a:xfrm>
            <a:off x="796200" y="-314492"/>
            <a:ext cx="5670600" cy="3366600"/>
          </a:xfrm>
          <a:prstGeom prst="rect">
            <a:avLst/>
          </a:prstGeom>
        </p:spPr>
        <p:txBody>
          <a:bodyPr spcFirstLastPara="1" wrap="square" lIns="91425" tIns="91425" rIns="91425" bIns="91425" anchor="b" anchorCtr="0">
            <a:noAutofit/>
          </a:bodyPr>
          <a:lstStyle>
            <a:lvl1pPr lvl="0" rtl="0">
              <a:spcBef>
                <a:spcPts val="0"/>
              </a:spcBef>
              <a:spcAft>
                <a:spcPts val="0"/>
              </a:spcAft>
              <a:buSzPts val="5200"/>
              <a:buNone/>
              <a:defRPr sz="5200"/>
            </a:lvl1pPr>
            <a:lvl2pPr lvl="1" rtl="0">
              <a:spcBef>
                <a:spcPts val="0"/>
              </a:spcBef>
              <a:spcAft>
                <a:spcPts val="0"/>
              </a:spcAft>
              <a:buSzPts val="5200"/>
              <a:buNone/>
              <a:defRPr sz="5200"/>
            </a:lvl2pPr>
            <a:lvl3pPr lvl="2" rtl="0">
              <a:spcBef>
                <a:spcPts val="0"/>
              </a:spcBef>
              <a:spcAft>
                <a:spcPts val="0"/>
              </a:spcAft>
              <a:buSzPts val="5200"/>
              <a:buNone/>
              <a:defRPr sz="5200"/>
            </a:lvl3pPr>
            <a:lvl4pPr lvl="3" rtl="0">
              <a:spcBef>
                <a:spcPts val="0"/>
              </a:spcBef>
              <a:spcAft>
                <a:spcPts val="0"/>
              </a:spcAft>
              <a:buSzPts val="5200"/>
              <a:buNone/>
              <a:defRPr sz="5200"/>
            </a:lvl4pPr>
            <a:lvl5pPr lvl="4" rtl="0">
              <a:spcBef>
                <a:spcPts val="0"/>
              </a:spcBef>
              <a:spcAft>
                <a:spcPts val="0"/>
              </a:spcAft>
              <a:buSzPts val="5200"/>
              <a:buNone/>
              <a:defRPr sz="5200"/>
            </a:lvl5pPr>
            <a:lvl6pPr lvl="5" rtl="0">
              <a:spcBef>
                <a:spcPts val="0"/>
              </a:spcBef>
              <a:spcAft>
                <a:spcPts val="0"/>
              </a:spcAft>
              <a:buSzPts val="5200"/>
              <a:buNone/>
              <a:defRPr sz="5200"/>
            </a:lvl6pPr>
            <a:lvl7pPr lvl="6" rtl="0">
              <a:spcBef>
                <a:spcPts val="0"/>
              </a:spcBef>
              <a:spcAft>
                <a:spcPts val="0"/>
              </a:spcAft>
              <a:buSzPts val="5200"/>
              <a:buNone/>
              <a:defRPr sz="5200"/>
            </a:lvl7pPr>
            <a:lvl8pPr lvl="7" rtl="0">
              <a:spcBef>
                <a:spcPts val="0"/>
              </a:spcBef>
              <a:spcAft>
                <a:spcPts val="0"/>
              </a:spcAft>
              <a:buSzPts val="5200"/>
              <a:buNone/>
              <a:defRPr sz="5200"/>
            </a:lvl8pPr>
            <a:lvl9pPr lvl="8" rtl="0">
              <a:spcBef>
                <a:spcPts val="0"/>
              </a:spcBef>
              <a:spcAft>
                <a:spcPts val="0"/>
              </a:spcAft>
              <a:buSzPts val="5200"/>
              <a:buNone/>
              <a:defRPr sz="5200"/>
            </a:lvl9pPr>
          </a:lstStyle>
          <a:p>
            <a:endParaRPr/>
          </a:p>
        </p:txBody>
      </p:sp>
      <p:sp>
        <p:nvSpPr>
          <p:cNvPr id="123" name="Google Shape;123;p18"/>
          <p:cNvSpPr txBox="1">
            <a:spLocks noGrp="1"/>
          </p:cNvSpPr>
          <p:nvPr>
            <p:ph type="subTitle" idx="1"/>
          </p:nvPr>
        </p:nvSpPr>
        <p:spPr>
          <a:xfrm>
            <a:off x="812651" y="3722313"/>
            <a:ext cx="2197500" cy="606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24" name="Google Shape;124;p18"/>
          <p:cNvSpPr txBox="1">
            <a:spLocks noGrp="1"/>
          </p:cNvSpPr>
          <p:nvPr>
            <p:ph type="subTitle" idx="2"/>
          </p:nvPr>
        </p:nvSpPr>
        <p:spPr>
          <a:xfrm>
            <a:off x="812651" y="3240291"/>
            <a:ext cx="3044400" cy="6066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chemeClr val="dk1"/>
              </a:buClr>
              <a:buSzPts val="1600"/>
              <a:buFont typeface="Montserrat"/>
              <a:buNone/>
              <a:defRPr sz="1600" b="1">
                <a:solidFill>
                  <a:schemeClr val="dk1"/>
                </a:solidFill>
                <a:latin typeface="Montserrat"/>
                <a:ea typeface="Montserrat"/>
                <a:cs typeface="Montserrat"/>
                <a:sym typeface="Montserrat"/>
              </a:defRPr>
            </a:lvl1pPr>
            <a:lvl2pPr lvl="1" rtl="0">
              <a:lnSpc>
                <a:spcPct val="100000"/>
              </a:lnSpc>
              <a:spcBef>
                <a:spcPts val="0"/>
              </a:spcBef>
              <a:spcAft>
                <a:spcPts val="0"/>
              </a:spcAft>
              <a:buSzPts val="1400"/>
              <a:buFont typeface="Montserrat"/>
              <a:buNone/>
              <a:defRPr b="1">
                <a:latin typeface="Montserrat"/>
                <a:ea typeface="Montserrat"/>
                <a:cs typeface="Montserrat"/>
                <a:sym typeface="Montserrat"/>
              </a:defRPr>
            </a:lvl2pPr>
            <a:lvl3pPr lvl="2" rtl="0">
              <a:lnSpc>
                <a:spcPct val="100000"/>
              </a:lnSpc>
              <a:spcBef>
                <a:spcPts val="0"/>
              </a:spcBef>
              <a:spcAft>
                <a:spcPts val="0"/>
              </a:spcAft>
              <a:buSzPts val="1400"/>
              <a:buFont typeface="Montserrat"/>
              <a:buNone/>
              <a:defRPr b="1">
                <a:latin typeface="Montserrat"/>
                <a:ea typeface="Montserrat"/>
                <a:cs typeface="Montserrat"/>
                <a:sym typeface="Montserrat"/>
              </a:defRPr>
            </a:lvl3pPr>
            <a:lvl4pPr lvl="3" rtl="0">
              <a:lnSpc>
                <a:spcPct val="100000"/>
              </a:lnSpc>
              <a:spcBef>
                <a:spcPts val="0"/>
              </a:spcBef>
              <a:spcAft>
                <a:spcPts val="0"/>
              </a:spcAft>
              <a:buSzPts val="1400"/>
              <a:buFont typeface="Montserrat"/>
              <a:buNone/>
              <a:defRPr b="1">
                <a:latin typeface="Montserrat"/>
                <a:ea typeface="Montserrat"/>
                <a:cs typeface="Montserrat"/>
                <a:sym typeface="Montserrat"/>
              </a:defRPr>
            </a:lvl4pPr>
            <a:lvl5pPr lvl="4" rtl="0">
              <a:lnSpc>
                <a:spcPct val="100000"/>
              </a:lnSpc>
              <a:spcBef>
                <a:spcPts val="0"/>
              </a:spcBef>
              <a:spcAft>
                <a:spcPts val="0"/>
              </a:spcAft>
              <a:buSzPts val="1400"/>
              <a:buFont typeface="Montserrat"/>
              <a:buNone/>
              <a:defRPr b="1">
                <a:latin typeface="Montserrat"/>
                <a:ea typeface="Montserrat"/>
                <a:cs typeface="Montserrat"/>
                <a:sym typeface="Montserrat"/>
              </a:defRPr>
            </a:lvl5pPr>
            <a:lvl6pPr lvl="5" rtl="0">
              <a:lnSpc>
                <a:spcPct val="100000"/>
              </a:lnSpc>
              <a:spcBef>
                <a:spcPts val="0"/>
              </a:spcBef>
              <a:spcAft>
                <a:spcPts val="0"/>
              </a:spcAft>
              <a:buSzPts val="1400"/>
              <a:buFont typeface="Montserrat"/>
              <a:buNone/>
              <a:defRPr b="1">
                <a:latin typeface="Montserrat"/>
                <a:ea typeface="Montserrat"/>
                <a:cs typeface="Montserrat"/>
                <a:sym typeface="Montserrat"/>
              </a:defRPr>
            </a:lvl6pPr>
            <a:lvl7pPr lvl="6" rtl="0">
              <a:lnSpc>
                <a:spcPct val="100000"/>
              </a:lnSpc>
              <a:spcBef>
                <a:spcPts val="0"/>
              </a:spcBef>
              <a:spcAft>
                <a:spcPts val="0"/>
              </a:spcAft>
              <a:buSzPts val="1400"/>
              <a:buFont typeface="Montserrat"/>
              <a:buNone/>
              <a:defRPr b="1">
                <a:latin typeface="Montserrat"/>
                <a:ea typeface="Montserrat"/>
                <a:cs typeface="Montserrat"/>
                <a:sym typeface="Montserrat"/>
              </a:defRPr>
            </a:lvl7pPr>
            <a:lvl8pPr lvl="7" rtl="0">
              <a:lnSpc>
                <a:spcPct val="100000"/>
              </a:lnSpc>
              <a:spcBef>
                <a:spcPts val="0"/>
              </a:spcBef>
              <a:spcAft>
                <a:spcPts val="0"/>
              </a:spcAft>
              <a:buSzPts val="1400"/>
              <a:buFont typeface="Montserrat"/>
              <a:buNone/>
              <a:defRPr b="1">
                <a:latin typeface="Montserrat"/>
                <a:ea typeface="Montserrat"/>
                <a:cs typeface="Montserrat"/>
                <a:sym typeface="Montserrat"/>
              </a:defRPr>
            </a:lvl8pPr>
            <a:lvl9pPr lvl="8" rtl="0">
              <a:lnSpc>
                <a:spcPct val="100000"/>
              </a:lnSpc>
              <a:spcBef>
                <a:spcPts val="0"/>
              </a:spcBef>
              <a:spcAft>
                <a:spcPts val="0"/>
              </a:spcAft>
              <a:buSzPts val="1400"/>
              <a:buFont typeface="Montserrat"/>
              <a:buNone/>
              <a:defRPr b="1">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5622883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s slide layout">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23DE32A5-6181-4C51-AD5C-3F1A448478A1}"/>
              </a:ext>
            </a:extLst>
          </p:cNvPr>
          <p:cNvSpPr>
            <a:spLocks noGrp="1"/>
          </p:cNvSpPr>
          <p:nvPr>
            <p:ph type="body" sz="quarter" idx="10" hasCustomPrompt="1"/>
          </p:nvPr>
        </p:nvSpPr>
        <p:spPr>
          <a:xfrm>
            <a:off x="242647" y="254632"/>
            <a:ext cx="8679898" cy="543185"/>
          </a:xfrm>
          <a:prstGeom prst="rect">
            <a:avLst/>
          </a:prstGeom>
        </p:spPr>
        <p:txBody>
          <a:bodyPr anchor="ctr"/>
          <a:lstStyle>
            <a:lvl1pPr marL="0" indent="0" algn="ctr">
              <a:buNone/>
              <a:defRPr sz="405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24267941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54F405-383F-4CA1-B275-33EAF6B33310}" type="datetime1">
              <a:rPr lang="en-US" smtClean="0"/>
              <a:t>10/28/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Contents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534103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Agenda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31747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Taam slide layout">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EF70765A-4598-4D75-8EBE-B820808F6559}"/>
              </a:ext>
            </a:extLst>
          </p:cNvPr>
          <p:cNvSpPr>
            <a:spLocks noGrp="1"/>
          </p:cNvSpPr>
          <p:nvPr>
            <p:ph type="body" sz="quarter" idx="10" hasCustomPrompt="1"/>
          </p:nvPr>
        </p:nvSpPr>
        <p:spPr>
          <a:xfrm>
            <a:off x="242647" y="254632"/>
            <a:ext cx="8679898" cy="543185"/>
          </a:xfrm>
          <a:prstGeom prst="rect">
            <a:avLst/>
          </a:prstGeom>
        </p:spPr>
        <p:txBody>
          <a:bodyPr anchor="ctr"/>
          <a:lstStyle>
            <a:lvl1pPr marL="0" indent="0" algn="ctr">
              <a:buNone/>
              <a:defRPr sz="4050" b="0" baseline="0">
                <a:solidFill>
                  <a:schemeClr val="tx1">
                    <a:lumMod val="85000"/>
                    <a:lumOff val="15000"/>
                  </a:schemeClr>
                </a:solidFill>
                <a:latin typeface="+mj-lt"/>
                <a:cs typeface="Arial" pitchFamily="34" charset="0"/>
              </a:defRPr>
            </a:lvl1pPr>
          </a:lstStyle>
          <a:p>
            <a:pPr lvl="0"/>
            <a:r>
              <a:rPr lang="en-US" altLang="ko-KR" dirty="0"/>
              <a:t>Our Team LAYOUT</a:t>
            </a:r>
          </a:p>
        </p:txBody>
      </p:sp>
      <p:sp>
        <p:nvSpPr>
          <p:cNvPr id="4" name="Picture Placeholder 2">
            <a:extLst>
              <a:ext uri="{FF2B5EF4-FFF2-40B4-BE49-F238E27FC236}">
                <a16:creationId xmlns:a16="http://schemas.microsoft.com/office/drawing/2014/main" id="{CA1A6E33-8A0F-4192-83F6-2FB90AE8DE70}"/>
              </a:ext>
            </a:extLst>
          </p:cNvPr>
          <p:cNvSpPr>
            <a:spLocks noGrp="1"/>
          </p:cNvSpPr>
          <p:nvPr>
            <p:ph type="pic" idx="15" hasCustomPrompt="1"/>
          </p:nvPr>
        </p:nvSpPr>
        <p:spPr>
          <a:xfrm>
            <a:off x="2737643" y="1327059"/>
            <a:ext cx="1593000" cy="1571271"/>
          </a:xfrm>
          <a:prstGeom prst="rect">
            <a:avLst/>
          </a:prstGeom>
          <a:solidFill>
            <a:schemeClr val="bg1">
              <a:lumMod val="95000"/>
            </a:schemeClr>
          </a:solidFill>
          <a:ln w="127000">
            <a:noFill/>
          </a:ln>
        </p:spPr>
        <p:txBody>
          <a:bodyPr anchor="ctr"/>
          <a:lstStyle>
            <a:lvl1pPr marL="0" indent="0" algn="ctr">
              <a:buNone/>
              <a:defRPr sz="900">
                <a:latin typeface="+mn-lt"/>
                <a:cs typeface="Arial" pitchFamily="34" charset="0"/>
              </a:defRPr>
            </a:lvl1pPr>
            <a:lvl2pPr marL="342917" indent="0">
              <a:buNone/>
              <a:defRPr sz="2100"/>
            </a:lvl2pPr>
            <a:lvl3pPr marL="685835" indent="0">
              <a:buNone/>
              <a:defRPr sz="1800"/>
            </a:lvl3pPr>
            <a:lvl4pPr marL="1028752" indent="0">
              <a:buNone/>
              <a:defRPr sz="1500"/>
            </a:lvl4pPr>
            <a:lvl5pPr marL="1371668" indent="0">
              <a:buNone/>
              <a:defRPr sz="1500"/>
            </a:lvl5pPr>
            <a:lvl6pPr marL="1714586" indent="0">
              <a:buNone/>
              <a:defRPr sz="1500"/>
            </a:lvl6pPr>
            <a:lvl7pPr marL="2057503" indent="0">
              <a:buNone/>
              <a:defRPr sz="1500"/>
            </a:lvl7pPr>
            <a:lvl8pPr marL="2400420" indent="0">
              <a:buNone/>
              <a:defRPr sz="1500"/>
            </a:lvl8pPr>
            <a:lvl9pPr marL="2743337" indent="0">
              <a:buNone/>
              <a:defRPr sz="1500"/>
            </a:lvl9pPr>
          </a:lstStyle>
          <a:p>
            <a:r>
              <a:rPr lang="en-US" altLang="ko-KR" dirty="0"/>
              <a:t>Your Picture Here</a:t>
            </a:r>
            <a:endParaRPr lang="ko-KR" altLang="en-US" dirty="0"/>
          </a:p>
        </p:txBody>
      </p:sp>
      <p:sp>
        <p:nvSpPr>
          <p:cNvPr id="5" name="Picture Placeholder 2">
            <a:extLst>
              <a:ext uri="{FF2B5EF4-FFF2-40B4-BE49-F238E27FC236}">
                <a16:creationId xmlns:a16="http://schemas.microsoft.com/office/drawing/2014/main" id="{B7332FD6-4CCE-4EA6-A914-847EA767CDE7}"/>
              </a:ext>
            </a:extLst>
          </p:cNvPr>
          <p:cNvSpPr>
            <a:spLocks noGrp="1"/>
          </p:cNvSpPr>
          <p:nvPr>
            <p:ph type="pic" idx="16" hasCustomPrompt="1"/>
          </p:nvPr>
        </p:nvSpPr>
        <p:spPr>
          <a:xfrm>
            <a:off x="4802548" y="1327059"/>
            <a:ext cx="1593000" cy="1571271"/>
          </a:xfrm>
          <a:prstGeom prst="rect">
            <a:avLst/>
          </a:prstGeom>
          <a:solidFill>
            <a:schemeClr val="bg1">
              <a:lumMod val="95000"/>
            </a:schemeClr>
          </a:solidFill>
          <a:ln w="127000">
            <a:noFill/>
          </a:ln>
        </p:spPr>
        <p:txBody>
          <a:bodyPr anchor="ctr"/>
          <a:lstStyle>
            <a:lvl1pPr marL="0" indent="0" algn="ctr">
              <a:buNone/>
              <a:defRPr sz="900">
                <a:latin typeface="+mn-lt"/>
                <a:cs typeface="Arial" pitchFamily="34" charset="0"/>
              </a:defRPr>
            </a:lvl1pPr>
            <a:lvl2pPr marL="342917" indent="0">
              <a:buNone/>
              <a:defRPr sz="2100"/>
            </a:lvl2pPr>
            <a:lvl3pPr marL="685835" indent="0">
              <a:buNone/>
              <a:defRPr sz="1800"/>
            </a:lvl3pPr>
            <a:lvl4pPr marL="1028752" indent="0">
              <a:buNone/>
              <a:defRPr sz="1500"/>
            </a:lvl4pPr>
            <a:lvl5pPr marL="1371668" indent="0">
              <a:buNone/>
              <a:defRPr sz="1500"/>
            </a:lvl5pPr>
            <a:lvl6pPr marL="1714586" indent="0">
              <a:buNone/>
              <a:defRPr sz="1500"/>
            </a:lvl6pPr>
            <a:lvl7pPr marL="2057503" indent="0">
              <a:buNone/>
              <a:defRPr sz="1500"/>
            </a:lvl7pPr>
            <a:lvl8pPr marL="2400420" indent="0">
              <a:buNone/>
              <a:defRPr sz="1500"/>
            </a:lvl8pPr>
            <a:lvl9pPr marL="2743337" indent="0">
              <a:buNone/>
              <a:defRPr sz="1500"/>
            </a:lvl9pPr>
          </a:lstStyle>
          <a:p>
            <a:r>
              <a:rPr lang="en-US" altLang="ko-KR" dirty="0"/>
              <a:t>Your Picture Here</a:t>
            </a:r>
            <a:endParaRPr lang="ko-KR" altLang="en-US" dirty="0"/>
          </a:p>
        </p:txBody>
      </p:sp>
      <p:sp>
        <p:nvSpPr>
          <p:cNvPr id="6" name="Picture Placeholder 2">
            <a:extLst>
              <a:ext uri="{FF2B5EF4-FFF2-40B4-BE49-F238E27FC236}">
                <a16:creationId xmlns:a16="http://schemas.microsoft.com/office/drawing/2014/main" id="{5A41DCAB-7A97-4D72-8703-2A5EBB6B4047}"/>
              </a:ext>
            </a:extLst>
          </p:cNvPr>
          <p:cNvSpPr>
            <a:spLocks noGrp="1"/>
          </p:cNvSpPr>
          <p:nvPr>
            <p:ph type="pic" idx="17" hasCustomPrompt="1"/>
          </p:nvPr>
        </p:nvSpPr>
        <p:spPr>
          <a:xfrm>
            <a:off x="6867452" y="1327059"/>
            <a:ext cx="1593000" cy="1571271"/>
          </a:xfrm>
          <a:prstGeom prst="rect">
            <a:avLst/>
          </a:prstGeom>
          <a:solidFill>
            <a:schemeClr val="bg1">
              <a:lumMod val="95000"/>
            </a:schemeClr>
          </a:solidFill>
          <a:ln w="127000">
            <a:noFill/>
          </a:ln>
        </p:spPr>
        <p:txBody>
          <a:bodyPr anchor="ctr"/>
          <a:lstStyle>
            <a:lvl1pPr marL="0" indent="0" algn="ctr">
              <a:buNone/>
              <a:defRPr sz="900">
                <a:latin typeface="+mn-lt"/>
                <a:cs typeface="Arial" pitchFamily="34" charset="0"/>
              </a:defRPr>
            </a:lvl1pPr>
            <a:lvl2pPr marL="342917" indent="0">
              <a:buNone/>
              <a:defRPr sz="2100"/>
            </a:lvl2pPr>
            <a:lvl3pPr marL="685835" indent="0">
              <a:buNone/>
              <a:defRPr sz="1800"/>
            </a:lvl3pPr>
            <a:lvl4pPr marL="1028752" indent="0">
              <a:buNone/>
              <a:defRPr sz="1500"/>
            </a:lvl4pPr>
            <a:lvl5pPr marL="1371668" indent="0">
              <a:buNone/>
              <a:defRPr sz="1500"/>
            </a:lvl5pPr>
            <a:lvl6pPr marL="1714586" indent="0">
              <a:buNone/>
              <a:defRPr sz="1500"/>
            </a:lvl6pPr>
            <a:lvl7pPr marL="2057503" indent="0">
              <a:buNone/>
              <a:defRPr sz="1500"/>
            </a:lvl7pPr>
            <a:lvl8pPr marL="2400420" indent="0">
              <a:buNone/>
              <a:defRPr sz="1500"/>
            </a:lvl8pPr>
            <a:lvl9pPr marL="2743337" indent="0">
              <a:buNone/>
              <a:defRPr sz="1500"/>
            </a:lvl9pPr>
          </a:lstStyle>
          <a:p>
            <a:r>
              <a:rPr lang="en-US" altLang="ko-KR" dirty="0"/>
              <a:t>Your Picture Here</a:t>
            </a:r>
            <a:endParaRPr lang="ko-KR" altLang="en-US" dirty="0"/>
          </a:p>
        </p:txBody>
      </p:sp>
      <p:sp>
        <p:nvSpPr>
          <p:cNvPr id="7" name="Picture Placeholder 2">
            <a:extLst>
              <a:ext uri="{FF2B5EF4-FFF2-40B4-BE49-F238E27FC236}">
                <a16:creationId xmlns:a16="http://schemas.microsoft.com/office/drawing/2014/main" id="{DE59F880-57D5-4D69-ADDA-A3030C94684E}"/>
              </a:ext>
            </a:extLst>
          </p:cNvPr>
          <p:cNvSpPr>
            <a:spLocks noGrp="1"/>
          </p:cNvSpPr>
          <p:nvPr>
            <p:ph type="pic" idx="18" hasCustomPrompt="1"/>
          </p:nvPr>
        </p:nvSpPr>
        <p:spPr>
          <a:xfrm>
            <a:off x="672737" y="1327059"/>
            <a:ext cx="1593000" cy="1571271"/>
          </a:xfrm>
          <a:prstGeom prst="rect">
            <a:avLst/>
          </a:prstGeom>
          <a:solidFill>
            <a:schemeClr val="bg1">
              <a:lumMod val="95000"/>
            </a:schemeClr>
          </a:solidFill>
          <a:ln w="127000">
            <a:noFill/>
          </a:ln>
        </p:spPr>
        <p:txBody>
          <a:bodyPr anchor="ctr"/>
          <a:lstStyle>
            <a:lvl1pPr marL="0" indent="0" algn="ctr">
              <a:buNone/>
              <a:defRPr sz="900">
                <a:latin typeface="+mn-lt"/>
                <a:cs typeface="Arial" pitchFamily="34" charset="0"/>
              </a:defRPr>
            </a:lvl1pPr>
            <a:lvl2pPr marL="342917" indent="0">
              <a:buNone/>
              <a:defRPr sz="2100"/>
            </a:lvl2pPr>
            <a:lvl3pPr marL="685835" indent="0">
              <a:buNone/>
              <a:defRPr sz="1800"/>
            </a:lvl3pPr>
            <a:lvl4pPr marL="1028752" indent="0">
              <a:buNone/>
              <a:defRPr sz="1500"/>
            </a:lvl4pPr>
            <a:lvl5pPr marL="1371668" indent="0">
              <a:buNone/>
              <a:defRPr sz="1500"/>
            </a:lvl5pPr>
            <a:lvl6pPr marL="1714586" indent="0">
              <a:buNone/>
              <a:defRPr sz="1500"/>
            </a:lvl6pPr>
            <a:lvl7pPr marL="2057503" indent="0">
              <a:buNone/>
              <a:defRPr sz="1500"/>
            </a:lvl7pPr>
            <a:lvl8pPr marL="2400420" indent="0">
              <a:buNone/>
              <a:defRPr sz="1500"/>
            </a:lvl8pPr>
            <a:lvl9pPr marL="2743337" indent="0">
              <a:buNone/>
              <a:defRPr sz="1500"/>
            </a:lvl9pPr>
          </a:lstStyle>
          <a:p>
            <a:r>
              <a:rPr lang="en-US" altLang="ko-KR" dirty="0"/>
              <a:t>Your Picture Here</a:t>
            </a:r>
            <a:endParaRPr lang="ko-KR" altLang="en-US" dirty="0"/>
          </a:p>
        </p:txBody>
      </p:sp>
    </p:spTree>
    <p:extLst>
      <p:ext uri="{BB962C8B-B14F-4D97-AF65-F5344CB8AC3E}">
        <p14:creationId xmlns:p14="http://schemas.microsoft.com/office/powerpoint/2010/main" val="11215022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_Contents slide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343D5AB-FDE8-4863-8B0B-FF0EDBC68861}"/>
              </a:ext>
            </a:extLst>
          </p:cNvPr>
          <p:cNvSpPr/>
          <p:nvPr userDrawn="1"/>
        </p:nvSpPr>
        <p:spPr>
          <a:xfrm>
            <a:off x="2743199" y="1424963"/>
            <a:ext cx="5635127" cy="246776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Rectangle 4">
            <a:extLst>
              <a:ext uri="{FF2B5EF4-FFF2-40B4-BE49-F238E27FC236}">
                <a16:creationId xmlns:a16="http://schemas.microsoft.com/office/drawing/2014/main" id="{A0C96F43-3876-47CC-B363-9FBE2E05752F}"/>
              </a:ext>
            </a:extLst>
          </p:cNvPr>
          <p:cNvSpPr/>
          <p:nvPr userDrawn="1"/>
        </p:nvSpPr>
        <p:spPr>
          <a:xfrm rot="20400000">
            <a:off x="790300" y="1672050"/>
            <a:ext cx="2161904" cy="2560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Rectangle 5">
            <a:extLst>
              <a:ext uri="{FF2B5EF4-FFF2-40B4-BE49-F238E27FC236}">
                <a16:creationId xmlns:a16="http://schemas.microsoft.com/office/drawing/2014/main" id="{E4127DCA-3196-491D-86F7-98470FD4534B}"/>
              </a:ext>
            </a:extLst>
          </p:cNvPr>
          <p:cNvSpPr/>
          <p:nvPr userDrawn="1"/>
        </p:nvSpPr>
        <p:spPr>
          <a:xfrm rot="20640000">
            <a:off x="809896" y="1652455"/>
            <a:ext cx="2161904" cy="25603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Rectangle 6">
            <a:extLst>
              <a:ext uri="{FF2B5EF4-FFF2-40B4-BE49-F238E27FC236}">
                <a16:creationId xmlns:a16="http://schemas.microsoft.com/office/drawing/2014/main" id="{C0F3D9F4-8CA6-4676-B29C-CF1677EB90FF}"/>
              </a:ext>
            </a:extLst>
          </p:cNvPr>
          <p:cNvSpPr/>
          <p:nvPr userDrawn="1"/>
        </p:nvSpPr>
        <p:spPr>
          <a:xfrm rot="20971299">
            <a:off x="836023" y="1600201"/>
            <a:ext cx="2161904" cy="25603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그림 개체 틀 2">
            <a:extLst>
              <a:ext uri="{FF2B5EF4-FFF2-40B4-BE49-F238E27FC236}">
                <a16:creationId xmlns:a16="http://schemas.microsoft.com/office/drawing/2014/main" id="{BCD635CC-1412-43AB-9F1C-D19087A8B8A1}"/>
              </a:ext>
            </a:extLst>
          </p:cNvPr>
          <p:cNvSpPr>
            <a:spLocks noGrp="1"/>
          </p:cNvSpPr>
          <p:nvPr>
            <p:ph type="pic" sz="quarter" idx="14" hasCustomPrompt="1"/>
          </p:nvPr>
        </p:nvSpPr>
        <p:spPr>
          <a:xfrm rot="20971299">
            <a:off x="896976" y="1714965"/>
            <a:ext cx="1948553" cy="1766288"/>
          </a:xfrm>
          <a:prstGeom prst="rect">
            <a:avLst/>
          </a:prstGeom>
          <a:solidFill>
            <a:schemeClr val="bg1">
              <a:lumMod val="95000"/>
            </a:schemeClr>
          </a:solidFill>
        </p:spPr>
        <p:txBody>
          <a:bodyPr anchor="ctr"/>
          <a:lstStyle>
            <a:lvl1pPr marL="0" indent="0" algn="ctr">
              <a:buNone/>
              <a:defRPr sz="900">
                <a:solidFill>
                  <a:schemeClr val="tx1">
                    <a:lumMod val="75000"/>
                    <a:lumOff val="25000"/>
                  </a:schemeClr>
                </a:solidFill>
              </a:defRPr>
            </a:lvl1pPr>
          </a:lstStyle>
          <a:p>
            <a:r>
              <a:rPr lang="en-US" altLang="ko-KR" dirty="0"/>
              <a:t>Place Your Picture Here</a:t>
            </a:r>
            <a:endParaRPr lang="ko-KR" altLang="en-US" dirty="0"/>
          </a:p>
        </p:txBody>
      </p:sp>
      <p:sp>
        <p:nvSpPr>
          <p:cNvPr id="3" name="Text Placeholder 9">
            <a:extLst>
              <a:ext uri="{FF2B5EF4-FFF2-40B4-BE49-F238E27FC236}">
                <a16:creationId xmlns:a16="http://schemas.microsoft.com/office/drawing/2014/main" id="{A92F2F0B-AB18-4F91-BFCD-5E07920CEC1B}"/>
              </a:ext>
            </a:extLst>
          </p:cNvPr>
          <p:cNvSpPr>
            <a:spLocks noGrp="1"/>
          </p:cNvSpPr>
          <p:nvPr>
            <p:ph type="body" sz="quarter" idx="10" hasCustomPrompt="1"/>
          </p:nvPr>
        </p:nvSpPr>
        <p:spPr>
          <a:xfrm>
            <a:off x="242647" y="254632"/>
            <a:ext cx="8679898" cy="543185"/>
          </a:xfrm>
          <a:prstGeom prst="rect">
            <a:avLst/>
          </a:prstGeom>
        </p:spPr>
        <p:txBody>
          <a:bodyPr anchor="ctr"/>
          <a:lstStyle>
            <a:lvl1pPr marL="0" indent="0" algn="ctr">
              <a:buNone/>
              <a:defRPr sz="405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37488739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900595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_Contents slide layout">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FB08BDAF-A042-4560-BBD8-F1CA5D9DB155}"/>
              </a:ext>
            </a:extLst>
          </p:cNvPr>
          <p:cNvSpPr>
            <a:spLocks noGrp="1"/>
          </p:cNvSpPr>
          <p:nvPr>
            <p:ph type="pic" sz="quarter" idx="17" hasCustomPrompt="1"/>
          </p:nvPr>
        </p:nvSpPr>
        <p:spPr>
          <a:xfrm>
            <a:off x="5767756" y="2249346"/>
            <a:ext cx="2089287" cy="2088500"/>
          </a:xfrm>
          <a:custGeom>
            <a:avLst/>
            <a:gdLst>
              <a:gd name="connsiteX0" fmla="*/ 1137861 w 2785716"/>
              <a:gd name="connsiteY0" fmla="*/ 0 h 2784666"/>
              <a:gd name="connsiteX1" fmla="*/ 2785716 w 2785716"/>
              <a:gd name="connsiteY1" fmla="*/ 1140221 h 2784666"/>
              <a:gd name="connsiteX2" fmla="*/ 1647855 w 2785716"/>
              <a:gd name="connsiteY2" fmla="*/ 2784666 h 2784666"/>
              <a:gd name="connsiteX3" fmla="*/ 0 w 2785716"/>
              <a:gd name="connsiteY3" fmla="*/ 1644444 h 2784666"/>
            </a:gdLst>
            <a:ahLst/>
            <a:cxnLst>
              <a:cxn ang="0">
                <a:pos x="connsiteX0" y="connsiteY0"/>
              </a:cxn>
              <a:cxn ang="0">
                <a:pos x="connsiteX1" y="connsiteY1"/>
              </a:cxn>
              <a:cxn ang="0">
                <a:pos x="connsiteX2" y="connsiteY2"/>
              </a:cxn>
              <a:cxn ang="0">
                <a:pos x="connsiteX3" y="connsiteY3"/>
              </a:cxn>
            </a:cxnLst>
            <a:rect l="l" t="t" r="r" b="b"/>
            <a:pathLst>
              <a:path w="2785716" h="2784666">
                <a:moveTo>
                  <a:pt x="1137861" y="0"/>
                </a:moveTo>
                <a:lnTo>
                  <a:pt x="2785716" y="1140221"/>
                </a:lnTo>
                <a:lnTo>
                  <a:pt x="1647855" y="2784666"/>
                </a:lnTo>
                <a:lnTo>
                  <a:pt x="0" y="1644444"/>
                </a:lnTo>
                <a:close/>
              </a:path>
            </a:pathLst>
          </a:custGeom>
          <a:solidFill>
            <a:schemeClr val="bg1">
              <a:lumMod val="95000"/>
            </a:schemeClr>
          </a:solidFill>
        </p:spPr>
        <p:txBody>
          <a:bodyPr wrap="square" anchor="ctr">
            <a:noAutofit/>
          </a:bodyPr>
          <a:lstStyle>
            <a:lvl1pPr marL="0" indent="0" algn="ctr">
              <a:buNone/>
              <a:defRPr sz="900">
                <a:solidFill>
                  <a:schemeClr val="tx1">
                    <a:lumMod val="75000"/>
                    <a:lumOff val="25000"/>
                  </a:schemeClr>
                </a:solidFill>
              </a:defRPr>
            </a:lvl1pPr>
          </a:lstStyle>
          <a:p>
            <a:r>
              <a:rPr lang="en-US" altLang="ko-KR" dirty="0"/>
              <a:t>Place Your Picture Here</a:t>
            </a:r>
            <a:endParaRPr lang="ko-KR" altLang="en-US" dirty="0"/>
          </a:p>
        </p:txBody>
      </p:sp>
      <p:sp>
        <p:nvSpPr>
          <p:cNvPr id="20" name="Picture Placeholder 19">
            <a:extLst>
              <a:ext uri="{FF2B5EF4-FFF2-40B4-BE49-F238E27FC236}">
                <a16:creationId xmlns:a16="http://schemas.microsoft.com/office/drawing/2014/main" id="{E375B096-EBDB-4C71-BACA-9F780BF70233}"/>
              </a:ext>
            </a:extLst>
          </p:cNvPr>
          <p:cNvSpPr>
            <a:spLocks noGrp="1"/>
          </p:cNvSpPr>
          <p:nvPr>
            <p:ph type="pic" sz="quarter" idx="18" hasCustomPrompt="1"/>
          </p:nvPr>
        </p:nvSpPr>
        <p:spPr>
          <a:xfrm>
            <a:off x="3505990" y="2717331"/>
            <a:ext cx="2089287" cy="2077567"/>
          </a:xfrm>
          <a:custGeom>
            <a:avLst/>
            <a:gdLst>
              <a:gd name="connsiteX0" fmla="*/ 1137861 w 2785716"/>
              <a:gd name="connsiteY0" fmla="*/ 0 h 2770089"/>
              <a:gd name="connsiteX1" fmla="*/ 2785716 w 2785716"/>
              <a:gd name="connsiteY1" fmla="*/ 1140221 h 2770089"/>
              <a:gd name="connsiteX2" fmla="*/ 1657942 w 2785716"/>
              <a:gd name="connsiteY2" fmla="*/ 2770089 h 2770089"/>
              <a:gd name="connsiteX3" fmla="*/ 1626789 w 2785716"/>
              <a:gd name="connsiteY3" fmla="*/ 2770089 h 2770089"/>
              <a:gd name="connsiteX4" fmla="*/ 0 w 2785716"/>
              <a:gd name="connsiteY4" fmla="*/ 1644444 h 2770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5716" h="2770089">
                <a:moveTo>
                  <a:pt x="1137861" y="0"/>
                </a:moveTo>
                <a:lnTo>
                  <a:pt x="2785716" y="1140221"/>
                </a:lnTo>
                <a:lnTo>
                  <a:pt x="1657942" y="2770089"/>
                </a:lnTo>
                <a:lnTo>
                  <a:pt x="1626789" y="2770089"/>
                </a:lnTo>
                <a:lnTo>
                  <a:pt x="0" y="1644444"/>
                </a:lnTo>
                <a:close/>
              </a:path>
            </a:pathLst>
          </a:custGeom>
          <a:solidFill>
            <a:schemeClr val="bg1">
              <a:lumMod val="95000"/>
            </a:schemeClr>
          </a:solidFill>
        </p:spPr>
        <p:txBody>
          <a:bodyPr wrap="square" anchor="ctr">
            <a:noAutofit/>
          </a:bodyPr>
          <a:lstStyle>
            <a:lvl1pPr marL="0" indent="0" algn="ctr">
              <a:buNone/>
              <a:defRPr sz="900">
                <a:solidFill>
                  <a:schemeClr val="tx1">
                    <a:lumMod val="75000"/>
                    <a:lumOff val="25000"/>
                  </a:schemeClr>
                </a:solidFill>
              </a:defRPr>
            </a:lvl1pPr>
          </a:lstStyle>
          <a:p>
            <a:r>
              <a:rPr lang="en-US" altLang="ko-KR" dirty="0"/>
              <a:t>Place Your Picture Here</a:t>
            </a:r>
            <a:endParaRPr lang="ko-KR" altLang="en-US" dirty="0"/>
          </a:p>
        </p:txBody>
      </p:sp>
      <p:sp>
        <p:nvSpPr>
          <p:cNvPr id="19" name="Picture Placeholder 18">
            <a:extLst>
              <a:ext uri="{FF2B5EF4-FFF2-40B4-BE49-F238E27FC236}">
                <a16:creationId xmlns:a16="http://schemas.microsoft.com/office/drawing/2014/main" id="{31F3A08B-34AD-476C-9953-B19BAF7F628C}"/>
              </a:ext>
            </a:extLst>
          </p:cNvPr>
          <p:cNvSpPr>
            <a:spLocks noGrp="1"/>
          </p:cNvSpPr>
          <p:nvPr>
            <p:ph type="pic" sz="quarter" idx="19" hasCustomPrompt="1"/>
          </p:nvPr>
        </p:nvSpPr>
        <p:spPr>
          <a:xfrm>
            <a:off x="6669845" y="907286"/>
            <a:ext cx="2089287" cy="2088500"/>
          </a:xfrm>
          <a:custGeom>
            <a:avLst/>
            <a:gdLst>
              <a:gd name="connsiteX0" fmla="*/ 1137861 w 2785716"/>
              <a:gd name="connsiteY0" fmla="*/ 0 h 2784666"/>
              <a:gd name="connsiteX1" fmla="*/ 2785716 w 2785716"/>
              <a:gd name="connsiteY1" fmla="*/ 1140221 h 2784666"/>
              <a:gd name="connsiteX2" fmla="*/ 1647855 w 2785716"/>
              <a:gd name="connsiteY2" fmla="*/ 2784666 h 2784666"/>
              <a:gd name="connsiteX3" fmla="*/ 0 w 2785716"/>
              <a:gd name="connsiteY3" fmla="*/ 1644444 h 2784666"/>
            </a:gdLst>
            <a:ahLst/>
            <a:cxnLst>
              <a:cxn ang="0">
                <a:pos x="connsiteX0" y="connsiteY0"/>
              </a:cxn>
              <a:cxn ang="0">
                <a:pos x="connsiteX1" y="connsiteY1"/>
              </a:cxn>
              <a:cxn ang="0">
                <a:pos x="connsiteX2" y="connsiteY2"/>
              </a:cxn>
              <a:cxn ang="0">
                <a:pos x="connsiteX3" y="connsiteY3"/>
              </a:cxn>
            </a:cxnLst>
            <a:rect l="l" t="t" r="r" b="b"/>
            <a:pathLst>
              <a:path w="2785716" h="2784666">
                <a:moveTo>
                  <a:pt x="1137861" y="0"/>
                </a:moveTo>
                <a:lnTo>
                  <a:pt x="2785716" y="1140221"/>
                </a:lnTo>
                <a:lnTo>
                  <a:pt x="1647855" y="2784666"/>
                </a:lnTo>
                <a:lnTo>
                  <a:pt x="0" y="1644444"/>
                </a:lnTo>
                <a:close/>
              </a:path>
            </a:pathLst>
          </a:custGeom>
          <a:solidFill>
            <a:schemeClr val="bg1">
              <a:lumMod val="95000"/>
            </a:schemeClr>
          </a:solidFill>
        </p:spPr>
        <p:txBody>
          <a:bodyPr wrap="square" anchor="ctr">
            <a:noAutofit/>
          </a:bodyPr>
          <a:lstStyle>
            <a:lvl1pPr marL="0" indent="0" algn="ctr">
              <a:buNone/>
              <a:defRPr sz="900">
                <a:solidFill>
                  <a:schemeClr val="tx1">
                    <a:lumMod val="75000"/>
                    <a:lumOff val="25000"/>
                  </a:schemeClr>
                </a:solidFill>
              </a:defRPr>
            </a:lvl1pPr>
          </a:lstStyle>
          <a:p>
            <a:r>
              <a:rPr lang="en-US" altLang="ko-KR" dirty="0"/>
              <a:t>Place Your Picture Here</a:t>
            </a:r>
            <a:endParaRPr lang="ko-KR" altLang="en-US" dirty="0"/>
          </a:p>
        </p:txBody>
      </p:sp>
      <p:sp>
        <p:nvSpPr>
          <p:cNvPr id="18" name="Picture Placeholder 17">
            <a:extLst>
              <a:ext uri="{FF2B5EF4-FFF2-40B4-BE49-F238E27FC236}">
                <a16:creationId xmlns:a16="http://schemas.microsoft.com/office/drawing/2014/main" id="{164DE5B1-7A92-485E-BF4B-DC34DB0ECFFE}"/>
              </a:ext>
            </a:extLst>
          </p:cNvPr>
          <p:cNvSpPr>
            <a:spLocks noGrp="1"/>
          </p:cNvSpPr>
          <p:nvPr>
            <p:ph type="pic" sz="quarter" idx="20" hasCustomPrompt="1"/>
          </p:nvPr>
        </p:nvSpPr>
        <p:spPr>
          <a:xfrm>
            <a:off x="4408079" y="1375270"/>
            <a:ext cx="2089287" cy="2088500"/>
          </a:xfrm>
          <a:custGeom>
            <a:avLst/>
            <a:gdLst>
              <a:gd name="connsiteX0" fmla="*/ 1137861 w 2785716"/>
              <a:gd name="connsiteY0" fmla="*/ 0 h 2784666"/>
              <a:gd name="connsiteX1" fmla="*/ 2785716 w 2785716"/>
              <a:gd name="connsiteY1" fmla="*/ 1140221 h 2784666"/>
              <a:gd name="connsiteX2" fmla="*/ 1647855 w 2785716"/>
              <a:gd name="connsiteY2" fmla="*/ 2784666 h 2784666"/>
              <a:gd name="connsiteX3" fmla="*/ 0 w 2785716"/>
              <a:gd name="connsiteY3" fmla="*/ 1644444 h 2784666"/>
            </a:gdLst>
            <a:ahLst/>
            <a:cxnLst>
              <a:cxn ang="0">
                <a:pos x="connsiteX0" y="connsiteY0"/>
              </a:cxn>
              <a:cxn ang="0">
                <a:pos x="connsiteX1" y="connsiteY1"/>
              </a:cxn>
              <a:cxn ang="0">
                <a:pos x="connsiteX2" y="connsiteY2"/>
              </a:cxn>
              <a:cxn ang="0">
                <a:pos x="connsiteX3" y="connsiteY3"/>
              </a:cxn>
            </a:cxnLst>
            <a:rect l="l" t="t" r="r" b="b"/>
            <a:pathLst>
              <a:path w="2785716" h="2784666">
                <a:moveTo>
                  <a:pt x="1137861" y="0"/>
                </a:moveTo>
                <a:lnTo>
                  <a:pt x="2785716" y="1140221"/>
                </a:lnTo>
                <a:lnTo>
                  <a:pt x="1647855" y="2784666"/>
                </a:lnTo>
                <a:lnTo>
                  <a:pt x="0" y="1644444"/>
                </a:lnTo>
                <a:close/>
              </a:path>
            </a:pathLst>
          </a:custGeom>
          <a:solidFill>
            <a:schemeClr val="bg1">
              <a:lumMod val="95000"/>
            </a:schemeClr>
          </a:solidFill>
        </p:spPr>
        <p:txBody>
          <a:bodyPr wrap="square" anchor="ctr">
            <a:noAutofit/>
          </a:bodyPr>
          <a:lstStyle>
            <a:lvl1pPr marL="0" indent="0" algn="ctr">
              <a:buNone/>
              <a:defRPr sz="900">
                <a:solidFill>
                  <a:schemeClr val="tx1">
                    <a:lumMod val="75000"/>
                    <a:lumOff val="25000"/>
                  </a:schemeClr>
                </a:solidFill>
              </a:defRPr>
            </a:lvl1pPr>
          </a:lstStyle>
          <a:p>
            <a:r>
              <a:rPr lang="en-US" altLang="ko-KR" dirty="0"/>
              <a:t>Place Your Picture Here</a:t>
            </a:r>
            <a:endParaRPr lang="ko-KR" altLang="en-US" dirty="0"/>
          </a:p>
        </p:txBody>
      </p:sp>
      <p:sp>
        <p:nvSpPr>
          <p:cNvPr id="6" name="Freeform: Shape 5">
            <a:extLst>
              <a:ext uri="{FF2B5EF4-FFF2-40B4-BE49-F238E27FC236}">
                <a16:creationId xmlns:a16="http://schemas.microsoft.com/office/drawing/2014/main" id="{D6D283E2-312F-41C5-9422-DB6C85B4455D}"/>
              </a:ext>
            </a:extLst>
          </p:cNvPr>
          <p:cNvSpPr/>
          <p:nvPr userDrawn="1"/>
        </p:nvSpPr>
        <p:spPr>
          <a:xfrm flipH="1">
            <a:off x="7112965" y="1798608"/>
            <a:ext cx="2031035" cy="2559812"/>
          </a:xfrm>
          <a:custGeom>
            <a:avLst/>
            <a:gdLst>
              <a:gd name="connsiteX0" fmla="*/ 0 w 2708047"/>
              <a:gd name="connsiteY0" fmla="*/ 0 h 3335839"/>
              <a:gd name="connsiteX1" fmla="*/ 347734 w 2708047"/>
              <a:gd name="connsiteY1" fmla="*/ 0 h 3335839"/>
              <a:gd name="connsiteX2" fmla="*/ 2708047 w 2708047"/>
              <a:gd name="connsiteY2" fmla="*/ 3335839 h 3335839"/>
              <a:gd name="connsiteX3" fmla="*/ 0 w 2708047"/>
              <a:gd name="connsiteY3" fmla="*/ 3335839 h 3335839"/>
            </a:gdLst>
            <a:ahLst/>
            <a:cxnLst>
              <a:cxn ang="0">
                <a:pos x="connsiteX0" y="connsiteY0"/>
              </a:cxn>
              <a:cxn ang="0">
                <a:pos x="connsiteX1" y="connsiteY1"/>
              </a:cxn>
              <a:cxn ang="0">
                <a:pos x="connsiteX2" y="connsiteY2"/>
              </a:cxn>
              <a:cxn ang="0">
                <a:pos x="connsiteX3" y="connsiteY3"/>
              </a:cxn>
            </a:cxnLst>
            <a:rect l="l" t="t" r="r" b="b"/>
            <a:pathLst>
              <a:path w="2708047" h="3335839">
                <a:moveTo>
                  <a:pt x="0" y="0"/>
                </a:moveTo>
                <a:lnTo>
                  <a:pt x="347734" y="0"/>
                </a:lnTo>
                <a:lnTo>
                  <a:pt x="2708047" y="3335839"/>
                </a:lnTo>
                <a:lnTo>
                  <a:pt x="0" y="3335839"/>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Freeform: Shape 12">
            <a:extLst>
              <a:ext uri="{FF2B5EF4-FFF2-40B4-BE49-F238E27FC236}">
                <a16:creationId xmlns:a16="http://schemas.microsoft.com/office/drawing/2014/main" id="{B1AAC7CE-37C6-4882-8A2F-D617C7403A00}"/>
              </a:ext>
            </a:extLst>
          </p:cNvPr>
          <p:cNvSpPr/>
          <p:nvPr userDrawn="1"/>
        </p:nvSpPr>
        <p:spPr>
          <a:xfrm flipH="1">
            <a:off x="0" y="1364726"/>
            <a:ext cx="5152158" cy="2549510"/>
          </a:xfrm>
          <a:custGeom>
            <a:avLst/>
            <a:gdLst>
              <a:gd name="connsiteX0" fmla="*/ 6869544 w 6869544"/>
              <a:gd name="connsiteY0" fmla="*/ 0 h 3399346"/>
              <a:gd name="connsiteX1" fmla="*/ 0 w 6869544"/>
              <a:gd name="connsiteY1" fmla="*/ 0 h 3399346"/>
              <a:gd name="connsiteX2" fmla="*/ 2360312 w 6869544"/>
              <a:gd name="connsiteY2" fmla="*/ 3399346 h 3399346"/>
              <a:gd name="connsiteX3" fmla="*/ 6869544 w 6869544"/>
              <a:gd name="connsiteY3" fmla="*/ 3399346 h 3399346"/>
            </a:gdLst>
            <a:ahLst/>
            <a:cxnLst>
              <a:cxn ang="0">
                <a:pos x="connsiteX0" y="connsiteY0"/>
              </a:cxn>
              <a:cxn ang="0">
                <a:pos x="connsiteX1" y="connsiteY1"/>
              </a:cxn>
              <a:cxn ang="0">
                <a:pos x="connsiteX2" y="connsiteY2"/>
              </a:cxn>
              <a:cxn ang="0">
                <a:pos x="connsiteX3" y="connsiteY3"/>
              </a:cxn>
            </a:cxnLst>
            <a:rect l="l" t="t" r="r" b="b"/>
            <a:pathLst>
              <a:path w="6869544" h="3399346">
                <a:moveTo>
                  <a:pt x="6869544" y="0"/>
                </a:moveTo>
                <a:lnTo>
                  <a:pt x="0" y="0"/>
                </a:lnTo>
                <a:lnTo>
                  <a:pt x="2360312" y="3399346"/>
                </a:lnTo>
                <a:lnTo>
                  <a:pt x="6869544" y="3399346"/>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spTree>
    <p:extLst>
      <p:ext uri="{BB962C8B-B14F-4D97-AF65-F5344CB8AC3E}">
        <p14:creationId xmlns:p14="http://schemas.microsoft.com/office/powerpoint/2010/main" val="4304801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8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42187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9_Contents slide layout">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ABD26266-8DF8-4F9E-8108-90547D7F6DB4}"/>
              </a:ext>
            </a:extLst>
          </p:cNvPr>
          <p:cNvGrpSpPr/>
          <p:nvPr userDrawn="1"/>
        </p:nvGrpSpPr>
        <p:grpSpPr>
          <a:xfrm>
            <a:off x="7210237" y="1502435"/>
            <a:ext cx="1933763" cy="3039240"/>
            <a:chOff x="9508727" y="2147107"/>
            <a:chExt cx="2683273" cy="4217224"/>
          </a:xfrm>
        </p:grpSpPr>
        <p:sp>
          <p:nvSpPr>
            <p:cNvPr id="11" name="Freeform: Shape 10">
              <a:extLst>
                <a:ext uri="{FF2B5EF4-FFF2-40B4-BE49-F238E27FC236}">
                  <a16:creationId xmlns:a16="http://schemas.microsoft.com/office/drawing/2014/main" id="{27F633FE-376E-404F-91E4-885447763090}"/>
                </a:ext>
              </a:extLst>
            </p:cNvPr>
            <p:cNvSpPr/>
            <p:nvPr/>
          </p:nvSpPr>
          <p:spPr>
            <a:xfrm>
              <a:off x="11381596" y="5780548"/>
              <a:ext cx="810404" cy="583783"/>
            </a:xfrm>
            <a:custGeom>
              <a:avLst/>
              <a:gdLst>
                <a:gd name="connsiteX0" fmla="*/ 267669 w 810404"/>
                <a:gd name="connsiteY0" fmla="*/ 0 h 583783"/>
                <a:gd name="connsiteX1" fmla="*/ 769357 w 810404"/>
                <a:gd name="connsiteY1" fmla="*/ 0 h 583783"/>
                <a:gd name="connsiteX2" fmla="*/ 805844 w 810404"/>
                <a:gd name="connsiteY2" fmla="*/ 0 h 583783"/>
                <a:gd name="connsiteX3" fmla="*/ 810404 w 810404"/>
                <a:gd name="connsiteY3" fmla="*/ 0 h 583783"/>
                <a:gd name="connsiteX4" fmla="*/ 810404 w 810404"/>
                <a:gd name="connsiteY4" fmla="*/ 583783 h 583783"/>
                <a:gd name="connsiteX5" fmla="*/ 805844 w 810404"/>
                <a:gd name="connsiteY5" fmla="*/ 583783 h 583783"/>
                <a:gd name="connsiteX6" fmla="*/ 769357 w 810404"/>
                <a:gd name="connsiteY6" fmla="*/ 583783 h 583783"/>
                <a:gd name="connsiteX7" fmla="*/ 170371 w 810404"/>
                <a:gd name="connsiteY7" fmla="*/ 583783 h 583783"/>
                <a:gd name="connsiteX8" fmla="*/ 152128 w 810404"/>
                <a:gd name="connsiteY8" fmla="*/ 367906 h 583783"/>
                <a:gd name="connsiteX9" fmla="*/ 267669 w 810404"/>
                <a:gd name="connsiteY9" fmla="*/ 0 h 58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0404" h="583783">
                  <a:moveTo>
                    <a:pt x="267669" y="0"/>
                  </a:moveTo>
                  <a:lnTo>
                    <a:pt x="769357" y="0"/>
                  </a:lnTo>
                  <a:lnTo>
                    <a:pt x="805844" y="0"/>
                  </a:lnTo>
                  <a:lnTo>
                    <a:pt x="810404" y="0"/>
                  </a:lnTo>
                  <a:lnTo>
                    <a:pt x="810404" y="583783"/>
                  </a:lnTo>
                  <a:lnTo>
                    <a:pt x="805844" y="583783"/>
                  </a:lnTo>
                  <a:cubicBezTo>
                    <a:pt x="805844" y="583783"/>
                    <a:pt x="793682" y="583783"/>
                    <a:pt x="769357" y="583783"/>
                  </a:cubicBezTo>
                  <a:cubicBezTo>
                    <a:pt x="675101" y="583783"/>
                    <a:pt x="413614" y="583783"/>
                    <a:pt x="170371" y="583783"/>
                  </a:cubicBezTo>
                  <a:cubicBezTo>
                    <a:pt x="-133682" y="583783"/>
                    <a:pt x="39629" y="483446"/>
                    <a:pt x="152128" y="367906"/>
                  </a:cubicBezTo>
                  <a:cubicBezTo>
                    <a:pt x="264629" y="249324"/>
                    <a:pt x="267669" y="0"/>
                    <a:pt x="267669" y="0"/>
                  </a:cubicBezTo>
                  <a:close/>
                </a:path>
              </a:pathLst>
            </a:custGeom>
            <a:gradFill>
              <a:gsLst>
                <a:gs pos="0">
                  <a:schemeClr val="bg1">
                    <a:lumMod val="75000"/>
                  </a:schemeClr>
                </a:gs>
                <a:gs pos="53000">
                  <a:schemeClr val="bg1">
                    <a:lumMod val="85000"/>
                  </a:schemeClr>
                </a:gs>
                <a:gs pos="83000">
                  <a:schemeClr val="bg1">
                    <a:lumMod val="75000"/>
                  </a:schemeClr>
                </a:gs>
                <a:gs pos="100000">
                  <a:schemeClr val="bg1">
                    <a:lumMod val="75000"/>
                  </a:schemeClr>
                </a:gs>
              </a:gsLst>
              <a:lin ang="16200000" scaled="0"/>
            </a:gradFill>
            <a:ln w="9525" cap="flat">
              <a:noFill/>
              <a:prstDash val="solid"/>
              <a:miter/>
            </a:ln>
          </p:spPr>
          <p:txBody>
            <a:bodyPr wrap="square" rtlCol="0" anchor="ctr">
              <a:noAutofit/>
            </a:bodyPr>
            <a:lstStyle/>
            <a:p>
              <a:endParaRPr lang="en-US" sz="1350"/>
            </a:p>
          </p:txBody>
        </p:sp>
        <p:sp>
          <p:nvSpPr>
            <p:cNvPr id="12" name="Freeform: Shape 11">
              <a:extLst>
                <a:ext uri="{FF2B5EF4-FFF2-40B4-BE49-F238E27FC236}">
                  <a16:creationId xmlns:a16="http://schemas.microsoft.com/office/drawing/2014/main" id="{400AA72A-9E73-4E92-9A24-FC8789F6DFA4}"/>
                </a:ext>
              </a:extLst>
            </p:cNvPr>
            <p:cNvSpPr/>
            <p:nvPr/>
          </p:nvSpPr>
          <p:spPr>
            <a:xfrm>
              <a:off x="9508727" y="2147107"/>
              <a:ext cx="2683273" cy="3642562"/>
            </a:xfrm>
            <a:custGeom>
              <a:avLst/>
              <a:gdLst>
                <a:gd name="connsiteX0" fmla="*/ 170270 w 2683273"/>
                <a:gd name="connsiteY0" fmla="*/ 0 h 3642562"/>
                <a:gd name="connsiteX1" fmla="*/ 2645266 w 2683273"/>
                <a:gd name="connsiteY1" fmla="*/ 0 h 3642562"/>
                <a:gd name="connsiteX2" fmla="*/ 2683273 w 2683273"/>
                <a:gd name="connsiteY2" fmla="*/ 0 h 3642562"/>
                <a:gd name="connsiteX3" fmla="*/ 2683273 w 2683273"/>
                <a:gd name="connsiteY3" fmla="*/ 3642562 h 3642562"/>
                <a:gd name="connsiteX4" fmla="*/ 155068 w 2683273"/>
                <a:gd name="connsiteY4" fmla="*/ 3642562 h 3642562"/>
                <a:gd name="connsiteX5" fmla="*/ 0 w 2683273"/>
                <a:gd name="connsiteY5" fmla="*/ 3469251 h 3642562"/>
                <a:gd name="connsiteX6" fmla="*/ 0 w 2683273"/>
                <a:gd name="connsiteY6" fmla="*/ 170270 h 3642562"/>
                <a:gd name="connsiteX7" fmla="*/ 170270 w 2683273"/>
                <a:gd name="connsiteY7" fmla="*/ 0 h 364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3273" h="3642562">
                  <a:moveTo>
                    <a:pt x="170270" y="0"/>
                  </a:moveTo>
                  <a:lnTo>
                    <a:pt x="2645266" y="0"/>
                  </a:lnTo>
                  <a:lnTo>
                    <a:pt x="2683273" y="0"/>
                  </a:lnTo>
                  <a:lnTo>
                    <a:pt x="2683273" y="3642562"/>
                  </a:lnTo>
                  <a:lnTo>
                    <a:pt x="155068" y="3642562"/>
                  </a:lnTo>
                  <a:cubicBezTo>
                    <a:pt x="69933" y="3642562"/>
                    <a:pt x="0" y="3566549"/>
                    <a:pt x="0" y="3469251"/>
                  </a:cubicBezTo>
                  <a:lnTo>
                    <a:pt x="0" y="170270"/>
                  </a:lnTo>
                  <a:cubicBezTo>
                    <a:pt x="0" y="72973"/>
                    <a:pt x="82095" y="0"/>
                    <a:pt x="170270" y="0"/>
                  </a:cubicBezTo>
                  <a:close/>
                </a:path>
              </a:pathLst>
            </a:custGeom>
            <a:solidFill>
              <a:srgbClr val="999999"/>
            </a:solidFill>
            <a:ln w="9525" cap="flat">
              <a:noFill/>
              <a:prstDash val="solid"/>
              <a:miter/>
            </a:ln>
          </p:spPr>
          <p:txBody>
            <a:bodyPr wrap="square" rtlCol="0" anchor="ctr">
              <a:noAutofit/>
            </a:bodyPr>
            <a:lstStyle/>
            <a:p>
              <a:endParaRPr lang="en-US" sz="1350" dirty="0"/>
            </a:p>
          </p:txBody>
        </p:sp>
        <p:sp>
          <p:nvSpPr>
            <p:cNvPr id="13" name="Freeform: Shape 12">
              <a:extLst>
                <a:ext uri="{FF2B5EF4-FFF2-40B4-BE49-F238E27FC236}">
                  <a16:creationId xmlns:a16="http://schemas.microsoft.com/office/drawing/2014/main" id="{46BD5C51-A833-433E-BB70-71DFE09A603C}"/>
                </a:ext>
              </a:extLst>
            </p:cNvPr>
            <p:cNvSpPr/>
            <p:nvPr/>
          </p:nvSpPr>
          <p:spPr>
            <a:xfrm>
              <a:off x="9536092" y="2177513"/>
              <a:ext cx="2655908" cy="3195604"/>
            </a:xfrm>
            <a:custGeom>
              <a:avLst/>
              <a:gdLst>
                <a:gd name="connsiteX0" fmla="*/ 170270 w 2655908"/>
                <a:gd name="connsiteY0" fmla="*/ 0 h 3195604"/>
                <a:gd name="connsiteX1" fmla="*/ 2623983 w 2655908"/>
                <a:gd name="connsiteY1" fmla="*/ 0 h 3195604"/>
                <a:gd name="connsiteX2" fmla="*/ 2655908 w 2655908"/>
                <a:gd name="connsiteY2" fmla="*/ 0 h 3195604"/>
                <a:gd name="connsiteX3" fmla="*/ 2655908 w 2655908"/>
                <a:gd name="connsiteY3" fmla="*/ 3195604 h 3195604"/>
                <a:gd name="connsiteX4" fmla="*/ 0 w 2655908"/>
                <a:gd name="connsiteY4" fmla="*/ 3195604 h 3195604"/>
                <a:gd name="connsiteX5" fmla="*/ 0 w 2655908"/>
                <a:gd name="connsiteY5" fmla="*/ 148987 h 3195604"/>
                <a:gd name="connsiteX6" fmla="*/ 170270 w 2655908"/>
                <a:gd name="connsiteY6" fmla="*/ 0 h 319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5908" h="3195604">
                  <a:moveTo>
                    <a:pt x="170270" y="0"/>
                  </a:moveTo>
                  <a:lnTo>
                    <a:pt x="2623983" y="0"/>
                  </a:lnTo>
                  <a:lnTo>
                    <a:pt x="2655908" y="0"/>
                  </a:lnTo>
                  <a:lnTo>
                    <a:pt x="2655908" y="3195604"/>
                  </a:lnTo>
                  <a:lnTo>
                    <a:pt x="0" y="3195604"/>
                  </a:lnTo>
                  <a:lnTo>
                    <a:pt x="0" y="148987"/>
                  </a:lnTo>
                  <a:cubicBezTo>
                    <a:pt x="0" y="60811"/>
                    <a:pt x="82095" y="0"/>
                    <a:pt x="170270" y="0"/>
                  </a:cubicBezTo>
                  <a:close/>
                </a:path>
              </a:pathLst>
            </a:custGeom>
            <a:solidFill>
              <a:srgbClr val="231F20"/>
            </a:solidFill>
            <a:ln w="9525" cap="flat">
              <a:noFill/>
              <a:prstDash val="solid"/>
              <a:miter/>
            </a:ln>
          </p:spPr>
          <p:txBody>
            <a:bodyPr wrap="square" rtlCol="0" anchor="ctr">
              <a:noAutofit/>
            </a:bodyPr>
            <a:lstStyle/>
            <a:p>
              <a:endParaRPr lang="en-US" sz="1350" dirty="0"/>
            </a:p>
          </p:txBody>
        </p:sp>
        <p:sp>
          <p:nvSpPr>
            <p:cNvPr id="14" name="Freeform: Shape 13">
              <a:extLst>
                <a:ext uri="{FF2B5EF4-FFF2-40B4-BE49-F238E27FC236}">
                  <a16:creationId xmlns:a16="http://schemas.microsoft.com/office/drawing/2014/main" id="{F38E9B8E-66AA-4D07-8C4F-4CA5F0182522}"/>
                </a:ext>
              </a:extLst>
            </p:cNvPr>
            <p:cNvSpPr/>
            <p:nvPr/>
          </p:nvSpPr>
          <p:spPr>
            <a:xfrm>
              <a:off x="11384738" y="6312642"/>
              <a:ext cx="807262" cy="48649"/>
            </a:xfrm>
            <a:custGeom>
              <a:avLst/>
              <a:gdLst>
                <a:gd name="connsiteX0" fmla="*/ 0 w 807262"/>
                <a:gd name="connsiteY0" fmla="*/ 0 h 48649"/>
                <a:gd name="connsiteX1" fmla="*/ 807262 w 807262"/>
                <a:gd name="connsiteY1" fmla="*/ 0 h 48649"/>
                <a:gd name="connsiteX2" fmla="*/ 807262 w 807262"/>
                <a:gd name="connsiteY2" fmla="*/ 48649 h 48649"/>
                <a:gd name="connsiteX3" fmla="*/ 799662 w 807262"/>
                <a:gd name="connsiteY3" fmla="*/ 48649 h 48649"/>
                <a:gd name="connsiteX4" fmla="*/ 772297 w 807262"/>
                <a:gd name="connsiteY4" fmla="*/ 48649 h 48649"/>
                <a:gd name="connsiteX5" fmla="*/ 173311 w 807262"/>
                <a:gd name="connsiteY5" fmla="*/ 48649 h 48649"/>
                <a:gd name="connsiteX6" fmla="*/ 0 w 807262"/>
                <a:gd name="connsiteY6" fmla="*/ 6081 h 48649"/>
                <a:gd name="connsiteX7" fmla="*/ 0 w 807262"/>
                <a:gd name="connsiteY7" fmla="*/ 3041 h 48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262" h="48649">
                  <a:moveTo>
                    <a:pt x="0" y="0"/>
                  </a:moveTo>
                  <a:lnTo>
                    <a:pt x="807262" y="0"/>
                  </a:lnTo>
                  <a:lnTo>
                    <a:pt x="807262" y="48649"/>
                  </a:lnTo>
                  <a:lnTo>
                    <a:pt x="799662" y="48649"/>
                  </a:lnTo>
                  <a:cubicBezTo>
                    <a:pt x="793581" y="48649"/>
                    <a:pt x="784459" y="48649"/>
                    <a:pt x="772297" y="48649"/>
                  </a:cubicBezTo>
                  <a:cubicBezTo>
                    <a:pt x="678039" y="48649"/>
                    <a:pt x="416553" y="48649"/>
                    <a:pt x="173311" y="48649"/>
                  </a:cubicBezTo>
                  <a:cubicBezTo>
                    <a:pt x="48648" y="48649"/>
                    <a:pt x="0" y="36487"/>
                    <a:pt x="0" y="6081"/>
                  </a:cubicBezTo>
                  <a:cubicBezTo>
                    <a:pt x="0" y="6081"/>
                    <a:pt x="0" y="6081"/>
                    <a:pt x="0" y="3041"/>
                  </a:cubicBezTo>
                  <a:close/>
                </a:path>
              </a:pathLst>
            </a:custGeom>
            <a:solidFill>
              <a:schemeClr val="tx1">
                <a:lumMod val="50000"/>
                <a:lumOff val="50000"/>
              </a:schemeClr>
            </a:solidFill>
            <a:ln w="9525" cap="flat">
              <a:noFill/>
              <a:prstDash val="solid"/>
              <a:miter/>
            </a:ln>
          </p:spPr>
          <p:txBody>
            <a:bodyPr wrap="square" rtlCol="0" anchor="ctr">
              <a:noAutofit/>
            </a:bodyPr>
            <a:lstStyle/>
            <a:p>
              <a:endParaRPr lang="en-US" sz="1350" dirty="0"/>
            </a:p>
          </p:txBody>
        </p:sp>
        <p:sp>
          <p:nvSpPr>
            <p:cNvPr id="15" name="Freeform: Shape 14">
              <a:extLst>
                <a:ext uri="{FF2B5EF4-FFF2-40B4-BE49-F238E27FC236}">
                  <a16:creationId xmlns:a16="http://schemas.microsoft.com/office/drawing/2014/main" id="{3BC8E66A-1394-4D3C-B2E0-334A1F599DAF}"/>
                </a:ext>
              </a:extLst>
            </p:cNvPr>
            <p:cNvSpPr/>
            <p:nvPr/>
          </p:nvSpPr>
          <p:spPr>
            <a:xfrm>
              <a:off x="9536092" y="5379197"/>
              <a:ext cx="2655908" cy="395270"/>
            </a:xfrm>
            <a:custGeom>
              <a:avLst/>
              <a:gdLst>
                <a:gd name="connsiteX0" fmla="*/ 0 w 2655908"/>
                <a:gd name="connsiteY0" fmla="*/ 0 h 395270"/>
                <a:gd name="connsiteX1" fmla="*/ 2655908 w 2655908"/>
                <a:gd name="connsiteY1" fmla="*/ 0 h 395270"/>
                <a:gd name="connsiteX2" fmla="*/ 2655908 w 2655908"/>
                <a:gd name="connsiteY2" fmla="*/ 395270 h 395270"/>
                <a:gd name="connsiteX3" fmla="*/ 2623983 w 2655908"/>
                <a:gd name="connsiteY3" fmla="*/ 395270 h 395270"/>
                <a:gd name="connsiteX4" fmla="*/ 170270 w 2655908"/>
                <a:gd name="connsiteY4" fmla="*/ 395270 h 395270"/>
                <a:gd name="connsiteX5" fmla="*/ 0 w 2655908"/>
                <a:gd name="connsiteY5" fmla="*/ 246284 h 395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5908" h="395270">
                  <a:moveTo>
                    <a:pt x="0" y="0"/>
                  </a:moveTo>
                  <a:lnTo>
                    <a:pt x="2655908" y="0"/>
                  </a:lnTo>
                  <a:lnTo>
                    <a:pt x="2655908" y="395270"/>
                  </a:lnTo>
                  <a:lnTo>
                    <a:pt x="2623983" y="395270"/>
                  </a:lnTo>
                  <a:lnTo>
                    <a:pt x="170270" y="395270"/>
                  </a:lnTo>
                  <a:cubicBezTo>
                    <a:pt x="82095" y="395270"/>
                    <a:pt x="0" y="322297"/>
                    <a:pt x="0" y="246284"/>
                  </a:cubicBezTo>
                  <a:close/>
                </a:path>
              </a:pathLst>
            </a:custGeom>
            <a:solidFill>
              <a:schemeClr val="bg1">
                <a:lumMod val="75000"/>
              </a:schemeClr>
            </a:solidFill>
            <a:ln w="9525" cap="flat">
              <a:noFill/>
              <a:prstDash val="solid"/>
              <a:miter/>
            </a:ln>
          </p:spPr>
          <p:txBody>
            <a:bodyPr wrap="square" rtlCol="0" anchor="ctr">
              <a:noAutofit/>
            </a:bodyPr>
            <a:lstStyle/>
            <a:p>
              <a:endParaRPr lang="en-US" sz="1350"/>
            </a:p>
          </p:txBody>
        </p:sp>
        <p:sp>
          <p:nvSpPr>
            <p:cNvPr id="16" name="Freeform: Shape 15">
              <a:extLst>
                <a:ext uri="{FF2B5EF4-FFF2-40B4-BE49-F238E27FC236}">
                  <a16:creationId xmlns:a16="http://schemas.microsoft.com/office/drawing/2014/main" id="{BD4802E1-A5FC-45E8-8180-8E940D832B5F}"/>
                </a:ext>
              </a:extLst>
            </p:cNvPr>
            <p:cNvSpPr/>
            <p:nvPr/>
          </p:nvSpPr>
          <p:spPr>
            <a:xfrm>
              <a:off x="9711093" y="2388830"/>
              <a:ext cx="2480907" cy="2797293"/>
            </a:xfrm>
            <a:custGeom>
              <a:avLst/>
              <a:gdLst>
                <a:gd name="connsiteX0" fmla="*/ 30683 w 6586571"/>
                <a:gd name="connsiteY0" fmla="*/ 30683 h 3763755"/>
                <a:gd name="connsiteX1" fmla="*/ 6564071 w 6586571"/>
                <a:gd name="connsiteY1" fmla="*/ 30683 h 3763755"/>
                <a:gd name="connsiteX2" fmla="*/ 6564071 w 6586571"/>
                <a:gd name="connsiteY2" fmla="*/ 3753528 h 3763755"/>
                <a:gd name="connsiteX3" fmla="*/ 30683 w 6586571"/>
                <a:gd name="connsiteY3" fmla="*/ 3753528 h 3763755"/>
              </a:gdLst>
              <a:ahLst/>
              <a:cxnLst>
                <a:cxn ang="0">
                  <a:pos x="connsiteX0" y="connsiteY0"/>
                </a:cxn>
                <a:cxn ang="0">
                  <a:pos x="connsiteX1" y="connsiteY1"/>
                </a:cxn>
                <a:cxn ang="0">
                  <a:pos x="connsiteX2" y="connsiteY2"/>
                </a:cxn>
                <a:cxn ang="0">
                  <a:pos x="connsiteX3" y="connsiteY3"/>
                </a:cxn>
              </a:cxnLst>
              <a:rect l="l" t="t" r="r" b="b"/>
              <a:pathLst>
                <a:path w="6586571" h="3763755">
                  <a:moveTo>
                    <a:pt x="30683" y="30683"/>
                  </a:moveTo>
                  <a:lnTo>
                    <a:pt x="6564071" y="30683"/>
                  </a:lnTo>
                  <a:lnTo>
                    <a:pt x="6564071" y="3753528"/>
                  </a:lnTo>
                  <a:lnTo>
                    <a:pt x="30683" y="3753528"/>
                  </a:lnTo>
                  <a:close/>
                </a:path>
              </a:pathLst>
            </a:custGeom>
            <a:solidFill>
              <a:srgbClr val="F2F2F2"/>
            </a:solidFill>
            <a:ln w="9525" cap="flat">
              <a:noFill/>
              <a:prstDash val="solid"/>
              <a:miter/>
            </a:ln>
          </p:spPr>
          <p:txBody>
            <a:bodyPr rtlCol="0" anchor="ctr"/>
            <a:lstStyle/>
            <a:p>
              <a:endParaRPr lang="en-US" sz="1350"/>
            </a:p>
          </p:txBody>
        </p:sp>
        <p:sp>
          <p:nvSpPr>
            <p:cNvPr id="17" name="Freeform: Shape 16">
              <a:extLst>
                <a:ext uri="{FF2B5EF4-FFF2-40B4-BE49-F238E27FC236}">
                  <a16:creationId xmlns:a16="http://schemas.microsoft.com/office/drawing/2014/main" id="{92825B71-4111-4DEB-8EF4-3C86689A682C}"/>
                </a:ext>
              </a:extLst>
            </p:cNvPr>
            <p:cNvSpPr/>
            <p:nvPr/>
          </p:nvSpPr>
          <p:spPr>
            <a:xfrm>
              <a:off x="10791316" y="2439610"/>
              <a:ext cx="1400684" cy="2776919"/>
            </a:xfrm>
            <a:custGeom>
              <a:avLst/>
              <a:gdLst>
                <a:gd name="connsiteX0" fmla="*/ 2567127 w 4009217"/>
                <a:gd name="connsiteY0" fmla="*/ 30683 h 4295590"/>
                <a:gd name="connsiteX1" fmla="*/ 3798529 w 4009217"/>
                <a:gd name="connsiteY1" fmla="*/ 30683 h 4295590"/>
                <a:gd name="connsiteX2" fmla="*/ 4007172 w 4009217"/>
                <a:gd name="connsiteY2" fmla="*/ 272054 h 4295590"/>
                <a:gd name="connsiteX3" fmla="*/ 3998990 w 4009217"/>
                <a:gd name="connsiteY3" fmla="*/ 4268999 h 4295590"/>
                <a:gd name="connsiteX4" fmla="*/ 30683 w 4009217"/>
                <a:gd name="connsiteY4" fmla="*/ 4268999 h 4295590"/>
                <a:gd name="connsiteX0" fmla="*/ 2536444 w 3976489"/>
                <a:gd name="connsiteY0" fmla="*/ 0 h 4238316"/>
                <a:gd name="connsiteX1" fmla="*/ 3976489 w 3976489"/>
                <a:gd name="connsiteY1" fmla="*/ 241371 h 4238316"/>
                <a:gd name="connsiteX2" fmla="*/ 3968307 w 3976489"/>
                <a:gd name="connsiteY2" fmla="*/ 4238316 h 4238316"/>
                <a:gd name="connsiteX3" fmla="*/ 0 w 3976489"/>
                <a:gd name="connsiteY3" fmla="*/ 4238316 h 4238316"/>
                <a:gd name="connsiteX0" fmla="*/ 2536444 w 3976489"/>
                <a:gd name="connsiteY0" fmla="*/ 0 h 4238316"/>
                <a:gd name="connsiteX1" fmla="*/ 3976489 w 3976489"/>
                <a:gd name="connsiteY1" fmla="*/ 213683 h 4238316"/>
                <a:gd name="connsiteX2" fmla="*/ 3968307 w 3976489"/>
                <a:gd name="connsiteY2" fmla="*/ 4238316 h 4238316"/>
                <a:gd name="connsiteX3" fmla="*/ 0 w 3976489"/>
                <a:gd name="connsiteY3" fmla="*/ 4238316 h 4238316"/>
                <a:gd name="connsiteX0" fmla="*/ 2473335 w 3976489"/>
                <a:gd name="connsiteY0" fmla="*/ 0 h 4035268"/>
                <a:gd name="connsiteX1" fmla="*/ 3976489 w 3976489"/>
                <a:gd name="connsiteY1" fmla="*/ 10635 h 4035268"/>
                <a:gd name="connsiteX2" fmla="*/ 3968307 w 3976489"/>
                <a:gd name="connsiteY2" fmla="*/ 4035268 h 4035268"/>
                <a:gd name="connsiteX3" fmla="*/ 0 w 3976489"/>
                <a:gd name="connsiteY3" fmla="*/ 4035268 h 4035268"/>
              </a:gdLst>
              <a:ahLst/>
              <a:cxnLst>
                <a:cxn ang="0">
                  <a:pos x="connsiteX0" y="connsiteY0"/>
                </a:cxn>
                <a:cxn ang="0">
                  <a:pos x="connsiteX1" y="connsiteY1"/>
                </a:cxn>
                <a:cxn ang="0">
                  <a:pos x="connsiteX2" y="connsiteY2"/>
                </a:cxn>
                <a:cxn ang="0">
                  <a:pos x="connsiteX3" y="connsiteY3"/>
                </a:cxn>
              </a:cxnLst>
              <a:rect l="l" t="t" r="r" b="b"/>
              <a:pathLst>
                <a:path w="3976489" h="4035268">
                  <a:moveTo>
                    <a:pt x="2473335" y="0"/>
                  </a:moveTo>
                  <a:lnTo>
                    <a:pt x="3976489" y="10635"/>
                  </a:lnTo>
                  <a:cubicBezTo>
                    <a:pt x="3973762" y="1342950"/>
                    <a:pt x="3971034" y="2702953"/>
                    <a:pt x="3968307" y="4035268"/>
                  </a:cubicBezTo>
                  <a:lnTo>
                    <a:pt x="0" y="4035268"/>
                  </a:lnTo>
                </a:path>
              </a:pathLst>
            </a:custGeom>
            <a:solidFill>
              <a:srgbClr val="999999">
                <a:alpha val="10000"/>
              </a:srgbClr>
            </a:solidFill>
            <a:ln w="9525" cap="flat">
              <a:noFill/>
              <a:prstDash val="solid"/>
              <a:miter/>
            </a:ln>
          </p:spPr>
          <p:txBody>
            <a:bodyPr rtlCol="0" anchor="ctr"/>
            <a:lstStyle/>
            <a:p>
              <a:endParaRPr lang="en-US" sz="1350" dirty="0"/>
            </a:p>
          </p:txBody>
        </p:sp>
      </p:grpSp>
      <p:sp>
        <p:nvSpPr>
          <p:cNvPr id="18" name="Rectangle 17">
            <a:extLst>
              <a:ext uri="{FF2B5EF4-FFF2-40B4-BE49-F238E27FC236}">
                <a16:creationId xmlns:a16="http://schemas.microsoft.com/office/drawing/2014/main" id="{23A80384-9207-4A80-9B70-A1F7CDE8F6C3}"/>
              </a:ext>
            </a:extLst>
          </p:cNvPr>
          <p:cNvSpPr/>
          <p:nvPr userDrawn="1"/>
        </p:nvSpPr>
        <p:spPr>
          <a:xfrm>
            <a:off x="0" y="2"/>
            <a:ext cx="9144000" cy="141033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solidFill>
                <a:schemeClr val="bg1"/>
              </a:solidFill>
            </a:endParaRPr>
          </a:p>
        </p:txBody>
      </p:sp>
      <p:sp>
        <p:nvSpPr>
          <p:cNvPr id="19" name="Oval 18">
            <a:extLst>
              <a:ext uri="{FF2B5EF4-FFF2-40B4-BE49-F238E27FC236}">
                <a16:creationId xmlns:a16="http://schemas.microsoft.com/office/drawing/2014/main" id="{4C416A75-B8CF-4929-BC37-2BBFEDC80AA1}"/>
              </a:ext>
            </a:extLst>
          </p:cNvPr>
          <p:cNvSpPr/>
          <p:nvPr userDrawn="1"/>
        </p:nvSpPr>
        <p:spPr>
          <a:xfrm>
            <a:off x="4099500" y="924774"/>
            <a:ext cx="945000" cy="94500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21" name="Oval 9">
            <a:extLst>
              <a:ext uri="{FF2B5EF4-FFF2-40B4-BE49-F238E27FC236}">
                <a16:creationId xmlns:a16="http://schemas.microsoft.com/office/drawing/2014/main" id="{01AED590-6033-41B9-B612-A655FC2D2471}"/>
              </a:ext>
            </a:extLst>
          </p:cNvPr>
          <p:cNvSpPr/>
          <p:nvPr userDrawn="1"/>
        </p:nvSpPr>
        <p:spPr>
          <a:xfrm>
            <a:off x="5036063" y="2807910"/>
            <a:ext cx="1890000" cy="189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25"/>
          </a:p>
        </p:txBody>
      </p:sp>
      <p:sp>
        <p:nvSpPr>
          <p:cNvPr id="22" name="Picture Placeholder 2">
            <a:extLst>
              <a:ext uri="{FF2B5EF4-FFF2-40B4-BE49-F238E27FC236}">
                <a16:creationId xmlns:a16="http://schemas.microsoft.com/office/drawing/2014/main" id="{4BA74944-B383-469B-9810-16FAA4736103}"/>
              </a:ext>
            </a:extLst>
          </p:cNvPr>
          <p:cNvSpPr>
            <a:spLocks noGrp="1"/>
          </p:cNvSpPr>
          <p:nvPr>
            <p:ph type="pic" idx="10" hasCustomPrompt="1"/>
          </p:nvPr>
        </p:nvSpPr>
        <p:spPr>
          <a:xfrm>
            <a:off x="7309360" y="1665929"/>
            <a:ext cx="1834641" cy="2052611"/>
          </a:xfrm>
          <a:prstGeom prst="rect">
            <a:avLst/>
          </a:prstGeom>
          <a:solidFill>
            <a:schemeClr val="bg1">
              <a:lumMod val="95000"/>
            </a:schemeClr>
          </a:solidFill>
          <a:ln w="12700">
            <a:noFill/>
          </a:ln>
        </p:spPr>
        <p:txBody>
          <a:bodyPr anchor="ctr"/>
          <a:lstStyle>
            <a:lvl1pPr marL="0" indent="0" algn="ctr">
              <a:buNone/>
              <a:defRPr sz="900">
                <a:latin typeface="+mn-lt"/>
                <a:cs typeface="Arial" pitchFamily="34" charset="0"/>
              </a:defRPr>
            </a:lvl1pPr>
            <a:lvl2pPr marL="342917" indent="0">
              <a:buNone/>
              <a:defRPr sz="2100"/>
            </a:lvl2pPr>
            <a:lvl3pPr marL="685835" indent="0">
              <a:buNone/>
              <a:defRPr sz="1800"/>
            </a:lvl3pPr>
            <a:lvl4pPr marL="1028752" indent="0">
              <a:buNone/>
              <a:defRPr sz="1500"/>
            </a:lvl4pPr>
            <a:lvl5pPr marL="1371668" indent="0">
              <a:buNone/>
              <a:defRPr sz="1500"/>
            </a:lvl5pPr>
            <a:lvl6pPr marL="1714586" indent="0">
              <a:buNone/>
              <a:defRPr sz="1500"/>
            </a:lvl6pPr>
            <a:lvl7pPr marL="2057503" indent="0">
              <a:buNone/>
              <a:defRPr sz="1500"/>
            </a:lvl7pPr>
            <a:lvl8pPr marL="2400420" indent="0">
              <a:buNone/>
              <a:defRPr sz="1500"/>
            </a:lvl8pPr>
            <a:lvl9pPr marL="2743337" indent="0">
              <a:buNone/>
              <a:defRPr sz="1500"/>
            </a:lvl9pPr>
          </a:lstStyle>
          <a:p>
            <a:r>
              <a:rPr lang="en-US" altLang="ko-KR" dirty="0"/>
              <a:t>Your Picture Here </a:t>
            </a:r>
            <a:endParaRPr lang="ko-KR" altLang="en-US" dirty="0"/>
          </a:p>
        </p:txBody>
      </p:sp>
      <p:grpSp>
        <p:nvGrpSpPr>
          <p:cNvPr id="23" name="Group 20">
            <a:extLst>
              <a:ext uri="{FF2B5EF4-FFF2-40B4-BE49-F238E27FC236}">
                <a16:creationId xmlns:a16="http://schemas.microsoft.com/office/drawing/2014/main" id="{73844864-235F-4E14-9FBA-EB17CB8C013A}"/>
              </a:ext>
            </a:extLst>
          </p:cNvPr>
          <p:cNvGrpSpPr/>
          <p:nvPr userDrawn="1"/>
        </p:nvGrpSpPr>
        <p:grpSpPr>
          <a:xfrm>
            <a:off x="5264334" y="1756462"/>
            <a:ext cx="1418069" cy="2492891"/>
            <a:chOff x="445712" y="1449040"/>
            <a:chExt cx="2113018" cy="3924176"/>
          </a:xfrm>
        </p:grpSpPr>
        <p:sp>
          <p:nvSpPr>
            <p:cNvPr id="24" name="Rounded Rectangle 21">
              <a:extLst>
                <a:ext uri="{FF2B5EF4-FFF2-40B4-BE49-F238E27FC236}">
                  <a16:creationId xmlns:a16="http://schemas.microsoft.com/office/drawing/2014/main" id="{A0C7D66C-8C6F-4B9E-8DC1-072BF2073C6A}"/>
                </a:ext>
              </a:extLst>
            </p:cNvPr>
            <p:cNvSpPr/>
            <p:nvPr userDrawn="1"/>
          </p:nvSpPr>
          <p:spPr>
            <a:xfrm>
              <a:off x="445712" y="1449040"/>
              <a:ext cx="2113018" cy="3924176"/>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dirty="0"/>
            </a:p>
          </p:txBody>
        </p:sp>
        <p:sp>
          <p:nvSpPr>
            <p:cNvPr id="25" name="Rectangle 22">
              <a:extLst>
                <a:ext uri="{FF2B5EF4-FFF2-40B4-BE49-F238E27FC236}">
                  <a16:creationId xmlns:a16="http://schemas.microsoft.com/office/drawing/2014/main" id="{764ECC13-9256-4F74-B289-1001D8F2747F}"/>
                </a:ext>
              </a:extLst>
            </p:cNvPr>
            <p:cNvSpPr/>
            <p:nvPr userDrawn="1"/>
          </p:nvSpPr>
          <p:spPr>
            <a:xfrm>
              <a:off x="1379920" y="1650572"/>
              <a:ext cx="216024" cy="34350"/>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grpSp>
          <p:nvGrpSpPr>
            <p:cNvPr id="26" name="Group 23">
              <a:extLst>
                <a:ext uri="{FF2B5EF4-FFF2-40B4-BE49-F238E27FC236}">
                  <a16:creationId xmlns:a16="http://schemas.microsoft.com/office/drawing/2014/main" id="{808E2BAA-465D-4C79-8B44-51C252EE8A0B}"/>
                </a:ext>
              </a:extLst>
            </p:cNvPr>
            <p:cNvGrpSpPr/>
            <p:nvPr userDrawn="1"/>
          </p:nvGrpSpPr>
          <p:grpSpPr>
            <a:xfrm>
              <a:off x="1407705" y="5045834"/>
              <a:ext cx="211967" cy="211967"/>
              <a:chOff x="1549420" y="5712364"/>
              <a:chExt cx="312583" cy="312583"/>
            </a:xfrm>
          </p:grpSpPr>
          <p:sp>
            <p:nvSpPr>
              <p:cNvPr id="27" name="Oval 24">
                <a:extLst>
                  <a:ext uri="{FF2B5EF4-FFF2-40B4-BE49-F238E27FC236}">
                    <a16:creationId xmlns:a16="http://schemas.microsoft.com/office/drawing/2014/main" id="{2402E4F7-C37D-4790-B616-737E2810F7FC}"/>
                  </a:ext>
                </a:extLst>
              </p:cNvPr>
              <p:cNvSpPr/>
              <p:nvPr userDrawn="1"/>
            </p:nvSpPr>
            <p:spPr>
              <a:xfrm>
                <a:off x="1549420" y="5712364"/>
                <a:ext cx="312583" cy="312583"/>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28" name="Rounded Rectangle 25">
                <a:extLst>
                  <a:ext uri="{FF2B5EF4-FFF2-40B4-BE49-F238E27FC236}">
                    <a16:creationId xmlns:a16="http://schemas.microsoft.com/office/drawing/2014/main" id="{76D07C3D-86F4-43C7-B719-BBBFD744E107}"/>
                  </a:ext>
                </a:extLst>
              </p:cNvPr>
              <p:cNvSpPr/>
              <p:nvPr userDrawn="1"/>
            </p:nvSpPr>
            <p:spPr>
              <a:xfrm>
                <a:off x="1634225" y="5796647"/>
                <a:ext cx="142969" cy="144016"/>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grpSp>
      </p:grpSp>
      <p:sp>
        <p:nvSpPr>
          <p:cNvPr id="29" name="Picture Placeholder 2">
            <a:extLst>
              <a:ext uri="{FF2B5EF4-FFF2-40B4-BE49-F238E27FC236}">
                <a16:creationId xmlns:a16="http://schemas.microsoft.com/office/drawing/2014/main" id="{1B67B68D-FEC5-42A8-B837-0016014A5CE9}"/>
              </a:ext>
            </a:extLst>
          </p:cNvPr>
          <p:cNvSpPr>
            <a:spLocks noGrp="1"/>
          </p:cNvSpPr>
          <p:nvPr>
            <p:ph type="pic" idx="11" hasCustomPrompt="1"/>
          </p:nvPr>
        </p:nvSpPr>
        <p:spPr>
          <a:xfrm>
            <a:off x="5359112" y="2001678"/>
            <a:ext cx="1218031" cy="1997571"/>
          </a:xfrm>
          <a:prstGeom prst="rect">
            <a:avLst/>
          </a:prstGeom>
          <a:solidFill>
            <a:schemeClr val="bg1">
              <a:lumMod val="95000"/>
            </a:schemeClr>
          </a:solidFill>
          <a:ln w="12700">
            <a:noFill/>
          </a:ln>
        </p:spPr>
        <p:txBody>
          <a:bodyPr anchor="ctr"/>
          <a:lstStyle>
            <a:lvl1pPr marL="0" indent="0" algn="ctr">
              <a:buNone/>
              <a:defRPr sz="900">
                <a:latin typeface="+mn-lt"/>
                <a:cs typeface="Arial" pitchFamily="34" charset="0"/>
              </a:defRPr>
            </a:lvl1pPr>
            <a:lvl2pPr marL="342917" indent="0">
              <a:buNone/>
              <a:defRPr sz="2100"/>
            </a:lvl2pPr>
            <a:lvl3pPr marL="685835" indent="0">
              <a:buNone/>
              <a:defRPr sz="1800"/>
            </a:lvl3pPr>
            <a:lvl4pPr marL="1028752" indent="0">
              <a:buNone/>
              <a:defRPr sz="1500"/>
            </a:lvl4pPr>
            <a:lvl5pPr marL="1371668" indent="0">
              <a:buNone/>
              <a:defRPr sz="1500"/>
            </a:lvl5pPr>
            <a:lvl6pPr marL="1714586" indent="0">
              <a:buNone/>
              <a:defRPr sz="1500"/>
            </a:lvl6pPr>
            <a:lvl7pPr marL="2057503" indent="0">
              <a:buNone/>
              <a:defRPr sz="1500"/>
            </a:lvl7pPr>
            <a:lvl8pPr marL="2400420" indent="0">
              <a:buNone/>
              <a:defRPr sz="1500"/>
            </a:lvl8pPr>
            <a:lvl9pPr marL="2743337" indent="0">
              <a:buNone/>
              <a:defRPr sz="1500"/>
            </a:lvl9pPr>
          </a:lstStyle>
          <a:p>
            <a:r>
              <a:rPr lang="en-US" altLang="ko-KR" dirty="0"/>
              <a:t>Your Picture Here </a:t>
            </a:r>
            <a:endParaRPr lang="ko-KR" altLang="en-US" dirty="0"/>
          </a:p>
        </p:txBody>
      </p:sp>
      <p:sp>
        <p:nvSpPr>
          <p:cNvPr id="30" name="Text Placeholder 9">
            <a:extLst>
              <a:ext uri="{FF2B5EF4-FFF2-40B4-BE49-F238E27FC236}">
                <a16:creationId xmlns:a16="http://schemas.microsoft.com/office/drawing/2014/main" id="{16F402C5-963E-430D-8D32-CCEA9657B818}"/>
              </a:ext>
            </a:extLst>
          </p:cNvPr>
          <p:cNvSpPr>
            <a:spLocks noGrp="1"/>
          </p:cNvSpPr>
          <p:nvPr>
            <p:ph type="body" sz="quarter" idx="12" hasCustomPrompt="1"/>
          </p:nvPr>
        </p:nvSpPr>
        <p:spPr>
          <a:xfrm>
            <a:off x="242647" y="254632"/>
            <a:ext cx="8679898" cy="543185"/>
          </a:xfrm>
          <a:prstGeom prst="rect">
            <a:avLst/>
          </a:prstGeom>
        </p:spPr>
        <p:txBody>
          <a:bodyPr anchor="ctr"/>
          <a:lstStyle>
            <a:lvl1pPr marL="0" indent="0" algn="ctr">
              <a:buNone/>
              <a:defRPr sz="4050" b="0" baseline="0">
                <a:solidFill>
                  <a:schemeClr val="bg1"/>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29297512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0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0913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1_Contents slide layout">
    <p:bg>
      <p:bgPr>
        <a:solidFill>
          <a:schemeClr val="accent1"/>
        </a:solidFill>
        <a:effectLst/>
      </p:bgPr>
    </p:bg>
    <p:spTree>
      <p:nvGrpSpPr>
        <p:cNvPr id="1" name=""/>
        <p:cNvGrpSpPr/>
        <p:nvPr/>
      </p:nvGrpSpPr>
      <p:grpSpPr>
        <a:xfrm>
          <a:off x="0" y="0"/>
          <a:ext cx="0" cy="0"/>
          <a:chOff x="0" y="0"/>
          <a:chExt cx="0" cy="0"/>
        </a:xfrm>
      </p:grpSpPr>
      <p:sp>
        <p:nvSpPr>
          <p:cNvPr id="2" name="Picture Placeholder 22">
            <a:extLst>
              <a:ext uri="{FF2B5EF4-FFF2-40B4-BE49-F238E27FC236}">
                <a16:creationId xmlns:a16="http://schemas.microsoft.com/office/drawing/2014/main" id="{E58C46AB-72B0-452F-8968-7F13D6C69330}"/>
              </a:ext>
            </a:extLst>
          </p:cNvPr>
          <p:cNvSpPr>
            <a:spLocks noGrp="1"/>
          </p:cNvSpPr>
          <p:nvPr>
            <p:ph type="pic" sz="quarter" idx="10" hasCustomPrompt="1"/>
          </p:nvPr>
        </p:nvSpPr>
        <p:spPr>
          <a:xfrm>
            <a:off x="0" y="1"/>
            <a:ext cx="9144000" cy="4921067"/>
          </a:xfrm>
          <a:custGeom>
            <a:avLst/>
            <a:gdLst>
              <a:gd name="connsiteX0" fmla="*/ 0 w 12192000"/>
              <a:gd name="connsiteY0" fmla="*/ 0 h 6561423"/>
              <a:gd name="connsiteX1" fmla="*/ 12192000 w 12192000"/>
              <a:gd name="connsiteY1" fmla="*/ 0 h 6561423"/>
              <a:gd name="connsiteX2" fmla="*/ 12192000 w 12192000"/>
              <a:gd name="connsiteY2" fmla="*/ 2455328 h 6561423"/>
              <a:gd name="connsiteX3" fmla="*/ 9675392 w 12192000"/>
              <a:gd name="connsiteY3" fmla="*/ 3302886 h 6561423"/>
              <a:gd name="connsiteX4" fmla="*/ 10157317 w 12192000"/>
              <a:gd name="connsiteY4" fmla="*/ 4390513 h 6561423"/>
              <a:gd name="connsiteX5" fmla="*/ 8230254 w 12192000"/>
              <a:gd name="connsiteY5" fmla="*/ 3789588 h 6561423"/>
              <a:gd name="connsiteX6" fmla="*/ 0 w 12192000"/>
              <a:gd name="connsiteY6" fmla="*/ 6561423 h 656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561423">
                <a:moveTo>
                  <a:pt x="0" y="0"/>
                </a:moveTo>
                <a:lnTo>
                  <a:pt x="12192000" y="0"/>
                </a:lnTo>
                <a:lnTo>
                  <a:pt x="12192000" y="2455328"/>
                </a:lnTo>
                <a:lnTo>
                  <a:pt x="9675392" y="3302886"/>
                </a:lnTo>
                <a:lnTo>
                  <a:pt x="10157317" y="4390513"/>
                </a:lnTo>
                <a:lnTo>
                  <a:pt x="8230254" y="3789588"/>
                </a:lnTo>
                <a:lnTo>
                  <a:pt x="0" y="6561423"/>
                </a:lnTo>
                <a:close/>
              </a:path>
            </a:pathLst>
          </a:custGeom>
          <a:solidFill>
            <a:schemeClr val="bg1">
              <a:lumMod val="95000"/>
            </a:schemeClr>
          </a:solidFill>
        </p:spPr>
        <p:txBody>
          <a:bodyPr wrap="square" anchor="ctr">
            <a:noAutofit/>
          </a:bodyPr>
          <a:lstStyle>
            <a:lvl1pPr marL="0" marR="0" indent="0" algn="ctr" defTabSz="685800" rtl="0" eaLnBrk="1" fontAlgn="auto" latinLnBrk="1" hangingPunct="1">
              <a:lnSpc>
                <a:spcPct val="100000"/>
              </a:lnSpc>
              <a:spcBef>
                <a:spcPct val="20000"/>
              </a:spcBef>
              <a:spcAft>
                <a:spcPts val="0"/>
              </a:spcAft>
              <a:buClrTx/>
              <a:buSzTx/>
              <a:buFont typeface="Arial" pitchFamily="34" charset="0"/>
              <a:buNone/>
              <a:tabLst/>
              <a:defRPr sz="900">
                <a:latin typeface="+mn-lt"/>
              </a:defRPr>
            </a:lvl1pPr>
          </a:lstStyle>
          <a:p>
            <a:r>
              <a:rPr lang="en-US" altLang="ko-KR" dirty="0"/>
              <a:t>Your Picture Here And Send To Back</a:t>
            </a:r>
            <a:endParaRPr lang="ko-KR" altLang="en-US" dirty="0"/>
          </a:p>
          <a:p>
            <a:endParaRPr lang="ko-KR" altLang="en-US" dirty="0"/>
          </a:p>
        </p:txBody>
      </p:sp>
    </p:spTree>
    <p:extLst>
      <p:ext uri="{BB962C8B-B14F-4D97-AF65-F5344CB8AC3E}">
        <p14:creationId xmlns:p14="http://schemas.microsoft.com/office/powerpoint/2010/main" val="3351070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BF69786-8C64-4D09-88E7-52554B6B5485}" type="datetime1">
              <a:rPr lang="en-US" smtClean="0"/>
              <a:t>10/28/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2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072024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3_Contents slide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0AE252F-2F95-498B-9748-639B6E785753}"/>
              </a:ext>
            </a:extLst>
          </p:cNvPr>
          <p:cNvSpPr/>
          <p:nvPr userDrawn="1"/>
        </p:nvSpPr>
        <p:spPr>
          <a:xfrm>
            <a:off x="270457" y="227796"/>
            <a:ext cx="4140557" cy="46879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 name="Picture Placeholder 2">
            <a:extLst>
              <a:ext uri="{FF2B5EF4-FFF2-40B4-BE49-F238E27FC236}">
                <a16:creationId xmlns:a16="http://schemas.microsoft.com/office/drawing/2014/main" id="{2000EF3A-BE58-433D-9D14-B9221C51EC72}"/>
              </a:ext>
            </a:extLst>
          </p:cNvPr>
          <p:cNvSpPr>
            <a:spLocks noGrp="1"/>
          </p:cNvSpPr>
          <p:nvPr>
            <p:ph type="pic" idx="16" hasCustomPrompt="1"/>
          </p:nvPr>
        </p:nvSpPr>
        <p:spPr>
          <a:xfrm>
            <a:off x="412125" y="392806"/>
            <a:ext cx="2781836" cy="4391696"/>
          </a:xfrm>
          <a:prstGeom prst="rect">
            <a:avLst/>
          </a:prstGeom>
          <a:solidFill>
            <a:schemeClr val="bg1">
              <a:lumMod val="95000"/>
            </a:schemeClr>
          </a:solidFill>
        </p:spPr>
        <p:txBody>
          <a:bodyPr anchor="ctr"/>
          <a:lstStyle>
            <a:lvl1pPr marL="0" indent="0" algn="ctr">
              <a:buNone/>
              <a:defRPr sz="900">
                <a:latin typeface="+mn-lt"/>
                <a:cs typeface="Arial" pitchFamily="34" charset="0"/>
              </a:defRPr>
            </a:lvl1pPr>
            <a:lvl2pPr marL="342917" indent="0">
              <a:buNone/>
              <a:defRPr sz="2100"/>
            </a:lvl2pPr>
            <a:lvl3pPr marL="685835" indent="0">
              <a:buNone/>
              <a:defRPr sz="1800"/>
            </a:lvl3pPr>
            <a:lvl4pPr marL="1028752" indent="0">
              <a:buNone/>
              <a:defRPr sz="1500"/>
            </a:lvl4pPr>
            <a:lvl5pPr marL="1371668" indent="0">
              <a:buNone/>
              <a:defRPr sz="1500"/>
            </a:lvl5pPr>
            <a:lvl6pPr marL="1714586" indent="0">
              <a:buNone/>
              <a:defRPr sz="1500"/>
            </a:lvl6pPr>
            <a:lvl7pPr marL="2057503" indent="0">
              <a:buNone/>
              <a:defRPr sz="1500"/>
            </a:lvl7pPr>
            <a:lvl8pPr marL="2400420" indent="0">
              <a:buNone/>
              <a:defRPr sz="1500"/>
            </a:lvl8pPr>
            <a:lvl9pPr marL="2743337" indent="0">
              <a:buNone/>
              <a:defRPr sz="1500"/>
            </a:lvl9pPr>
          </a:lstStyle>
          <a:p>
            <a:r>
              <a:rPr lang="en-US" altLang="ko-KR" dirty="0"/>
              <a:t>Your Picture Here</a:t>
            </a:r>
            <a:endParaRPr lang="ko-KR" altLang="en-US" dirty="0"/>
          </a:p>
        </p:txBody>
      </p:sp>
    </p:spTree>
    <p:extLst>
      <p:ext uri="{BB962C8B-B14F-4D97-AF65-F5344CB8AC3E}">
        <p14:creationId xmlns:p14="http://schemas.microsoft.com/office/powerpoint/2010/main" val="314734167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4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794431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8_Images &amp; Content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Rectangle 18"/>
          <p:cNvSpPr/>
          <p:nvPr userDrawn="1"/>
        </p:nvSpPr>
        <p:spPr>
          <a:xfrm>
            <a:off x="0" y="2517745"/>
            <a:ext cx="9144000" cy="26257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18" name="그림 개체 틀 2"/>
          <p:cNvSpPr>
            <a:spLocks noGrp="1"/>
          </p:cNvSpPr>
          <p:nvPr>
            <p:ph type="pic" sz="quarter" idx="10" hasCustomPrompt="1"/>
          </p:nvPr>
        </p:nvSpPr>
        <p:spPr>
          <a:xfrm>
            <a:off x="0" y="0"/>
            <a:ext cx="9144000" cy="2449286"/>
          </a:xfrm>
          <a:prstGeom prst="rect">
            <a:avLst/>
          </a:prstGeom>
          <a:solidFill>
            <a:schemeClr val="bg1">
              <a:lumMod val="95000"/>
            </a:schemeClr>
          </a:solidFill>
          <a:ln w="25400">
            <a:noFill/>
          </a:ln>
          <a:effectLst/>
        </p:spPr>
        <p:txBody>
          <a:bodyPr anchor="ctr"/>
          <a:lstStyle>
            <a:lvl1pPr marL="0" indent="0" algn="ctr">
              <a:buFontTx/>
              <a:buNone/>
              <a:defRPr sz="900">
                <a:solidFill>
                  <a:schemeClr val="tx1">
                    <a:lumMod val="85000"/>
                    <a:lumOff val="15000"/>
                  </a:schemeClr>
                </a:solidFill>
                <a:latin typeface="+mn-lt"/>
                <a:cs typeface="Arial" pitchFamily="34" charset="0"/>
              </a:defRPr>
            </a:lvl1pPr>
          </a:lstStyle>
          <a:p>
            <a:r>
              <a:rPr lang="en-US" altLang="ko-KR" dirty="0"/>
              <a:t>Place Your Picture Here And Send To Back</a:t>
            </a:r>
            <a:endParaRPr lang="ko-KR" altLang="en-US" dirty="0"/>
          </a:p>
        </p:txBody>
      </p:sp>
      <p:sp>
        <p:nvSpPr>
          <p:cNvPr id="20" name="Rectangle 19"/>
          <p:cNvSpPr/>
          <p:nvPr userDrawn="1"/>
        </p:nvSpPr>
        <p:spPr>
          <a:xfrm>
            <a:off x="0" y="2449285"/>
            <a:ext cx="9144000" cy="684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Tree>
    <p:extLst>
      <p:ext uri="{BB962C8B-B14F-4D97-AF65-F5344CB8AC3E}">
        <p14:creationId xmlns:p14="http://schemas.microsoft.com/office/powerpoint/2010/main" val="44755910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6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794898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7_Contents slide layout">
    <p:bg>
      <p:bgPr>
        <a:blipFill>
          <a:blip r:embed="rId2"/>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987639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NG set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242647" y="249362"/>
            <a:ext cx="8679898" cy="543185"/>
          </a:xfrm>
          <a:prstGeom prst="rect">
            <a:avLst/>
          </a:prstGeom>
        </p:spPr>
        <p:txBody>
          <a:bodyPr anchor="ctr"/>
          <a:lstStyle>
            <a:lvl1pPr marL="0" indent="0" algn="ctr">
              <a:buNone/>
              <a:defRPr sz="4050" b="0" baseline="0">
                <a:solidFill>
                  <a:schemeClr val="tx1">
                    <a:lumMod val="85000"/>
                    <a:lumOff val="15000"/>
                  </a:schemeClr>
                </a:solidFill>
                <a:latin typeface="+mj-lt"/>
                <a:cs typeface="Arial" pitchFamily="34" charset="0"/>
              </a:defRPr>
            </a:lvl1pPr>
          </a:lstStyle>
          <a:p>
            <a:pPr lvl="0"/>
            <a:r>
              <a:rPr lang="en-US" altLang="ko-KR" dirty="0"/>
              <a:t>PNG &amp; Shapes Layout</a:t>
            </a:r>
          </a:p>
        </p:txBody>
      </p:sp>
    </p:spTree>
    <p:extLst>
      <p:ext uri="{BB962C8B-B14F-4D97-AF65-F5344CB8AC3E}">
        <p14:creationId xmlns:p14="http://schemas.microsoft.com/office/powerpoint/2010/main" val="155196004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Icon sets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242647" y="92609"/>
            <a:ext cx="8679898" cy="543185"/>
          </a:xfrm>
          <a:prstGeom prst="rect">
            <a:avLst/>
          </a:prstGeom>
        </p:spPr>
        <p:txBody>
          <a:bodyPr anchor="ctr"/>
          <a:lstStyle>
            <a:lvl1pPr marL="0" indent="0" algn="ctr">
              <a:buNone/>
              <a:defRPr sz="4050" b="0" baseline="0">
                <a:solidFill>
                  <a:schemeClr val="tx1">
                    <a:lumMod val="85000"/>
                    <a:lumOff val="15000"/>
                  </a:schemeClr>
                </a:solidFill>
                <a:latin typeface="+mj-lt"/>
                <a:cs typeface="Arial" pitchFamily="34" charset="0"/>
              </a:defRPr>
            </a:lvl1pPr>
          </a:lstStyle>
          <a:p>
            <a:pPr lvl="0"/>
            <a:r>
              <a:rPr lang="en-US" altLang="ko-KR" dirty="0"/>
              <a:t>Icon Sets Layout</a:t>
            </a:r>
          </a:p>
        </p:txBody>
      </p:sp>
      <p:sp>
        <p:nvSpPr>
          <p:cNvPr id="3" name="Rounded Rectangle 2"/>
          <p:cNvSpPr/>
          <p:nvPr userDrawn="1"/>
        </p:nvSpPr>
        <p:spPr>
          <a:xfrm>
            <a:off x="265508" y="848694"/>
            <a:ext cx="2670575" cy="4051921"/>
          </a:xfrm>
          <a:prstGeom prst="roundRect">
            <a:avLst>
              <a:gd name="adj" fmla="val 39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13"/>
          </a:p>
        </p:txBody>
      </p:sp>
      <p:sp>
        <p:nvSpPr>
          <p:cNvPr id="4" name="Rounded Rectangle 3"/>
          <p:cNvSpPr/>
          <p:nvPr userDrawn="1"/>
        </p:nvSpPr>
        <p:spPr>
          <a:xfrm>
            <a:off x="398950" y="1010625"/>
            <a:ext cx="115401" cy="3761400"/>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13">
              <a:solidFill>
                <a:schemeClr val="bg1"/>
              </a:solidFill>
            </a:endParaRPr>
          </a:p>
        </p:txBody>
      </p:sp>
      <p:sp>
        <p:nvSpPr>
          <p:cNvPr id="5" name="Half Frame 4"/>
          <p:cNvSpPr/>
          <p:nvPr userDrawn="1"/>
        </p:nvSpPr>
        <p:spPr>
          <a:xfrm rot="5400000">
            <a:off x="2292883" y="957490"/>
            <a:ext cx="514387" cy="513861"/>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13">
              <a:solidFill>
                <a:schemeClr val="tx1">
                  <a:lumMod val="85000"/>
                  <a:lumOff val="15000"/>
                </a:schemeClr>
              </a:solidFill>
            </a:endParaRPr>
          </a:p>
        </p:txBody>
      </p:sp>
      <p:sp>
        <p:nvSpPr>
          <p:cNvPr id="58" name="TextBox 57">
            <a:extLst>
              <a:ext uri="{FF2B5EF4-FFF2-40B4-BE49-F238E27FC236}">
                <a16:creationId xmlns:a16="http://schemas.microsoft.com/office/drawing/2014/main" id="{5644E8BB-F13A-4AE0-889E-633DE4143787}"/>
              </a:ext>
            </a:extLst>
          </p:cNvPr>
          <p:cNvSpPr txBox="1"/>
          <p:nvPr userDrawn="1"/>
        </p:nvSpPr>
        <p:spPr>
          <a:xfrm>
            <a:off x="533778" y="1216369"/>
            <a:ext cx="1674186" cy="415498"/>
          </a:xfrm>
          <a:prstGeom prst="rect">
            <a:avLst/>
          </a:prstGeom>
          <a:noFill/>
        </p:spPr>
        <p:txBody>
          <a:bodyPr wrap="square" rtlCol="0" anchor="ctr">
            <a:spAutoFit/>
          </a:bodyPr>
          <a:lstStyle/>
          <a:p>
            <a:r>
              <a:rPr lang="en-US" altLang="ko-KR" sz="1050" b="1" dirty="0">
                <a:solidFill>
                  <a:schemeClr val="bg1"/>
                </a:solidFill>
                <a:latin typeface="Arial" pitchFamily="34" charset="0"/>
                <a:cs typeface="Arial" pitchFamily="34" charset="0"/>
              </a:rPr>
              <a:t>You can Resize without losing quality</a:t>
            </a:r>
            <a:endParaRPr lang="ko-KR" altLang="en-US" sz="1050" b="1" dirty="0">
              <a:solidFill>
                <a:schemeClr val="bg1"/>
              </a:solidFill>
              <a:latin typeface="Arial" pitchFamily="34" charset="0"/>
              <a:cs typeface="Arial" pitchFamily="34" charset="0"/>
            </a:endParaRPr>
          </a:p>
        </p:txBody>
      </p:sp>
      <p:sp>
        <p:nvSpPr>
          <p:cNvPr id="59" name="TextBox 58">
            <a:extLst>
              <a:ext uri="{FF2B5EF4-FFF2-40B4-BE49-F238E27FC236}">
                <a16:creationId xmlns:a16="http://schemas.microsoft.com/office/drawing/2014/main" id="{F2CE2B8B-ED32-491A-95B2-D28904BC432C}"/>
              </a:ext>
            </a:extLst>
          </p:cNvPr>
          <p:cNvSpPr txBox="1"/>
          <p:nvPr userDrawn="1"/>
        </p:nvSpPr>
        <p:spPr>
          <a:xfrm>
            <a:off x="533778" y="1584056"/>
            <a:ext cx="1674186" cy="577081"/>
          </a:xfrm>
          <a:prstGeom prst="rect">
            <a:avLst/>
          </a:prstGeom>
          <a:noFill/>
        </p:spPr>
        <p:txBody>
          <a:bodyPr wrap="square" rtlCol="0" anchor="ctr">
            <a:spAutoFit/>
          </a:bodyPr>
          <a:lstStyle/>
          <a:p>
            <a:r>
              <a:rPr lang="en-US" altLang="ko-KR" sz="1050" b="1" dirty="0">
                <a:solidFill>
                  <a:schemeClr val="bg1"/>
                </a:solidFill>
                <a:latin typeface="Arial" pitchFamily="34" charset="0"/>
                <a:cs typeface="Arial" pitchFamily="34" charset="0"/>
              </a:rPr>
              <a:t>You can Change Fill Color &amp;</a:t>
            </a:r>
          </a:p>
          <a:p>
            <a:r>
              <a:rPr lang="en-US" altLang="ko-KR" sz="1050" b="1" dirty="0">
                <a:solidFill>
                  <a:schemeClr val="bg1"/>
                </a:solidFill>
                <a:latin typeface="Arial" pitchFamily="34" charset="0"/>
                <a:cs typeface="Arial" pitchFamily="34" charset="0"/>
              </a:rPr>
              <a:t>Line Color</a:t>
            </a:r>
            <a:endParaRPr lang="ko-KR" altLang="en-US" sz="1050" b="1" dirty="0">
              <a:solidFill>
                <a:schemeClr val="bg1"/>
              </a:solidFill>
              <a:latin typeface="Arial" pitchFamily="34" charset="0"/>
              <a:cs typeface="Arial" pitchFamily="34" charset="0"/>
            </a:endParaRPr>
          </a:p>
        </p:txBody>
      </p:sp>
      <p:sp>
        <p:nvSpPr>
          <p:cNvPr id="60" name="TextBox 59">
            <a:extLst>
              <a:ext uri="{FF2B5EF4-FFF2-40B4-BE49-F238E27FC236}">
                <a16:creationId xmlns:a16="http://schemas.microsoft.com/office/drawing/2014/main" id="{962A52DF-2523-4479-BFA3-B5ACE9887E1C}"/>
              </a:ext>
            </a:extLst>
          </p:cNvPr>
          <p:cNvSpPr txBox="1"/>
          <p:nvPr userDrawn="1"/>
        </p:nvSpPr>
        <p:spPr>
          <a:xfrm>
            <a:off x="540922" y="4344787"/>
            <a:ext cx="1674000" cy="253916"/>
          </a:xfrm>
          <a:prstGeom prst="rect">
            <a:avLst/>
          </a:prstGeom>
          <a:noFill/>
        </p:spPr>
        <p:txBody>
          <a:bodyPr wrap="square" rtlCol="0" anchor="ctr">
            <a:spAutoFit/>
          </a:bodyPr>
          <a:lstStyle/>
          <a:p>
            <a:r>
              <a:rPr lang="en-US" altLang="ko-KR" sz="1050" dirty="0">
                <a:solidFill>
                  <a:schemeClr val="bg1"/>
                </a:solidFill>
                <a:latin typeface="Arial" pitchFamily="34" charset="0"/>
                <a:cs typeface="Arial" pitchFamily="34" charset="0"/>
              </a:rPr>
              <a:t>www.allppt.com</a:t>
            </a:r>
            <a:endParaRPr lang="ko-KR" altLang="en-US" sz="1050" dirty="0">
              <a:solidFill>
                <a:schemeClr val="bg1"/>
              </a:solidFill>
              <a:latin typeface="Arial" pitchFamily="34" charset="0"/>
              <a:cs typeface="Arial" pitchFamily="34" charset="0"/>
            </a:endParaRPr>
          </a:p>
        </p:txBody>
      </p:sp>
      <p:sp>
        <p:nvSpPr>
          <p:cNvPr id="61" name="TextBox 60">
            <a:extLst>
              <a:ext uri="{FF2B5EF4-FFF2-40B4-BE49-F238E27FC236}">
                <a16:creationId xmlns:a16="http://schemas.microsoft.com/office/drawing/2014/main" id="{BAAC314F-E96A-4408-95DE-A70E9ED054AF}"/>
              </a:ext>
            </a:extLst>
          </p:cNvPr>
          <p:cNvSpPr txBox="1"/>
          <p:nvPr userDrawn="1"/>
        </p:nvSpPr>
        <p:spPr>
          <a:xfrm>
            <a:off x="540922" y="3326202"/>
            <a:ext cx="2037972" cy="1061829"/>
          </a:xfrm>
          <a:prstGeom prst="rect">
            <a:avLst/>
          </a:prstGeom>
          <a:noFill/>
        </p:spPr>
        <p:txBody>
          <a:bodyPr wrap="square" rtlCol="0" anchor="ctr">
            <a:spAutoFit/>
          </a:bodyPr>
          <a:lstStyle/>
          <a:p>
            <a:r>
              <a:rPr lang="en-US" altLang="ko-KR" sz="2100" b="1" dirty="0">
                <a:solidFill>
                  <a:schemeClr val="bg1"/>
                </a:solidFill>
                <a:latin typeface="+mn-lt"/>
                <a:ea typeface="+mn-ea"/>
                <a:cs typeface="Arial" pitchFamily="34" charset="0"/>
              </a:rPr>
              <a:t>FREE </a:t>
            </a:r>
          </a:p>
          <a:p>
            <a:r>
              <a:rPr lang="en-US" altLang="ko-KR" sz="2100" b="1" dirty="0">
                <a:solidFill>
                  <a:schemeClr val="bg1"/>
                </a:solidFill>
                <a:latin typeface="+mn-lt"/>
                <a:ea typeface="+mn-ea"/>
                <a:cs typeface="Arial" pitchFamily="34" charset="0"/>
              </a:rPr>
              <a:t>PPT TEMPLATES</a:t>
            </a:r>
          </a:p>
        </p:txBody>
      </p:sp>
    </p:spTree>
    <p:extLst>
      <p:ext uri="{BB962C8B-B14F-4D97-AF65-F5344CB8AC3E}">
        <p14:creationId xmlns:p14="http://schemas.microsoft.com/office/powerpoint/2010/main" val="35350647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F562D1-7000-4934-BA08-EB573283B16F}"/>
              </a:ext>
            </a:extLst>
          </p:cNvPr>
          <p:cNvSpPr>
            <a:spLocks noGrp="1"/>
          </p:cNvSpPr>
          <p:nvPr>
            <p:ph type="dt" sz="half" idx="10"/>
          </p:nvPr>
        </p:nvSpPr>
        <p:spPr/>
        <p:txBody>
          <a:bodyPr/>
          <a:lstStyle/>
          <a:p>
            <a:fld id="{613D84E3-1DE8-4F33-A884-614083C34056}" type="datetimeFigureOut">
              <a:rPr lang="en-US" smtClean="0"/>
              <a:t>10/28/2021</a:t>
            </a:fld>
            <a:endParaRPr lang="en-US"/>
          </a:p>
        </p:txBody>
      </p:sp>
      <p:sp>
        <p:nvSpPr>
          <p:cNvPr id="3" name="Footer Placeholder 2">
            <a:extLst>
              <a:ext uri="{FF2B5EF4-FFF2-40B4-BE49-F238E27FC236}">
                <a16:creationId xmlns:a16="http://schemas.microsoft.com/office/drawing/2014/main" id="{4B268B6C-8D0A-46F1-8118-2D6E0089D0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3802E6F-C199-4AEC-A8EB-73083CF03E92}"/>
              </a:ext>
            </a:extLst>
          </p:cNvPr>
          <p:cNvSpPr>
            <a:spLocks noGrp="1"/>
          </p:cNvSpPr>
          <p:nvPr>
            <p:ph type="sldNum" sz="quarter" idx="12"/>
          </p:nvPr>
        </p:nvSpPr>
        <p:spPr/>
        <p:txBody>
          <a:bodyPr/>
          <a:lstStyle/>
          <a:p>
            <a:fld id="{5A9078B4-09E3-4E92-BBC9-74AC7508B2E8}" type="slidenum">
              <a:rPr lang="en-US" smtClean="0"/>
              <a:t>‹#›</a:t>
            </a:fld>
            <a:endParaRPr lang="en-US"/>
          </a:p>
        </p:txBody>
      </p:sp>
    </p:spTree>
    <p:extLst>
      <p:ext uri="{BB962C8B-B14F-4D97-AF65-F5344CB8AC3E}">
        <p14:creationId xmlns:p14="http://schemas.microsoft.com/office/powerpoint/2010/main" val="21989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theme" Target="../theme/theme2.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theme" Target="../theme/theme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image" Target="../media/image1.pn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theme" Target="../theme/theme4.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3" Type="http://schemas.openxmlformats.org/officeDocument/2006/relationships/slideLayout" Target="../slideLayouts/slideLayout81.xml"/><Relationship Id="rId21" Type="http://schemas.openxmlformats.org/officeDocument/2006/relationships/theme" Target="../theme/theme5.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7973B70E-E2DC-4178-80C7-18AC293572A9}" type="datetime1">
              <a:rPr lang="en-US" smtClean="0"/>
              <a:t>10/28/2021</a:t>
            </a:fld>
            <a:endParaRPr lang="en-US" dirty="0"/>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017774" y="4869656"/>
            <a:ext cx="2133600" cy="273844"/>
          </a:xfrm>
          <a:prstGeom prst="rect">
            <a:avLst/>
          </a:prstGeom>
        </p:spPr>
        <p:txBody>
          <a:bodyPr vert="horz" lIns="91440" tIns="45720" rIns="91440" bIns="45720" rtlCol="0" anchor="b"/>
          <a:lstStyle>
            <a:lvl1pPr algn="r">
              <a:defRPr sz="900">
                <a:solidFill>
                  <a:schemeClr val="tx1">
                    <a:tint val="75000"/>
                  </a:schemeClr>
                </a:solidFill>
                <a:latin typeface="Gotham Book" pitchFamily="50" charset="0"/>
                <a:cs typeface="Gotham Book" pitchFamily="50" charset="0"/>
              </a:defRPr>
            </a:lvl1pPr>
          </a:lstStyle>
          <a:p>
            <a:fld id="{B6F15528-21DE-4FAA-801E-634DDDAF4B2B}" type="slidenum">
              <a:rPr lang="en-US" smtClean="0"/>
              <a:pPr/>
              <a:t>‹#›</a:t>
            </a:fld>
            <a:endParaRPr lang="en-US" dirty="0"/>
          </a:p>
        </p:txBody>
      </p:sp>
      <p:pic>
        <p:nvPicPr>
          <p:cNvPr id="11" name="Picture 10">
            <a:extLst>
              <a:ext uri="{FF2B5EF4-FFF2-40B4-BE49-F238E27FC236}">
                <a16:creationId xmlns:a16="http://schemas.microsoft.com/office/drawing/2014/main" id="{BD5F04FD-5CD2-4341-9693-FD9D6398B6B8}"/>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8458200" y="128090"/>
            <a:ext cx="533400" cy="420787"/>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39" r:id="rId12"/>
    <p:sldLayoutId id="2147483740" r:id="rId13"/>
    <p:sldLayoutId id="2147483741" r:id="rId14"/>
    <p:sldLayoutId id="2147483742" r:id="rId15"/>
    <p:sldLayoutId id="2147483788" r:id="rId16"/>
    <p:sldLayoutId id="214748378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0/28/2021</a:t>
            </a:fld>
            <a:endParaRPr lang="en-US" dirty="0"/>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dirty="0"/>
          </a:p>
        </p:txBody>
      </p:sp>
      <p:pic>
        <p:nvPicPr>
          <p:cNvPr id="9" name="Picture 8">
            <a:extLst>
              <a:ext uri="{FF2B5EF4-FFF2-40B4-BE49-F238E27FC236}">
                <a16:creationId xmlns:a16="http://schemas.microsoft.com/office/drawing/2014/main" id="{FF93E1C8-9A55-4D5B-9498-49C0DE557315}"/>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8458200" y="128090"/>
            <a:ext cx="533400" cy="420787"/>
          </a:xfrm>
          <a:prstGeom prst="rect">
            <a:avLst/>
          </a:prstGeom>
        </p:spPr>
      </p:pic>
    </p:spTree>
    <p:extLst>
      <p:ext uri="{BB962C8B-B14F-4D97-AF65-F5344CB8AC3E}">
        <p14:creationId xmlns:p14="http://schemas.microsoft.com/office/powerpoint/2010/main" val="34910832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1"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378"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91437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31" indent="-285743" algn="l" defTabSz="91437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72" indent="-228594" algn="l" defTabSz="91437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60"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48"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113B05-142E-410D-B4F2-C26CE1E14923}"/>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8458200" y="128090"/>
            <a:ext cx="533400" cy="420787"/>
          </a:xfrm>
          <a:prstGeom prst="rect">
            <a:avLst/>
          </a:prstGeom>
        </p:spPr>
      </p:pic>
    </p:spTree>
    <p:extLst>
      <p:ext uri="{BB962C8B-B14F-4D97-AF65-F5344CB8AC3E}">
        <p14:creationId xmlns:p14="http://schemas.microsoft.com/office/powerpoint/2010/main" val="37146590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Lst>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5901600" cy="11553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rgbClr val="434343"/>
              </a:buClr>
              <a:buSzPts val="2800"/>
              <a:buFont typeface="Montserrat Black"/>
              <a:buNone/>
              <a:defRPr sz="2800">
                <a:solidFill>
                  <a:srgbClr val="434343"/>
                </a:solidFill>
                <a:latin typeface="Montserrat Black"/>
                <a:ea typeface="Montserrat Black"/>
                <a:cs typeface="Montserrat Black"/>
                <a:sym typeface="Montserrat Black"/>
              </a:defRPr>
            </a:lvl1pPr>
            <a:lvl2pPr lvl="1">
              <a:spcBef>
                <a:spcPts val="0"/>
              </a:spcBef>
              <a:spcAft>
                <a:spcPts val="0"/>
              </a:spcAft>
              <a:buClr>
                <a:srgbClr val="434343"/>
              </a:buClr>
              <a:buSzPts val="2800"/>
              <a:buFont typeface="Montserrat Black"/>
              <a:buNone/>
              <a:defRPr sz="2800">
                <a:solidFill>
                  <a:srgbClr val="434343"/>
                </a:solidFill>
                <a:latin typeface="Montserrat Black"/>
                <a:ea typeface="Montserrat Black"/>
                <a:cs typeface="Montserrat Black"/>
                <a:sym typeface="Montserrat Black"/>
              </a:defRPr>
            </a:lvl2pPr>
            <a:lvl3pPr lvl="2">
              <a:spcBef>
                <a:spcPts val="0"/>
              </a:spcBef>
              <a:spcAft>
                <a:spcPts val="0"/>
              </a:spcAft>
              <a:buClr>
                <a:srgbClr val="434343"/>
              </a:buClr>
              <a:buSzPts val="2800"/>
              <a:buFont typeface="Montserrat Black"/>
              <a:buNone/>
              <a:defRPr sz="2800">
                <a:solidFill>
                  <a:srgbClr val="434343"/>
                </a:solidFill>
                <a:latin typeface="Montserrat Black"/>
                <a:ea typeface="Montserrat Black"/>
                <a:cs typeface="Montserrat Black"/>
                <a:sym typeface="Montserrat Black"/>
              </a:defRPr>
            </a:lvl3pPr>
            <a:lvl4pPr lvl="3">
              <a:spcBef>
                <a:spcPts val="0"/>
              </a:spcBef>
              <a:spcAft>
                <a:spcPts val="0"/>
              </a:spcAft>
              <a:buClr>
                <a:srgbClr val="434343"/>
              </a:buClr>
              <a:buSzPts val="2800"/>
              <a:buFont typeface="Montserrat Black"/>
              <a:buNone/>
              <a:defRPr sz="2800">
                <a:solidFill>
                  <a:srgbClr val="434343"/>
                </a:solidFill>
                <a:latin typeface="Montserrat Black"/>
                <a:ea typeface="Montserrat Black"/>
                <a:cs typeface="Montserrat Black"/>
                <a:sym typeface="Montserrat Black"/>
              </a:defRPr>
            </a:lvl4pPr>
            <a:lvl5pPr lvl="4">
              <a:spcBef>
                <a:spcPts val="0"/>
              </a:spcBef>
              <a:spcAft>
                <a:spcPts val="0"/>
              </a:spcAft>
              <a:buClr>
                <a:srgbClr val="434343"/>
              </a:buClr>
              <a:buSzPts val="2800"/>
              <a:buFont typeface="Montserrat Black"/>
              <a:buNone/>
              <a:defRPr sz="2800">
                <a:solidFill>
                  <a:srgbClr val="434343"/>
                </a:solidFill>
                <a:latin typeface="Montserrat Black"/>
                <a:ea typeface="Montserrat Black"/>
                <a:cs typeface="Montserrat Black"/>
                <a:sym typeface="Montserrat Black"/>
              </a:defRPr>
            </a:lvl5pPr>
            <a:lvl6pPr lvl="5">
              <a:spcBef>
                <a:spcPts val="0"/>
              </a:spcBef>
              <a:spcAft>
                <a:spcPts val="0"/>
              </a:spcAft>
              <a:buClr>
                <a:srgbClr val="434343"/>
              </a:buClr>
              <a:buSzPts val="2800"/>
              <a:buFont typeface="Montserrat Black"/>
              <a:buNone/>
              <a:defRPr sz="2800">
                <a:solidFill>
                  <a:srgbClr val="434343"/>
                </a:solidFill>
                <a:latin typeface="Montserrat Black"/>
                <a:ea typeface="Montserrat Black"/>
                <a:cs typeface="Montserrat Black"/>
                <a:sym typeface="Montserrat Black"/>
              </a:defRPr>
            </a:lvl6pPr>
            <a:lvl7pPr lvl="6">
              <a:spcBef>
                <a:spcPts val="0"/>
              </a:spcBef>
              <a:spcAft>
                <a:spcPts val="0"/>
              </a:spcAft>
              <a:buClr>
                <a:srgbClr val="434343"/>
              </a:buClr>
              <a:buSzPts val="2800"/>
              <a:buFont typeface="Montserrat Black"/>
              <a:buNone/>
              <a:defRPr sz="2800">
                <a:solidFill>
                  <a:srgbClr val="434343"/>
                </a:solidFill>
                <a:latin typeface="Montserrat Black"/>
                <a:ea typeface="Montserrat Black"/>
                <a:cs typeface="Montserrat Black"/>
                <a:sym typeface="Montserrat Black"/>
              </a:defRPr>
            </a:lvl7pPr>
            <a:lvl8pPr lvl="7">
              <a:spcBef>
                <a:spcPts val="0"/>
              </a:spcBef>
              <a:spcAft>
                <a:spcPts val="0"/>
              </a:spcAft>
              <a:buClr>
                <a:srgbClr val="434343"/>
              </a:buClr>
              <a:buSzPts val="2800"/>
              <a:buFont typeface="Montserrat Black"/>
              <a:buNone/>
              <a:defRPr sz="2800">
                <a:solidFill>
                  <a:srgbClr val="434343"/>
                </a:solidFill>
                <a:latin typeface="Montserrat Black"/>
                <a:ea typeface="Montserrat Black"/>
                <a:cs typeface="Montserrat Black"/>
                <a:sym typeface="Montserrat Black"/>
              </a:defRPr>
            </a:lvl8pPr>
            <a:lvl9pPr lvl="8">
              <a:spcBef>
                <a:spcPts val="0"/>
              </a:spcBef>
              <a:spcAft>
                <a:spcPts val="0"/>
              </a:spcAft>
              <a:buClr>
                <a:srgbClr val="434343"/>
              </a:buClr>
              <a:buSzPts val="2800"/>
              <a:buFont typeface="Montserrat Black"/>
              <a:buNone/>
              <a:defRPr sz="2800">
                <a:solidFill>
                  <a:srgbClr val="434343"/>
                </a:solidFill>
                <a:latin typeface="Montserrat Black"/>
                <a:ea typeface="Montserrat Black"/>
                <a:cs typeface="Montserrat Black"/>
                <a:sym typeface="Montserrat Black"/>
              </a:defRPr>
            </a:lvl9pPr>
          </a:lstStyle>
          <a:p>
            <a:endParaRPr/>
          </a:p>
        </p:txBody>
      </p:sp>
      <p:sp>
        <p:nvSpPr>
          <p:cNvPr id="7" name="Google Shape;7;p1"/>
          <p:cNvSpPr txBox="1">
            <a:spLocks noGrp="1"/>
          </p:cNvSpPr>
          <p:nvPr>
            <p:ph type="body" idx="1"/>
          </p:nvPr>
        </p:nvSpPr>
        <p:spPr>
          <a:xfrm>
            <a:off x="311700" y="1673213"/>
            <a:ext cx="8520600" cy="28956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rgbClr val="434343"/>
              </a:buClr>
              <a:buSzPts val="1800"/>
              <a:buFont typeface="Lato"/>
              <a:buChar char="●"/>
              <a:defRPr sz="1800">
                <a:solidFill>
                  <a:srgbClr val="434343"/>
                </a:solidFill>
                <a:latin typeface="Lato"/>
                <a:ea typeface="Lato"/>
                <a:cs typeface="Lato"/>
                <a:sym typeface="Lato"/>
              </a:defRPr>
            </a:lvl1pPr>
            <a:lvl2pPr marL="914400" lvl="1" indent="-317500">
              <a:lnSpc>
                <a:spcPct val="115000"/>
              </a:lnSpc>
              <a:spcBef>
                <a:spcPts val="1600"/>
              </a:spcBef>
              <a:spcAft>
                <a:spcPts val="0"/>
              </a:spcAft>
              <a:buClr>
                <a:srgbClr val="434343"/>
              </a:buClr>
              <a:buSzPts val="1400"/>
              <a:buFont typeface="Lato"/>
              <a:buChar char="○"/>
              <a:defRPr>
                <a:solidFill>
                  <a:srgbClr val="434343"/>
                </a:solidFill>
                <a:latin typeface="Lato"/>
                <a:ea typeface="Lato"/>
                <a:cs typeface="Lato"/>
                <a:sym typeface="Lato"/>
              </a:defRPr>
            </a:lvl2pPr>
            <a:lvl3pPr marL="1371600" lvl="2" indent="-317500">
              <a:lnSpc>
                <a:spcPct val="115000"/>
              </a:lnSpc>
              <a:spcBef>
                <a:spcPts val="1600"/>
              </a:spcBef>
              <a:spcAft>
                <a:spcPts val="0"/>
              </a:spcAft>
              <a:buClr>
                <a:srgbClr val="434343"/>
              </a:buClr>
              <a:buSzPts val="1400"/>
              <a:buFont typeface="Lato"/>
              <a:buChar char="■"/>
              <a:defRPr>
                <a:solidFill>
                  <a:srgbClr val="434343"/>
                </a:solidFill>
                <a:latin typeface="Lato"/>
                <a:ea typeface="Lato"/>
                <a:cs typeface="Lato"/>
                <a:sym typeface="Lato"/>
              </a:defRPr>
            </a:lvl3pPr>
            <a:lvl4pPr marL="1828800" lvl="3" indent="-317500">
              <a:lnSpc>
                <a:spcPct val="115000"/>
              </a:lnSpc>
              <a:spcBef>
                <a:spcPts val="1600"/>
              </a:spcBef>
              <a:spcAft>
                <a:spcPts val="0"/>
              </a:spcAft>
              <a:buClr>
                <a:srgbClr val="434343"/>
              </a:buClr>
              <a:buSzPts val="1400"/>
              <a:buFont typeface="Lato"/>
              <a:buChar char="●"/>
              <a:defRPr>
                <a:solidFill>
                  <a:srgbClr val="434343"/>
                </a:solidFill>
                <a:latin typeface="Lato"/>
                <a:ea typeface="Lato"/>
                <a:cs typeface="Lato"/>
                <a:sym typeface="Lato"/>
              </a:defRPr>
            </a:lvl4pPr>
            <a:lvl5pPr marL="2286000" lvl="4" indent="-317500">
              <a:lnSpc>
                <a:spcPct val="115000"/>
              </a:lnSpc>
              <a:spcBef>
                <a:spcPts val="1600"/>
              </a:spcBef>
              <a:spcAft>
                <a:spcPts val="0"/>
              </a:spcAft>
              <a:buClr>
                <a:srgbClr val="434343"/>
              </a:buClr>
              <a:buSzPts val="1400"/>
              <a:buFont typeface="Lato"/>
              <a:buChar char="○"/>
              <a:defRPr>
                <a:solidFill>
                  <a:srgbClr val="434343"/>
                </a:solidFill>
                <a:latin typeface="Lato"/>
                <a:ea typeface="Lato"/>
                <a:cs typeface="Lato"/>
                <a:sym typeface="Lato"/>
              </a:defRPr>
            </a:lvl5pPr>
            <a:lvl6pPr marL="2743200" lvl="5" indent="-317500">
              <a:lnSpc>
                <a:spcPct val="115000"/>
              </a:lnSpc>
              <a:spcBef>
                <a:spcPts val="1600"/>
              </a:spcBef>
              <a:spcAft>
                <a:spcPts val="0"/>
              </a:spcAft>
              <a:buClr>
                <a:srgbClr val="434343"/>
              </a:buClr>
              <a:buSzPts val="1400"/>
              <a:buFont typeface="Lato"/>
              <a:buChar char="■"/>
              <a:defRPr>
                <a:solidFill>
                  <a:srgbClr val="434343"/>
                </a:solidFill>
                <a:latin typeface="Lato"/>
                <a:ea typeface="Lato"/>
                <a:cs typeface="Lato"/>
                <a:sym typeface="Lato"/>
              </a:defRPr>
            </a:lvl6pPr>
            <a:lvl7pPr marL="3200400" lvl="6" indent="-317500">
              <a:lnSpc>
                <a:spcPct val="115000"/>
              </a:lnSpc>
              <a:spcBef>
                <a:spcPts val="1600"/>
              </a:spcBef>
              <a:spcAft>
                <a:spcPts val="0"/>
              </a:spcAft>
              <a:buClr>
                <a:srgbClr val="434343"/>
              </a:buClr>
              <a:buSzPts val="1400"/>
              <a:buFont typeface="Lato"/>
              <a:buChar char="●"/>
              <a:defRPr>
                <a:solidFill>
                  <a:srgbClr val="434343"/>
                </a:solidFill>
                <a:latin typeface="Lato"/>
                <a:ea typeface="Lato"/>
                <a:cs typeface="Lato"/>
                <a:sym typeface="Lato"/>
              </a:defRPr>
            </a:lvl7pPr>
            <a:lvl8pPr marL="3657600" lvl="7" indent="-317500">
              <a:lnSpc>
                <a:spcPct val="115000"/>
              </a:lnSpc>
              <a:spcBef>
                <a:spcPts val="1600"/>
              </a:spcBef>
              <a:spcAft>
                <a:spcPts val="0"/>
              </a:spcAft>
              <a:buClr>
                <a:srgbClr val="434343"/>
              </a:buClr>
              <a:buSzPts val="1400"/>
              <a:buFont typeface="Lato"/>
              <a:buChar char="○"/>
              <a:defRPr>
                <a:solidFill>
                  <a:srgbClr val="434343"/>
                </a:solidFill>
                <a:latin typeface="Lato"/>
                <a:ea typeface="Lato"/>
                <a:cs typeface="Lato"/>
                <a:sym typeface="Lato"/>
              </a:defRPr>
            </a:lvl8pPr>
            <a:lvl9pPr marL="4114800" lvl="8" indent="-317500">
              <a:lnSpc>
                <a:spcPct val="115000"/>
              </a:lnSpc>
              <a:spcBef>
                <a:spcPts val="1600"/>
              </a:spcBef>
              <a:spcAft>
                <a:spcPts val="1600"/>
              </a:spcAft>
              <a:buClr>
                <a:srgbClr val="434343"/>
              </a:buClr>
              <a:buSzPts val="1400"/>
              <a:buFont typeface="Lato"/>
              <a:buChar char="■"/>
              <a:defRPr>
                <a:solidFill>
                  <a:srgbClr val="434343"/>
                </a:solidFill>
                <a:latin typeface="Lato"/>
                <a:ea typeface="Lato"/>
                <a:cs typeface="Lato"/>
                <a:sym typeface="Lato"/>
              </a:defRPr>
            </a:lvl9pPr>
          </a:lstStyle>
          <a:p>
            <a:endParaRPr/>
          </a:p>
        </p:txBody>
      </p:sp>
      <p:pic>
        <p:nvPicPr>
          <p:cNvPr id="8" name="Picture 7">
            <a:extLst>
              <a:ext uri="{FF2B5EF4-FFF2-40B4-BE49-F238E27FC236}">
                <a16:creationId xmlns:a16="http://schemas.microsoft.com/office/drawing/2014/main" id="{FCBBA27C-A940-411F-86F7-A768E4DA43C5}"/>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458200" y="128090"/>
            <a:ext cx="533400" cy="420787"/>
          </a:xfrm>
          <a:prstGeom prst="rect">
            <a:avLst/>
          </a:prstGeom>
        </p:spPr>
      </p:pic>
    </p:spTree>
    <p:extLst>
      <p:ext uri="{BB962C8B-B14F-4D97-AF65-F5344CB8AC3E}">
        <p14:creationId xmlns:p14="http://schemas.microsoft.com/office/powerpoint/2010/main" val="3474426158"/>
      </p:ext>
    </p:extLst>
  </p:cSld>
  <p:clrMap bg1="lt1" tx1="dk1" bg2="dk2" tx2="lt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3" r:id="rId11"/>
    <p:sldLayoutId id="2147483734" r:id="rId12"/>
    <p:sldLayoutId id="2147483735" r:id="rId13"/>
    <p:sldLayoutId id="2147483736" r:id="rId14"/>
    <p:sldLayoutId id="2147483737" r:id="rId15"/>
    <p:sldLayoutId id="2147483738"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846C36-8AB9-4BC6-9D19-57978C79AF76}"/>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8458200" y="128090"/>
            <a:ext cx="533400" cy="420787"/>
          </a:xfrm>
          <a:prstGeom prst="rect">
            <a:avLst/>
          </a:prstGeom>
        </p:spPr>
      </p:pic>
    </p:spTree>
    <p:extLst>
      <p:ext uri="{BB962C8B-B14F-4D97-AF65-F5344CB8AC3E}">
        <p14:creationId xmlns:p14="http://schemas.microsoft.com/office/powerpoint/2010/main" val="1967225078"/>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98.xml"/><Relationship Id="rId5" Type="http://schemas.openxmlformats.org/officeDocument/2006/relationships/image" Target="../media/image20.jpe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microsoft.com/office/2007/relationships/hdphoto" Target="../media/hdphoto4.wdp"/><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6.png"/><Relationship Id="rId5" Type="http://schemas.openxmlformats.org/officeDocument/2006/relationships/notesSlide" Target="../notesSlides/notesSlide2.xml"/><Relationship Id="rId10" Type="http://schemas.openxmlformats.org/officeDocument/2006/relationships/image" Target="../media/image27.png"/><Relationship Id="rId4" Type="http://schemas.openxmlformats.org/officeDocument/2006/relationships/slideLayout" Target="../slideLayouts/slideLayout23.xml"/><Relationship Id="rId9" Type="http://schemas.openxmlformats.org/officeDocument/2006/relationships/image" Target="../media/image25.emf"/></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8" Type="http://schemas.microsoft.com/office/2007/relationships/hdphoto" Target="../media/hdphoto21.wdp"/><Relationship Id="rId13" Type="http://schemas.openxmlformats.org/officeDocument/2006/relationships/image" Target="../media/image113.jpg"/><Relationship Id="rId3" Type="http://schemas.openxmlformats.org/officeDocument/2006/relationships/image" Target="../media/image106.png"/><Relationship Id="rId7" Type="http://schemas.openxmlformats.org/officeDocument/2006/relationships/image" Target="../media/image108.png"/><Relationship Id="rId12" Type="http://schemas.openxmlformats.org/officeDocument/2006/relationships/image" Target="../media/image112.jpeg"/><Relationship Id="rId2" Type="http://schemas.openxmlformats.org/officeDocument/2006/relationships/image" Target="../media/image105.jpeg"/><Relationship Id="rId1" Type="http://schemas.openxmlformats.org/officeDocument/2006/relationships/slideLayout" Target="../slideLayouts/slideLayout7.xml"/><Relationship Id="rId6" Type="http://schemas.microsoft.com/office/2007/relationships/hdphoto" Target="../media/hdphoto20.wdp"/><Relationship Id="rId11" Type="http://schemas.openxmlformats.org/officeDocument/2006/relationships/image" Target="../media/image111.jpeg"/><Relationship Id="rId5" Type="http://schemas.openxmlformats.org/officeDocument/2006/relationships/image" Target="../media/image107.png"/><Relationship Id="rId10" Type="http://schemas.openxmlformats.org/officeDocument/2006/relationships/image" Target="../media/image110.jpeg"/><Relationship Id="rId4" Type="http://schemas.microsoft.com/office/2007/relationships/hdphoto" Target="../media/hdphoto19.wdp"/><Relationship Id="rId9" Type="http://schemas.openxmlformats.org/officeDocument/2006/relationships/image" Target="../media/image109.jpeg"/></Relationships>
</file>

<file path=ppt/slides/_rels/slide1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30.png"/><Relationship Id="rId1" Type="http://schemas.openxmlformats.org/officeDocument/2006/relationships/slideLayout" Target="../slideLayouts/slideLayout24.xml"/></Relationships>
</file>

<file path=ppt/slides/_rels/slide110.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117.jpeg"/><Relationship Id="rId1" Type="http://schemas.openxmlformats.org/officeDocument/2006/relationships/slideLayout" Target="../slideLayouts/slideLayout7.xml"/><Relationship Id="rId4" Type="http://schemas.openxmlformats.org/officeDocument/2006/relationships/image" Target="../media/image119.jpeg"/></Relationships>
</file>

<file path=ppt/slides/_rels/slide113.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image" Target="../media/image111.jpeg"/><Relationship Id="rId3" Type="http://schemas.microsoft.com/office/2007/relationships/hdphoto" Target="../media/hdphoto4.wdp"/><Relationship Id="rId7" Type="http://schemas.microsoft.com/office/2007/relationships/hdphoto" Target="../media/hdphoto20.wdp"/><Relationship Id="rId12" Type="http://schemas.openxmlformats.org/officeDocument/2006/relationships/image" Target="../media/image110.jpeg"/><Relationship Id="rId2" Type="http://schemas.openxmlformats.org/officeDocument/2006/relationships/image" Target="../media/image26.png"/><Relationship Id="rId16" Type="http://schemas.openxmlformats.org/officeDocument/2006/relationships/image" Target="../media/image120.png"/><Relationship Id="rId1" Type="http://schemas.openxmlformats.org/officeDocument/2006/relationships/slideLayout" Target="../slideLayouts/slideLayout7.xml"/><Relationship Id="rId6" Type="http://schemas.openxmlformats.org/officeDocument/2006/relationships/image" Target="../media/image107.png"/><Relationship Id="rId11" Type="http://schemas.openxmlformats.org/officeDocument/2006/relationships/image" Target="../media/image105.jpeg"/><Relationship Id="rId5" Type="http://schemas.microsoft.com/office/2007/relationships/hdphoto" Target="../media/hdphoto19.wdp"/><Relationship Id="rId15" Type="http://schemas.openxmlformats.org/officeDocument/2006/relationships/image" Target="../media/image113.jpg"/><Relationship Id="rId10" Type="http://schemas.openxmlformats.org/officeDocument/2006/relationships/image" Target="../media/image109.jpeg"/><Relationship Id="rId4" Type="http://schemas.openxmlformats.org/officeDocument/2006/relationships/image" Target="../media/image106.png"/><Relationship Id="rId9" Type="http://schemas.microsoft.com/office/2007/relationships/hdphoto" Target="../media/hdphoto21.wdp"/><Relationship Id="rId14" Type="http://schemas.openxmlformats.org/officeDocument/2006/relationships/image" Target="../media/image112.jpeg"/></Relationships>
</file>

<file path=ppt/slides/_rels/slide114.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121.emf"/><Relationship Id="rId1" Type="http://schemas.openxmlformats.org/officeDocument/2006/relationships/slideLayout" Target="../slideLayouts/slideLayout7.xml"/><Relationship Id="rId5" Type="http://schemas.openxmlformats.org/officeDocument/2006/relationships/image" Target="../media/image123.png"/><Relationship Id="rId4" Type="http://schemas.openxmlformats.org/officeDocument/2006/relationships/image" Target="../media/image1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1.png"/><Relationship Id="rId3" Type="http://schemas.openxmlformats.org/officeDocument/2006/relationships/image" Target="../media/image33.png"/><Relationship Id="rId7" Type="http://schemas.openxmlformats.org/officeDocument/2006/relationships/image" Target="../media/image37.png"/><Relationship Id="rId12" Type="http://schemas.microsoft.com/office/2007/relationships/hdphoto" Target="../media/hdphoto9.wdp"/><Relationship Id="rId2" Type="http://schemas.openxmlformats.org/officeDocument/2006/relationships/image" Target="../media/image32.jpeg"/><Relationship Id="rId1" Type="http://schemas.openxmlformats.org/officeDocument/2006/relationships/slideLayout" Target="../slideLayouts/slideLayout2.xml"/><Relationship Id="rId6" Type="http://schemas.openxmlformats.org/officeDocument/2006/relationships/image" Target="../media/image36.png"/><Relationship Id="rId11" Type="http://schemas.openxmlformats.org/officeDocument/2006/relationships/image" Target="../media/image40.png"/><Relationship Id="rId5" Type="http://schemas.openxmlformats.org/officeDocument/2006/relationships/image" Target="../media/image35.png"/><Relationship Id="rId10" Type="http://schemas.microsoft.com/office/2007/relationships/hdphoto" Target="../media/hdphoto8.wdp"/><Relationship Id="rId4" Type="http://schemas.openxmlformats.org/officeDocument/2006/relationships/image" Target="../media/image34.png"/><Relationship Id="rId9" Type="http://schemas.openxmlformats.org/officeDocument/2006/relationships/image" Target="../media/image39.png"/></Relationships>
</file>

<file path=ppt/slides/_rels/slide1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43.png"/><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6.xml"/><Relationship Id="rId7" Type="http://schemas.microsoft.com/office/2007/relationships/hdphoto" Target="../media/hdphoto4.wdp"/><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6.png"/><Relationship Id="rId5" Type="http://schemas.openxmlformats.org/officeDocument/2006/relationships/notesSlide" Target="../notesSlides/notesSlide3.xml"/><Relationship Id="rId10" Type="http://schemas.openxmlformats.org/officeDocument/2006/relationships/image" Target="../media/image27.png"/><Relationship Id="rId4" Type="http://schemas.openxmlformats.org/officeDocument/2006/relationships/slideLayout" Target="../slideLayouts/slideLayout6.xml"/><Relationship Id="rId9" Type="http://schemas.openxmlformats.org/officeDocument/2006/relationships/image" Target="../media/image25.emf"/></Relationships>
</file>

<file path=ppt/slides/_rels/slide19.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image" Target="../media/image46.jpeg"/><Relationship Id="rId7" Type="http://schemas.openxmlformats.org/officeDocument/2006/relationships/image" Target="../media/image50.jpeg"/><Relationship Id="rId2" Type="http://schemas.openxmlformats.org/officeDocument/2006/relationships/image" Target="../media/image45.jpeg"/><Relationship Id="rId1" Type="http://schemas.openxmlformats.org/officeDocument/2006/relationships/slideLayout" Target="../slideLayouts/slideLayout2.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s/_rels/slide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98.xml"/></Relationships>
</file>

<file path=ppt/slides/_rels/slide2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8.xml"/><Relationship Id="rId7" Type="http://schemas.microsoft.com/office/2007/relationships/hdphoto" Target="../media/hdphoto4.wdp"/><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6.png"/><Relationship Id="rId5" Type="http://schemas.openxmlformats.org/officeDocument/2006/relationships/notesSlide" Target="../notesSlides/notesSlide4.xml"/><Relationship Id="rId10" Type="http://schemas.openxmlformats.org/officeDocument/2006/relationships/image" Target="../media/image27.png"/><Relationship Id="rId4" Type="http://schemas.openxmlformats.org/officeDocument/2006/relationships/slideLayout" Target="../slideLayouts/slideLayout6.xml"/><Relationship Id="rId9" Type="http://schemas.openxmlformats.org/officeDocument/2006/relationships/image" Target="../media/image25.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5.xml"/><Relationship Id="rId1" Type="http://schemas.openxmlformats.org/officeDocument/2006/relationships/slideLayout" Target="../slideLayouts/slideLayout74.xml"/><Relationship Id="rId4" Type="http://schemas.openxmlformats.org/officeDocument/2006/relationships/image" Target="../media/image56.jpeg"/></Relationships>
</file>

<file path=ppt/slides/_rels/slide2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6.xml"/><Relationship Id="rId1" Type="http://schemas.openxmlformats.org/officeDocument/2006/relationships/slideLayout" Target="../slideLayouts/slideLayout72.xml"/><Relationship Id="rId4" Type="http://schemas.openxmlformats.org/officeDocument/2006/relationships/image" Target="../media/image58.jpeg"/></Relationships>
</file>

<file path=ppt/slides/_rels/slide2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7.xml"/><Relationship Id="rId1" Type="http://schemas.openxmlformats.org/officeDocument/2006/relationships/slideLayout" Target="../slideLayouts/slideLayout72.xml"/><Relationship Id="rId4" Type="http://schemas.openxmlformats.org/officeDocument/2006/relationships/image" Target="../media/image60.jpeg"/></Relationships>
</file>

<file path=ppt/slides/_rels/slide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1.png"/><Relationship Id="rId1" Type="http://schemas.openxmlformats.org/officeDocument/2006/relationships/slideLayout" Target="../slideLayouts/slideLayout98.xml"/><Relationship Id="rId5" Type="http://schemas.openxmlformats.org/officeDocument/2006/relationships/image" Target="../media/image18.png"/><Relationship Id="rId4" Type="http://schemas.openxmlformats.org/officeDocument/2006/relationships/image" Target="../media/image22.jpeg"/></Relationships>
</file>

<file path=ppt/slides/_rels/slide3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8.xml"/><Relationship Id="rId1" Type="http://schemas.openxmlformats.org/officeDocument/2006/relationships/slideLayout" Target="../slideLayouts/slideLayout72.xml"/><Relationship Id="rId4" Type="http://schemas.openxmlformats.org/officeDocument/2006/relationships/image" Target="../media/image62.jpeg"/></Relationships>
</file>

<file path=ppt/slides/_rels/slide3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9.xml"/><Relationship Id="rId1" Type="http://schemas.openxmlformats.org/officeDocument/2006/relationships/slideLayout" Target="../slideLayouts/slideLayout72.xml"/><Relationship Id="rId4" Type="http://schemas.openxmlformats.org/officeDocument/2006/relationships/image" Target="../media/image64.jpeg"/></Relationships>
</file>

<file path=ppt/slides/_rels/slide3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microsoft.com/office/2007/relationships/hdphoto" Target="../media/hdphoto11.wdp"/></Relationships>
</file>

<file path=ppt/slides/_rels/slide3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67.jpeg"/></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70.jpeg"/></Relationships>
</file>

<file path=ppt/slides/_rels/slide3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4.xml"/><Relationship Id="rId1" Type="http://schemas.openxmlformats.org/officeDocument/2006/relationships/slideLayout" Target="../slideLayouts/slideLayout17.xml"/><Relationship Id="rId4" Type="http://schemas.openxmlformats.org/officeDocument/2006/relationships/image" Target="../media/image72.jpeg"/></Relationships>
</file>

<file path=ppt/slides/_rels/slide3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6.xml"/><Relationship Id="rId1" Type="http://schemas.openxmlformats.org/officeDocument/2006/relationships/slideLayout" Target="../slideLayouts/slideLayout14.xml"/><Relationship Id="rId4" Type="http://schemas.openxmlformats.org/officeDocument/2006/relationships/image" Target="../media/image75.jpeg"/></Relationships>
</file>

<file path=ppt/slides/_rels/slide39.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7.xml"/><Relationship Id="rId1" Type="http://schemas.openxmlformats.org/officeDocument/2006/relationships/slideLayout" Target="../slideLayouts/slideLayout15.xml"/><Relationship Id="rId5" Type="http://schemas.openxmlformats.org/officeDocument/2006/relationships/image" Target="../media/image78.jpeg"/><Relationship Id="rId4" Type="http://schemas.openxmlformats.org/officeDocument/2006/relationships/image" Target="../media/image77.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eg"/><Relationship Id="rId1" Type="http://schemas.openxmlformats.org/officeDocument/2006/relationships/slideLayout" Target="../slideLayouts/slideLayout98.xml"/></Relationships>
</file>

<file path=ppt/slides/_rels/slide4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jpeg"/><Relationship Id="rId1" Type="http://schemas.openxmlformats.org/officeDocument/2006/relationships/slideLayout" Target="../slideLayouts/slideLayout7.xml"/><Relationship Id="rId4" Type="http://schemas.microsoft.com/office/2007/relationships/hdphoto" Target="../media/hdphoto12.wdp"/></Relationships>
</file>

<file path=ppt/slides/_rels/slide44.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9.xml"/><Relationship Id="rId1" Type="http://schemas.openxmlformats.org/officeDocument/2006/relationships/slideLayout" Target="../slideLayouts/slideLayout12.xml"/><Relationship Id="rId4" Type="http://schemas.openxmlformats.org/officeDocument/2006/relationships/image" Target="../media/image85.jpeg"/></Relationships>
</file>

<file path=ppt/slides/_rels/slide45.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20.xml"/><Relationship Id="rId1" Type="http://schemas.openxmlformats.org/officeDocument/2006/relationships/slideLayout" Target="../slideLayouts/slideLayout13.xml"/><Relationship Id="rId4" Type="http://schemas.openxmlformats.org/officeDocument/2006/relationships/image" Target="../media/image87.png"/></Relationships>
</file>

<file path=ppt/slides/_rels/slide46.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21.xml"/><Relationship Id="rId1" Type="http://schemas.openxmlformats.org/officeDocument/2006/relationships/slideLayout" Target="../slideLayouts/slideLayout17.xml"/><Relationship Id="rId4" Type="http://schemas.openxmlformats.org/officeDocument/2006/relationships/image" Target="../media/image89.jpeg"/></Relationships>
</file>

<file path=ppt/slides/_rels/slide47.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2.xml"/><Relationship Id="rId1" Type="http://schemas.openxmlformats.org/officeDocument/2006/relationships/slideLayout" Target="../slideLayouts/slideLayout17.xml"/><Relationship Id="rId4" Type="http://schemas.openxmlformats.org/officeDocument/2006/relationships/image" Target="../media/image91.jpeg"/></Relationships>
</file>

<file path=ppt/slides/_rels/slide48.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23.xml"/><Relationship Id="rId1" Type="http://schemas.openxmlformats.org/officeDocument/2006/relationships/slideLayout" Target="../slideLayouts/slideLayout17.xml"/><Relationship Id="rId4" Type="http://schemas.openxmlformats.org/officeDocument/2006/relationships/image" Target="../media/image93.jpeg"/></Relationships>
</file>

<file path=ppt/slides/_rels/slide49.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24.xml"/><Relationship Id="rId1" Type="http://schemas.openxmlformats.org/officeDocument/2006/relationships/slideLayout" Target="../slideLayouts/slideLayout13.xml"/><Relationship Id="rId4" Type="http://schemas.openxmlformats.org/officeDocument/2006/relationships/image" Target="../media/image95.jpg"/></Relationships>
</file>

<file path=ppt/slides/_rels/slide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4.png"/><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25.xml"/><Relationship Id="rId1" Type="http://schemas.openxmlformats.org/officeDocument/2006/relationships/slideLayout" Target="../slideLayouts/slideLayout13.xml"/><Relationship Id="rId4" Type="http://schemas.openxmlformats.org/officeDocument/2006/relationships/image" Target="../media/image97.jpeg"/></Relationships>
</file>

<file path=ppt/slides/_rels/slide51.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image" Target="../media/image97.jpeg"/></Relationships>
</file>

<file path=ppt/slides/_rels/slide5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10.xml"/><Relationship Id="rId7" Type="http://schemas.microsoft.com/office/2007/relationships/hdphoto" Target="../media/hdphoto4.wdp"/><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6.png"/><Relationship Id="rId5" Type="http://schemas.openxmlformats.org/officeDocument/2006/relationships/notesSlide" Target="../notesSlides/notesSlide27.xml"/><Relationship Id="rId10" Type="http://schemas.openxmlformats.org/officeDocument/2006/relationships/image" Target="../media/image27.png"/><Relationship Id="rId4" Type="http://schemas.openxmlformats.org/officeDocument/2006/relationships/slideLayout" Target="../slideLayouts/slideLayout6.xml"/><Relationship Id="rId9" Type="http://schemas.openxmlformats.org/officeDocument/2006/relationships/image" Target="../media/image25.emf"/></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12.xml"/><Relationship Id="rId7" Type="http://schemas.microsoft.com/office/2007/relationships/hdphoto" Target="../media/hdphoto4.wdp"/><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6.png"/><Relationship Id="rId5" Type="http://schemas.openxmlformats.org/officeDocument/2006/relationships/notesSlide" Target="../notesSlides/notesSlide28.xml"/><Relationship Id="rId10" Type="http://schemas.openxmlformats.org/officeDocument/2006/relationships/image" Target="../media/image27.png"/><Relationship Id="rId4" Type="http://schemas.openxmlformats.org/officeDocument/2006/relationships/slideLayout" Target="../slideLayouts/slideLayout6.xml"/><Relationship Id="rId9" Type="http://schemas.openxmlformats.org/officeDocument/2006/relationships/image" Target="../media/image25.emf"/></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xml"/><Relationship Id="rId7" Type="http://schemas.microsoft.com/office/2007/relationships/hdphoto" Target="../media/hdphoto4.wdp"/><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6.png"/><Relationship Id="rId5" Type="http://schemas.openxmlformats.org/officeDocument/2006/relationships/notesSlide" Target="../notesSlides/notesSlide1.xml"/><Relationship Id="rId10" Type="http://schemas.openxmlformats.org/officeDocument/2006/relationships/image" Target="../media/image25.emf"/><Relationship Id="rId4" Type="http://schemas.openxmlformats.org/officeDocument/2006/relationships/slideLayout" Target="../slideLayouts/slideLayout23.xml"/><Relationship Id="rId9" Type="http://schemas.openxmlformats.org/officeDocument/2006/relationships/oleObject" Target="../embeddings/oleObject1.bin"/></Relationships>
</file>

<file path=ppt/slides/_rels/slide60.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14.xml"/><Relationship Id="rId7" Type="http://schemas.microsoft.com/office/2007/relationships/hdphoto" Target="../media/hdphoto4.wdp"/><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26.png"/><Relationship Id="rId5" Type="http://schemas.openxmlformats.org/officeDocument/2006/relationships/notesSlide" Target="../notesSlides/notesSlide29.xml"/><Relationship Id="rId10" Type="http://schemas.openxmlformats.org/officeDocument/2006/relationships/image" Target="../media/image27.png"/><Relationship Id="rId4" Type="http://schemas.openxmlformats.org/officeDocument/2006/relationships/slideLayout" Target="../slideLayouts/slideLayout6.xml"/><Relationship Id="rId9" Type="http://schemas.openxmlformats.org/officeDocument/2006/relationships/image" Target="../media/image25.emf"/></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16.xml"/><Relationship Id="rId7" Type="http://schemas.microsoft.com/office/2007/relationships/hdphoto" Target="../media/hdphoto4.wdp"/><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26.png"/><Relationship Id="rId5" Type="http://schemas.openxmlformats.org/officeDocument/2006/relationships/notesSlide" Target="../notesSlides/notesSlide30.xml"/><Relationship Id="rId10" Type="http://schemas.openxmlformats.org/officeDocument/2006/relationships/image" Target="../media/image27.png"/><Relationship Id="rId4" Type="http://schemas.openxmlformats.org/officeDocument/2006/relationships/slideLayout" Target="../slideLayouts/slideLayout6.xml"/><Relationship Id="rId9" Type="http://schemas.openxmlformats.org/officeDocument/2006/relationships/image" Target="../media/image25.emf"/></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6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18.xml"/><Relationship Id="rId7" Type="http://schemas.microsoft.com/office/2007/relationships/hdphoto" Target="../media/hdphoto4.wdp"/><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26.png"/><Relationship Id="rId5" Type="http://schemas.openxmlformats.org/officeDocument/2006/relationships/notesSlide" Target="../notesSlides/notesSlide33.xml"/><Relationship Id="rId10" Type="http://schemas.openxmlformats.org/officeDocument/2006/relationships/image" Target="../media/image27.png"/><Relationship Id="rId4" Type="http://schemas.openxmlformats.org/officeDocument/2006/relationships/slideLayout" Target="../slideLayouts/slideLayout6.xml"/><Relationship Id="rId9" Type="http://schemas.openxmlformats.org/officeDocument/2006/relationships/image" Target="../media/image25.emf"/></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8.png"/><Relationship Id="rId1" Type="http://schemas.openxmlformats.org/officeDocument/2006/relationships/slideLayout" Target="../slideLayouts/slideLayout37.xml"/></Relationships>
</file>

<file path=ppt/slides/_rels/slide70.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0.xml"/><Relationship Id="rId7" Type="http://schemas.microsoft.com/office/2007/relationships/hdphoto" Target="../media/hdphoto4.wdp"/><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26.png"/><Relationship Id="rId5" Type="http://schemas.openxmlformats.org/officeDocument/2006/relationships/notesSlide" Target="../notesSlides/notesSlide34.xml"/><Relationship Id="rId10" Type="http://schemas.openxmlformats.org/officeDocument/2006/relationships/image" Target="../media/image27.png"/><Relationship Id="rId4" Type="http://schemas.openxmlformats.org/officeDocument/2006/relationships/slideLayout" Target="../slideLayouts/slideLayout6.xml"/><Relationship Id="rId9" Type="http://schemas.openxmlformats.org/officeDocument/2006/relationships/image" Target="../media/image25.emf"/></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98.png"/><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2.xml"/><Relationship Id="rId7" Type="http://schemas.microsoft.com/office/2007/relationships/hdphoto" Target="../media/hdphoto4.wdp"/><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26.png"/><Relationship Id="rId5" Type="http://schemas.openxmlformats.org/officeDocument/2006/relationships/notesSlide" Target="../notesSlides/notesSlide35.xml"/><Relationship Id="rId10" Type="http://schemas.openxmlformats.org/officeDocument/2006/relationships/image" Target="../media/image27.png"/><Relationship Id="rId4" Type="http://schemas.openxmlformats.org/officeDocument/2006/relationships/slideLayout" Target="../slideLayouts/slideLayout6.xml"/><Relationship Id="rId9" Type="http://schemas.openxmlformats.org/officeDocument/2006/relationships/image" Target="../media/image25.emf"/></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4.xml"/><Relationship Id="rId7" Type="http://schemas.microsoft.com/office/2007/relationships/hdphoto" Target="../media/hdphoto4.wdp"/><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26.png"/><Relationship Id="rId5" Type="http://schemas.openxmlformats.org/officeDocument/2006/relationships/notesSlide" Target="../notesSlides/notesSlide36.xml"/><Relationship Id="rId10" Type="http://schemas.openxmlformats.org/officeDocument/2006/relationships/image" Target="../media/image27.png"/><Relationship Id="rId4" Type="http://schemas.openxmlformats.org/officeDocument/2006/relationships/slideLayout" Target="../slideLayouts/slideLayout6.xml"/><Relationship Id="rId9" Type="http://schemas.openxmlformats.org/officeDocument/2006/relationships/image" Target="../media/image25.emf"/></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3" Type="http://schemas.openxmlformats.org/officeDocument/2006/relationships/hyperlink" Target="https://fe2021.mahacet.org/"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microsoft.com/office/2007/relationships/hdphoto" Target="../media/hdphoto14.wdp"/></Relationships>
</file>

<file path=ppt/slides/_rels/slide9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microsoft.com/office/2007/relationships/hdphoto" Target="../media/hdphoto15.wdp"/></Relationships>
</file>

<file path=ppt/slides/_rels/slide9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microsoft.com/office/2007/relationships/hdphoto" Target="../media/hdphoto16.wdp"/></Relationships>
</file>

<file path=ppt/slides/_rels/slide9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microsoft.com/office/2007/relationships/hdphoto" Target="../media/hdphoto17.wdp"/></Relationships>
</file>

<file path=ppt/slides/_rels/slide9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5.xml"/><Relationship Id="rId1" Type="http://schemas.openxmlformats.org/officeDocument/2006/relationships/slideLayout" Target="../slideLayouts/slideLayout2.xml"/><Relationship Id="rId4" Type="http://schemas.microsoft.com/office/2007/relationships/hdphoto" Target="../media/hdphoto18.wdp"/></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EF2C4D6-0286-4D6C-B722-656F1C69835B}"/>
              </a:ext>
            </a:extLst>
          </p:cNvPr>
          <p:cNvSpPr/>
          <p:nvPr/>
        </p:nvSpPr>
        <p:spPr>
          <a:xfrm>
            <a:off x="0" y="0"/>
            <a:ext cx="9144000" cy="5143500"/>
          </a:xfrm>
          <a:prstGeom prst="rect">
            <a:avLst/>
          </a:prstGeom>
          <a:solidFill>
            <a:srgbClr val="163F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solidFill>
                <a:srgbClr val="103D74"/>
              </a:solidFill>
            </a:endParaRPr>
          </a:p>
        </p:txBody>
      </p:sp>
      <p:pic>
        <p:nvPicPr>
          <p:cNvPr id="4" name="Picture 3">
            <a:extLst>
              <a:ext uri="{FF2B5EF4-FFF2-40B4-BE49-F238E27FC236}">
                <a16:creationId xmlns:a16="http://schemas.microsoft.com/office/drawing/2014/main" id="{A5DE8E7A-1BB6-4680-9A91-B679BDC20995}"/>
              </a:ext>
            </a:extLst>
          </p:cNvPr>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3103475" y="143654"/>
            <a:ext cx="1246794" cy="983567"/>
          </a:xfrm>
          <a:prstGeom prst="rect">
            <a:avLst/>
          </a:prstGeom>
        </p:spPr>
      </p:pic>
      <p:sp>
        <p:nvSpPr>
          <p:cNvPr id="6" name="TextBox 5">
            <a:extLst>
              <a:ext uri="{FF2B5EF4-FFF2-40B4-BE49-F238E27FC236}">
                <a16:creationId xmlns:a16="http://schemas.microsoft.com/office/drawing/2014/main" id="{C7E75C81-5A37-4645-A7DE-DB90A53851BF}"/>
              </a:ext>
            </a:extLst>
          </p:cNvPr>
          <p:cNvSpPr txBox="1"/>
          <p:nvPr/>
        </p:nvSpPr>
        <p:spPr>
          <a:xfrm>
            <a:off x="9433" y="1879466"/>
            <a:ext cx="9143999" cy="1015663"/>
          </a:xfrm>
          <a:prstGeom prst="rect">
            <a:avLst/>
          </a:prstGeom>
          <a:noFill/>
        </p:spPr>
        <p:txBody>
          <a:bodyPr wrap="square">
            <a:spAutoFit/>
          </a:bodyPr>
          <a:lstStyle/>
          <a:p>
            <a:pPr algn="ctr"/>
            <a:r>
              <a:rPr lang="en-IN" sz="3000" dirty="0">
                <a:solidFill>
                  <a:schemeClr val="bg1"/>
                </a:solidFill>
                <a:latin typeface="Montserrat ExtraBold" panose="00000900000000000000" pitchFamily="2" charset="0"/>
              </a:rPr>
              <a:t>ENGINEERING ADMISSION PROCESS </a:t>
            </a:r>
            <a:br>
              <a:rPr lang="en-IN" sz="3000" dirty="0">
                <a:solidFill>
                  <a:schemeClr val="bg1"/>
                </a:solidFill>
                <a:latin typeface="Montserrat ExtraBold" panose="00000900000000000000" pitchFamily="2" charset="0"/>
              </a:rPr>
            </a:br>
            <a:r>
              <a:rPr lang="en-IN" sz="3000" dirty="0">
                <a:solidFill>
                  <a:schemeClr val="bg1"/>
                </a:solidFill>
                <a:latin typeface="Montserrat ExtraBold" panose="00000900000000000000" pitchFamily="2" charset="0"/>
              </a:rPr>
              <a:t>2021-22 </a:t>
            </a:r>
          </a:p>
        </p:txBody>
      </p:sp>
      <p:sp>
        <p:nvSpPr>
          <p:cNvPr id="8" name="TextBox 7">
            <a:extLst>
              <a:ext uri="{FF2B5EF4-FFF2-40B4-BE49-F238E27FC236}">
                <a16:creationId xmlns:a16="http://schemas.microsoft.com/office/drawing/2014/main" id="{AA3A1C54-DECB-44E6-B5C1-1648CDD3C6BD}"/>
              </a:ext>
            </a:extLst>
          </p:cNvPr>
          <p:cNvSpPr txBox="1"/>
          <p:nvPr/>
        </p:nvSpPr>
        <p:spPr>
          <a:xfrm>
            <a:off x="2567337" y="4102270"/>
            <a:ext cx="2106000" cy="733534"/>
          </a:xfrm>
          <a:prstGeom prst="rect">
            <a:avLst/>
          </a:prstGeom>
          <a:noFill/>
        </p:spPr>
        <p:txBody>
          <a:bodyPr wrap="square">
            <a:spAutoFit/>
          </a:bodyPr>
          <a:lstStyle>
            <a:defPPr>
              <a:defRPr lang="en-US"/>
            </a:defPPr>
            <a:lvl1pPr algn="ctr">
              <a:defRPr>
                <a:solidFill>
                  <a:schemeClr val="bg1"/>
                </a:solidFill>
                <a:latin typeface="Montserrat SemiBold" panose="00000700000000000000" pitchFamily="2" charset="0"/>
              </a:defRPr>
            </a:lvl1pPr>
          </a:lstStyle>
          <a:p>
            <a:r>
              <a:rPr lang="en-IN" sz="1350" dirty="0" err="1"/>
              <a:t>Dr.</a:t>
            </a:r>
            <a:r>
              <a:rPr lang="en-IN" sz="1350" dirty="0"/>
              <a:t> A. K. Gupta</a:t>
            </a:r>
          </a:p>
          <a:p>
            <a:pPr>
              <a:spcBef>
                <a:spcPts val="450"/>
              </a:spcBef>
            </a:pPr>
            <a:r>
              <a:rPr lang="en-IN" sz="1200" dirty="0">
                <a:latin typeface="Montserrat ExtraLight" panose="00000300000000000000" pitchFamily="2" charset="0"/>
              </a:rPr>
              <a:t>Executive Director, </a:t>
            </a:r>
            <a:br>
              <a:rPr lang="en-IN" sz="1200" dirty="0">
                <a:latin typeface="Montserrat ExtraLight" panose="00000300000000000000" pitchFamily="2" charset="0"/>
              </a:rPr>
            </a:br>
            <a:r>
              <a:rPr lang="en-IN" sz="1200" dirty="0">
                <a:latin typeface="Montserrat ExtraLight" panose="00000300000000000000" pitchFamily="2" charset="0"/>
              </a:rPr>
              <a:t>D. Y. Patil Group </a:t>
            </a:r>
          </a:p>
        </p:txBody>
      </p:sp>
      <p:sp>
        <p:nvSpPr>
          <p:cNvPr id="10" name="TextBox 9">
            <a:extLst>
              <a:ext uri="{FF2B5EF4-FFF2-40B4-BE49-F238E27FC236}">
                <a16:creationId xmlns:a16="http://schemas.microsoft.com/office/drawing/2014/main" id="{AE2C0497-CE6F-4CB6-A7C6-2336D3A5AD6C}"/>
              </a:ext>
            </a:extLst>
          </p:cNvPr>
          <p:cNvSpPr txBox="1"/>
          <p:nvPr/>
        </p:nvSpPr>
        <p:spPr>
          <a:xfrm>
            <a:off x="-9432" y="3729252"/>
            <a:ext cx="9144000" cy="300082"/>
          </a:xfrm>
          <a:prstGeom prst="rect">
            <a:avLst/>
          </a:prstGeom>
          <a:noFill/>
        </p:spPr>
        <p:txBody>
          <a:bodyPr wrap="square">
            <a:spAutoFit/>
          </a:bodyPr>
          <a:lstStyle/>
          <a:p>
            <a:pPr algn="ctr"/>
            <a:r>
              <a:rPr lang="en-IN" sz="1350" dirty="0">
                <a:solidFill>
                  <a:schemeClr val="bg1"/>
                </a:solidFill>
                <a:latin typeface="Montserrat Medium" panose="00000600000000000000" pitchFamily="2" charset="0"/>
              </a:rPr>
              <a:t>Speakers</a:t>
            </a:r>
          </a:p>
        </p:txBody>
      </p:sp>
      <p:sp>
        <p:nvSpPr>
          <p:cNvPr id="11" name="TextBox 10">
            <a:extLst>
              <a:ext uri="{FF2B5EF4-FFF2-40B4-BE49-F238E27FC236}">
                <a16:creationId xmlns:a16="http://schemas.microsoft.com/office/drawing/2014/main" id="{0A905320-C298-48CF-8250-6262AC77FC14}"/>
              </a:ext>
            </a:extLst>
          </p:cNvPr>
          <p:cNvSpPr txBox="1"/>
          <p:nvPr/>
        </p:nvSpPr>
        <p:spPr>
          <a:xfrm>
            <a:off x="4576709" y="4102270"/>
            <a:ext cx="2106000" cy="733534"/>
          </a:xfrm>
          <a:prstGeom prst="rect">
            <a:avLst/>
          </a:prstGeom>
          <a:noFill/>
        </p:spPr>
        <p:txBody>
          <a:bodyPr wrap="square">
            <a:spAutoFit/>
          </a:bodyPr>
          <a:lstStyle>
            <a:defPPr>
              <a:defRPr lang="en-US"/>
            </a:defPPr>
            <a:lvl1pPr algn="ctr">
              <a:defRPr>
                <a:solidFill>
                  <a:schemeClr val="bg1"/>
                </a:solidFill>
              </a:defRPr>
            </a:lvl1pPr>
          </a:lstStyle>
          <a:p>
            <a:r>
              <a:rPr lang="en-IN" sz="1350" dirty="0">
                <a:latin typeface="Montserrat SemiBold" panose="00000700000000000000" pitchFamily="2" charset="0"/>
              </a:rPr>
              <a:t>Shri. Kunal Y. Patil</a:t>
            </a:r>
          </a:p>
          <a:p>
            <a:pPr>
              <a:spcBef>
                <a:spcPts val="450"/>
              </a:spcBef>
            </a:pPr>
            <a:r>
              <a:rPr lang="en-IN" sz="1200" dirty="0">
                <a:latin typeface="Montserrat ExtraLight" panose="00000300000000000000" pitchFamily="2" charset="0"/>
              </a:rPr>
              <a:t>Admission Expert State,</a:t>
            </a:r>
          </a:p>
          <a:p>
            <a:r>
              <a:rPr lang="en-IN" sz="1200" dirty="0">
                <a:latin typeface="Montserrat ExtraLight" panose="00000300000000000000" pitchFamily="2" charset="0"/>
              </a:rPr>
              <a:t>CET Cell, Mumbai. </a:t>
            </a:r>
          </a:p>
        </p:txBody>
      </p:sp>
      <p:cxnSp>
        <p:nvCxnSpPr>
          <p:cNvPr id="7" name="Straight Connector 6">
            <a:extLst>
              <a:ext uri="{FF2B5EF4-FFF2-40B4-BE49-F238E27FC236}">
                <a16:creationId xmlns:a16="http://schemas.microsoft.com/office/drawing/2014/main" id="{AF58B6B3-4575-492B-B4BE-D01A2C7AEA6D}"/>
              </a:ext>
            </a:extLst>
          </p:cNvPr>
          <p:cNvCxnSpPr>
            <a:cxnSpLocks/>
          </p:cNvCxnSpPr>
          <p:nvPr/>
        </p:nvCxnSpPr>
        <p:spPr>
          <a:xfrm>
            <a:off x="4571999" y="4174353"/>
            <a:ext cx="0" cy="584836"/>
          </a:xfrm>
          <a:prstGeom prst="line">
            <a:avLst/>
          </a:prstGeom>
        </p:spPr>
        <p:style>
          <a:lnRef idx="3">
            <a:schemeClr val="accent2"/>
          </a:lnRef>
          <a:fillRef idx="0">
            <a:schemeClr val="accent2"/>
          </a:fillRef>
          <a:effectRef idx="2">
            <a:schemeClr val="accent2"/>
          </a:effectRef>
          <a:fontRef idx="minor">
            <a:schemeClr val="tx1"/>
          </a:fontRef>
        </p:style>
      </p:cxnSp>
      <p:sp>
        <p:nvSpPr>
          <p:cNvPr id="14" name="TextBox 13">
            <a:extLst>
              <a:ext uri="{FF2B5EF4-FFF2-40B4-BE49-F238E27FC236}">
                <a16:creationId xmlns:a16="http://schemas.microsoft.com/office/drawing/2014/main" id="{6473EAC3-957D-4836-9617-17A88AC85235}"/>
              </a:ext>
            </a:extLst>
          </p:cNvPr>
          <p:cNvSpPr txBox="1"/>
          <p:nvPr/>
        </p:nvSpPr>
        <p:spPr>
          <a:xfrm>
            <a:off x="9433" y="1483364"/>
            <a:ext cx="9143999" cy="323165"/>
          </a:xfrm>
          <a:prstGeom prst="rect">
            <a:avLst/>
          </a:prstGeom>
          <a:noFill/>
        </p:spPr>
        <p:txBody>
          <a:bodyPr wrap="square">
            <a:spAutoFit/>
          </a:bodyPr>
          <a:lstStyle/>
          <a:p>
            <a:pPr algn="ctr"/>
            <a:r>
              <a:rPr lang="en-IN" sz="1500" dirty="0">
                <a:solidFill>
                  <a:schemeClr val="bg1"/>
                </a:solidFill>
                <a:latin typeface="Montserrat Medium" panose="00000600000000000000" pitchFamily="2" charset="0"/>
              </a:rPr>
              <a:t>Cordially welcome you for a seminar on</a:t>
            </a:r>
          </a:p>
        </p:txBody>
      </p:sp>
      <p:pic>
        <p:nvPicPr>
          <p:cNvPr id="1026" name="Picture 2" descr="सकली इतिहास देखें अर्थ और सामग्री - hmoob.in">
            <a:extLst>
              <a:ext uri="{FF2B5EF4-FFF2-40B4-BE49-F238E27FC236}">
                <a16:creationId xmlns:a16="http://schemas.microsoft.com/office/drawing/2014/main" id="{3003CB7D-0F31-4317-8D08-393F63C817CB}"/>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9957" b="90693" l="7422" r="91406">
                        <a14:foregroundMark x1="9922" y1="50216" x2="8438" y2="43074"/>
                        <a14:foregroundMark x1="7422" y1="18182" x2="8438" y2="19264"/>
                        <a14:foregroundMark x1="90000" y1="46537" x2="89844" y2="56494"/>
                        <a14:foregroundMark x1="91250" y1="22078" x2="89219" y2="22078"/>
                        <a14:foregroundMark x1="91484" y1="55844" x2="91016" y2="54545"/>
                        <a14:foregroundMark x1="29297" y1="90693" x2="30000" y2="90043"/>
                      </a14:backgroundRemoval>
                    </a14:imgEffect>
                  </a14:imgLayer>
                </a14:imgProps>
              </a:ext>
              <a:ext uri="{28A0092B-C50C-407E-A947-70E740481C1C}">
                <a14:useLocalDpi xmlns:a14="http://schemas.microsoft.com/office/drawing/2010/main" val="0"/>
              </a:ext>
            </a:extLst>
          </a:blip>
          <a:srcRect/>
          <a:stretch>
            <a:fillRect/>
          </a:stretch>
        </p:blipFill>
        <p:spPr bwMode="auto">
          <a:xfrm>
            <a:off x="4793732" y="320321"/>
            <a:ext cx="1423352" cy="51374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1C8386BD-F96F-43D0-80FE-E5A0246E0670}"/>
              </a:ext>
            </a:extLst>
          </p:cNvPr>
          <p:cNvCxnSpPr>
            <a:cxnSpLocks/>
          </p:cNvCxnSpPr>
          <p:nvPr/>
        </p:nvCxnSpPr>
        <p:spPr>
          <a:xfrm>
            <a:off x="4583783" y="320322"/>
            <a:ext cx="0" cy="579196"/>
          </a:xfrm>
          <a:prstGeom prst="line">
            <a:avLst/>
          </a:prstGeom>
        </p:spPr>
        <p:style>
          <a:lnRef idx="3">
            <a:schemeClr val="accent2"/>
          </a:lnRef>
          <a:fillRef idx="0">
            <a:schemeClr val="accent2"/>
          </a:fillRef>
          <a:effectRef idx="2">
            <a:schemeClr val="accent2"/>
          </a:effectRef>
          <a:fontRef idx="minor">
            <a:schemeClr val="tx1"/>
          </a:fontRef>
        </p:style>
      </p:cxnSp>
      <p:sp>
        <p:nvSpPr>
          <p:cNvPr id="15" name="TextBox 14">
            <a:extLst>
              <a:ext uri="{FF2B5EF4-FFF2-40B4-BE49-F238E27FC236}">
                <a16:creationId xmlns:a16="http://schemas.microsoft.com/office/drawing/2014/main" id="{6774786B-9A73-45E2-82E5-7D0B57974F99}"/>
              </a:ext>
            </a:extLst>
          </p:cNvPr>
          <p:cNvSpPr txBox="1"/>
          <p:nvPr/>
        </p:nvSpPr>
        <p:spPr>
          <a:xfrm>
            <a:off x="7453745" y="143653"/>
            <a:ext cx="1717137" cy="300082"/>
          </a:xfrm>
          <a:prstGeom prst="rect">
            <a:avLst/>
          </a:prstGeom>
          <a:noFill/>
        </p:spPr>
        <p:txBody>
          <a:bodyPr wrap="none" rtlCol="0">
            <a:spAutoFit/>
          </a:bodyPr>
          <a:lstStyle/>
          <a:p>
            <a:r>
              <a:rPr lang="en-US" sz="1350" dirty="0">
                <a:solidFill>
                  <a:schemeClr val="bg1"/>
                </a:solidFill>
                <a:latin typeface="Montserrat Medium" panose="00000600000000000000" pitchFamily="2" charset="0"/>
              </a:rPr>
              <a:t>28</a:t>
            </a:r>
            <a:r>
              <a:rPr lang="en-US" sz="1350" baseline="30000" dirty="0">
                <a:solidFill>
                  <a:schemeClr val="bg1"/>
                </a:solidFill>
                <a:latin typeface="Montserrat Medium" panose="00000600000000000000" pitchFamily="2" charset="0"/>
              </a:rPr>
              <a:t>th</a:t>
            </a:r>
            <a:r>
              <a:rPr lang="en-US" sz="1350" dirty="0">
                <a:solidFill>
                  <a:schemeClr val="bg1"/>
                </a:solidFill>
                <a:latin typeface="Montserrat Medium" panose="00000600000000000000" pitchFamily="2" charset="0"/>
              </a:rPr>
              <a:t> October 2021</a:t>
            </a:r>
            <a:endParaRPr lang="en-IN" sz="1350" dirty="0">
              <a:solidFill>
                <a:schemeClr val="bg1"/>
              </a:solidFill>
              <a:latin typeface="Montserrat Medium" panose="00000600000000000000" pitchFamily="2" charset="0"/>
            </a:endParaRPr>
          </a:p>
        </p:txBody>
      </p:sp>
      <p:pic>
        <p:nvPicPr>
          <p:cNvPr id="16" name="Picture 15"/>
          <p:cNvPicPr>
            <a:picLocks noChangeAspect="1"/>
          </p:cNvPicPr>
          <p:nvPr/>
        </p:nvPicPr>
        <p:blipFill rotWithShape="1">
          <a:blip r:embed="rId5" cstate="print">
            <a:extLst>
              <a:ext uri="{28A0092B-C50C-407E-A947-70E740481C1C}">
                <a14:useLocalDpi xmlns:a14="http://schemas.microsoft.com/office/drawing/2010/main" val="0"/>
              </a:ext>
            </a:extLst>
          </a:blip>
          <a:srcRect l="40456" t="8134" r="40377" b="67516"/>
          <a:stretch/>
        </p:blipFill>
        <p:spPr>
          <a:xfrm>
            <a:off x="2803792" y="44107"/>
            <a:ext cx="1752600" cy="1252447"/>
          </a:xfrm>
          <a:prstGeom prst="rect">
            <a:avLst/>
          </a:prstGeom>
        </p:spPr>
      </p:pic>
    </p:spTree>
    <p:extLst>
      <p:ext uri="{BB962C8B-B14F-4D97-AF65-F5344CB8AC3E}">
        <p14:creationId xmlns:p14="http://schemas.microsoft.com/office/powerpoint/2010/main" val="379071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77" descr="Presentations background 3D model - TurboSquid 1163407">
            <a:extLst>
              <a:ext uri="{FF2B5EF4-FFF2-40B4-BE49-F238E27FC236}">
                <a16:creationId xmlns:a16="http://schemas.microsoft.com/office/drawing/2014/main" id="{95C1237D-57E1-4268-BD50-64691AD59B08}"/>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0" y="-1"/>
            <a:ext cx="9142412" cy="51435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6BAE015D-47D1-4E48-8E90-3697142C75CA}"/>
              </a:ext>
            </a:extLst>
          </p:cNvPr>
          <p:cNvSpPr/>
          <p:nvPr/>
        </p:nvSpPr>
        <p:spPr>
          <a:xfrm>
            <a:off x="2057400" y="1872476"/>
            <a:ext cx="7086600" cy="1496146"/>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grpSp>
        <p:nvGrpSpPr>
          <p:cNvPr id="2" name="Group 1">
            <a:extLst>
              <a:ext uri="{FF2B5EF4-FFF2-40B4-BE49-F238E27FC236}">
                <a16:creationId xmlns:a16="http://schemas.microsoft.com/office/drawing/2014/main" id="{54EEDD90-704E-4878-AF8D-68076816A27C}"/>
              </a:ext>
            </a:extLst>
          </p:cNvPr>
          <p:cNvGrpSpPr/>
          <p:nvPr/>
        </p:nvGrpSpPr>
        <p:grpSpPr>
          <a:xfrm>
            <a:off x="268941" y="742950"/>
            <a:ext cx="2438400" cy="3496230"/>
            <a:chOff x="457200" y="590550"/>
            <a:chExt cx="2979057" cy="4182030"/>
          </a:xfrm>
        </p:grpSpPr>
        <p:sp>
          <p:nvSpPr>
            <p:cNvPr id="12" name="Freeform: Shape 11">
              <a:extLst>
                <a:ext uri="{FF2B5EF4-FFF2-40B4-BE49-F238E27FC236}">
                  <a16:creationId xmlns:a16="http://schemas.microsoft.com/office/drawing/2014/main" id="{07097967-BC15-498E-939C-AE11970C5D94}"/>
                </a:ext>
              </a:extLst>
            </p:cNvPr>
            <p:cNvSpPr>
              <a:spLocks/>
            </p:cNvSpPr>
            <p:nvPr/>
          </p:nvSpPr>
          <p:spPr bwMode="auto">
            <a:xfrm rot="410959" flipH="1">
              <a:off x="794188" y="1474662"/>
              <a:ext cx="2305082" cy="3297918"/>
            </a:xfrm>
            <a:custGeom>
              <a:avLst/>
              <a:gdLst>
                <a:gd name="connsiteX0" fmla="*/ 1696267 w 2854049"/>
                <a:gd name="connsiteY0" fmla="*/ 3431657 h 4135471"/>
                <a:gd name="connsiteX1" fmla="*/ 1344360 w 2854049"/>
                <a:gd name="connsiteY1" fmla="*/ 3783564 h 4135471"/>
                <a:gd name="connsiteX2" fmla="*/ 1696267 w 2854049"/>
                <a:gd name="connsiteY2" fmla="*/ 4135471 h 4135471"/>
                <a:gd name="connsiteX3" fmla="*/ 2048174 w 2854049"/>
                <a:gd name="connsiteY3" fmla="*/ 3783564 h 4135471"/>
                <a:gd name="connsiteX4" fmla="*/ 1696267 w 2854049"/>
                <a:gd name="connsiteY4" fmla="*/ 3431657 h 4135471"/>
                <a:gd name="connsiteX5" fmla="*/ 1470680 w 2854049"/>
                <a:gd name="connsiteY5" fmla="*/ 0 h 4135471"/>
                <a:gd name="connsiteX6" fmla="*/ 1360088 w 2854049"/>
                <a:gd name="connsiteY6" fmla="*/ 9020 h 4135471"/>
                <a:gd name="connsiteX7" fmla="*/ 1082638 w 2854049"/>
                <a:gd name="connsiteY7" fmla="*/ 72152 h 4135471"/>
                <a:gd name="connsiteX8" fmla="*/ 1000179 w 2854049"/>
                <a:gd name="connsiteY8" fmla="*/ 103217 h 4135471"/>
                <a:gd name="connsiteX9" fmla="*/ 918691 w 2854049"/>
                <a:gd name="connsiteY9" fmla="*/ 138291 h 4135471"/>
                <a:gd name="connsiteX10" fmla="*/ 839141 w 2854049"/>
                <a:gd name="connsiteY10" fmla="*/ 180379 h 4135471"/>
                <a:gd name="connsiteX11" fmla="*/ 765414 w 2854049"/>
                <a:gd name="connsiteY11" fmla="*/ 227479 h 4135471"/>
                <a:gd name="connsiteX12" fmla="*/ 694595 w 2854049"/>
                <a:gd name="connsiteY12" fmla="*/ 280591 h 4135471"/>
                <a:gd name="connsiteX13" fmla="*/ 629599 w 2854049"/>
                <a:gd name="connsiteY13" fmla="*/ 338714 h 4135471"/>
                <a:gd name="connsiteX14" fmla="*/ 569452 w 2854049"/>
                <a:gd name="connsiteY14" fmla="*/ 401847 h 4135471"/>
                <a:gd name="connsiteX15" fmla="*/ 515126 w 2854049"/>
                <a:gd name="connsiteY15" fmla="*/ 470992 h 4135471"/>
                <a:gd name="connsiteX16" fmla="*/ 467591 w 2854049"/>
                <a:gd name="connsiteY16" fmla="*/ 544147 h 4135471"/>
                <a:gd name="connsiteX17" fmla="*/ 426847 w 2854049"/>
                <a:gd name="connsiteY17" fmla="*/ 622311 h 4135471"/>
                <a:gd name="connsiteX18" fmla="*/ 392893 w 2854049"/>
                <a:gd name="connsiteY18" fmla="*/ 706488 h 4135471"/>
                <a:gd name="connsiteX19" fmla="*/ 338568 w 2854049"/>
                <a:gd name="connsiteY19" fmla="*/ 937976 h 4135471"/>
                <a:gd name="connsiteX20" fmla="*/ 333717 w 2854049"/>
                <a:gd name="connsiteY20" fmla="*/ 994094 h 4135471"/>
                <a:gd name="connsiteX21" fmla="*/ 331776 w 2854049"/>
                <a:gd name="connsiteY21" fmla="*/ 1047206 h 4135471"/>
                <a:gd name="connsiteX22" fmla="*/ 333717 w 2854049"/>
                <a:gd name="connsiteY22" fmla="*/ 1096308 h 4135471"/>
                <a:gd name="connsiteX23" fmla="*/ 334686 w 2854049"/>
                <a:gd name="connsiteY23" fmla="*/ 1145413 h 4135471"/>
                <a:gd name="connsiteX24" fmla="*/ 334686 w 2854049"/>
                <a:gd name="connsiteY24" fmla="*/ 1191509 h 4135471"/>
                <a:gd name="connsiteX25" fmla="*/ 329836 w 2854049"/>
                <a:gd name="connsiteY25" fmla="*/ 1234599 h 4135471"/>
                <a:gd name="connsiteX26" fmla="*/ 315284 w 2854049"/>
                <a:gd name="connsiteY26" fmla="*/ 1278693 h 4135471"/>
                <a:gd name="connsiteX27" fmla="*/ 289092 w 2854049"/>
                <a:gd name="connsiteY27" fmla="*/ 1331805 h 4135471"/>
                <a:gd name="connsiteX28" fmla="*/ 257078 w 2854049"/>
                <a:gd name="connsiteY28" fmla="*/ 1380908 h 4135471"/>
                <a:gd name="connsiteX29" fmla="*/ 222155 w 2854049"/>
                <a:gd name="connsiteY29" fmla="*/ 1423998 h 4135471"/>
                <a:gd name="connsiteX30" fmla="*/ 185291 w 2854049"/>
                <a:gd name="connsiteY30" fmla="*/ 1468092 h 4135471"/>
                <a:gd name="connsiteX31" fmla="*/ 146487 w 2854049"/>
                <a:gd name="connsiteY31" fmla="*/ 1508176 h 4135471"/>
                <a:gd name="connsiteX32" fmla="*/ 107683 w 2854049"/>
                <a:gd name="connsiteY32" fmla="*/ 1548261 h 4135471"/>
                <a:gd name="connsiteX33" fmla="*/ 70819 w 2854049"/>
                <a:gd name="connsiteY33" fmla="*/ 1592354 h 4135471"/>
                <a:gd name="connsiteX34" fmla="*/ 58206 w 2854049"/>
                <a:gd name="connsiteY34" fmla="*/ 1604378 h 4135471"/>
                <a:gd name="connsiteX35" fmla="*/ 42684 w 2854049"/>
                <a:gd name="connsiteY35" fmla="*/ 1619410 h 4135471"/>
                <a:gd name="connsiteX36" fmla="*/ 26193 w 2854049"/>
                <a:gd name="connsiteY36" fmla="*/ 1637448 h 4135471"/>
                <a:gd name="connsiteX37" fmla="*/ 12611 w 2854049"/>
                <a:gd name="connsiteY37" fmla="*/ 1655486 h 4135471"/>
                <a:gd name="connsiteX38" fmla="*/ 3882 w 2854049"/>
                <a:gd name="connsiteY38" fmla="*/ 1677533 h 4135471"/>
                <a:gd name="connsiteX39" fmla="*/ 0 w 2854049"/>
                <a:gd name="connsiteY39" fmla="*/ 1701583 h 4135471"/>
                <a:gd name="connsiteX40" fmla="*/ 4851 w 2854049"/>
                <a:gd name="connsiteY40" fmla="*/ 1726636 h 4135471"/>
                <a:gd name="connsiteX41" fmla="*/ 17462 w 2854049"/>
                <a:gd name="connsiteY41" fmla="*/ 1750687 h 4135471"/>
                <a:gd name="connsiteX42" fmla="*/ 38806 w 2854049"/>
                <a:gd name="connsiteY42" fmla="*/ 1770728 h 4135471"/>
                <a:gd name="connsiteX43" fmla="*/ 63057 w 2854049"/>
                <a:gd name="connsiteY43" fmla="*/ 1784759 h 4135471"/>
                <a:gd name="connsiteX44" fmla="*/ 93130 w 2854049"/>
                <a:gd name="connsiteY44" fmla="*/ 1797786 h 4135471"/>
                <a:gd name="connsiteX45" fmla="*/ 125143 w 2854049"/>
                <a:gd name="connsiteY45" fmla="*/ 1808809 h 4135471"/>
                <a:gd name="connsiteX46" fmla="*/ 157158 w 2854049"/>
                <a:gd name="connsiteY46" fmla="*/ 1819833 h 4135471"/>
                <a:gd name="connsiteX47" fmla="*/ 188201 w 2854049"/>
                <a:gd name="connsiteY47" fmla="*/ 1830855 h 4135471"/>
                <a:gd name="connsiteX48" fmla="*/ 218273 w 2854049"/>
                <a:gd name="connsiteY48" fmla="*/ 1843883 h 4135471"/>
                <a:gd name="connsiteX49" fmla="*/ 245437 w 2854049"/>
                <a:gd name="connsiteY49" fmla="*/ 1857912 h 4135471"/>
                <a:gd name="connsiteX50" fmla="*/ 264839 w 2854049"/>
                <a:gd name="connsiteY50" fmla="*/ 1875951 h 4135471"/>
                <a:gd name="connsiteX51" fmla="*/ 259018 w 2854049"/>
                <a:gd name="connsiteY51" fmla="*/ 1900001 h 4135471"/>
                <a:gd name="connsiteX52" fmla="*/ 248347 w 2854049"/>
                <a:gd name="connsiteY52" fmla="*/ 1922047 h 4135471"/>
                <a:gd name="connsiteX53" fmla="*/ 237676 w 2854049"/>
                <a:gd name="connsiteY53" fmla="*/ 1945097 h 4135471"/>
                <a:gd name="connsiteX54" fmla="*/ 226035 w 2854049"/>
                <a:gd name="connsiteY54" fmla="*/ 1967142 h 4135471"/>
                <a:gd name="connsiteX55" fmla="*/ 215364 w 2854049"/>
                <a:gd name="connsiteY55" fmla="*/ 1989189 h 4135471"/>
                <a:gd name="connsiteX56" fmla="*/ 207602 w 2854049"/>
                <a:gd name="connsiteY56" fmla="*/ 2011236 h 4135471"/>
                <a:gd name="connsiteX57" fmla="*/ 204693 w 2854049"/>
                <a:gd name="connsiteY57" fmla="*/ 2031277 h 4135471"/>
                <a:gd name="connsiteX58" fmla="*/ 206633 w 2854049"/>
                <a:gd name="connsiteY58" fmla="*/ 2053324 h 4135471"/>
                <a:gd name="connsiteX59" fmla="*/ 217304 w 2854049"/>
                <a:gd name="connsiteY59" fmla="*/ 2073366 h 4135471"/>
                <a:gd name="connsiteX60" fmla="*/ 236706 w 2854049"/>
                <a:gd name="connsiteY60" fmla="*/ 2093409 h 4135471"/>
                <a:gd name="connsiteX61" fmla="*/ 264839 w 2854049"/>
                <a:gd name="connsiteY61" fmla="*/ 2113450 h 4135471"/>
                <a:gd name="connsiteX62" fmla="*/ 259018 w 2854049"/>
                <a:gd name="connsiteY62" fmla="*/ 2129483 h 4135471"/>
                <a:gd name="connsiteX63" fmla="*/ 250288 w 2854049"/>
                <a:gd name="connsiteY63" fmla="*/ 2145517 h 4135471"/>
                <a:gd name="connsiteX64" fmla="*/ 243497 w 2854049"/>
                <a:gd name="connsiteY64" fmla="*/ 2164557 h 4135471"/>
                <a:gd name="connsiteX65" fmla="*/ 241557 w 2854049"/>
                <a:gd name="connsiteY65" fmla="*/ 2184601 h 4135471"/>
                <a:gd name="connsiteX66" fmla="*/ 245437 w 2854049"/>
                <a:gd name="connsiteY66" fmla="*/ 2204642 h 4135471"/>
                <a:gd name="connsiteX67" fmla="*/ 256109 w 2854049"/>
                <a:gd name="connsiteY67" fmla="*/ 2222680 h 4135471"/>
                <a:gd name="connsiteX68" fmla="*/ 269690 w 2854049"/>
                <a:gd name="connsiteY68" fmla="*/ 2236709 h 4135471"/>
                <a:gd name="connsiteX69" fmla="*/ 287151 w 2854049"/>
                <a:gd name="connsiteY69" fmla="*/ 2249737 h 4135471"/>
                <a:gd name="connsiteX70" fmla="*/ 304613 w 2854049"/>
                <a:gd name="connsiteY70" fmla="*/ 2258756 h 4135471"/>
                <a:gd name="connsiteX71" fmla="*/ 321105 w 2854049"/>
                <a:gd name="connsiteY71" fmla="*/ 2269780 h 4135471"/>
                <a:gd name="connsiteX72" fmla="*/ 336627 w 2854049"/>
                <a:gd name="connsiteY72" fmla="*/ 2284810 h 4135471"/>
                <a:gd name="connsiteX73" fmla="*/ 345358 w 2854049"/>
                <a:gd name="connsiteY73" fmla="*/ 2300845 h 4135471"/>
                <a:gd name="connsiteX74" fmla="*/ 354089 w 2854049"/>
                <a:gd name="connsiteY74" fmla="*/ 2329906 h 4135471"/>
                <a:gd name="connsiteX75" fmla="*/ 354089 w 2854049"/>
                <a:gd name="connsiteY75" fmla="*/ 2362976 h 4135471"/>
                <a:gd name="connsiteX76" fmla="*/ 351179 w 2854049"/>
                <a:gd name="connsiteY76" fmla="*/ 2394041 h 4135471"/>
                <a:gd name="connsiteX77" fmla="*/ 343417 w 2854049"/>
                <a:gd name="connsiteY77" fmla="*/ 2426108 h 4135471"/>
                <a:gd name="connsiteX78" fmla="*/ 336627 w 2854049"/>
                <a:gd name="connsiteY78" fmla="*/ 2457173 h 4135471"/>
                <a:gd name="connsiteX79" fmla="*/ 331776 w 2854049"/>
                <a:gd name="connsiteY79" fmla="*/ 2485233 h 4135471"/>
                <a:gd name="connsiteX80" fmla="*/ 327896 w 2854049"/>
                <a:gd name="connsiteY80" fmla="*/ 2525318 h 4135471"/>
                <a:gd name="connsiteX81" fmla="*/ 331776 w 2854049"/>
                <a:gd name="connsiteY81" fmla="*/ 2561393 h 4135471"/>
                <a:gd name="connsiteX82" fmla="*/ 342447 w 2854049"/>
                <a:gd name="connsiteY82" fmla="*/ 2594464 h 4135471"/>
                <a:gd name="connsiteX83" fmla="*/ 356029 w 2854049"/>
                <a:gd name="connsiteY83" fmla="*/ 2623524 h 4135471"/>
                <a:gd name="connsiteX84" fmla="*/ 375432 w 2854049"/>
                <a:gd name="connsiteY84" fmla="*/ 2646572 h 4135471"/>
                <a:gd name="connsiteX85" fmla="*/ 400654 w 2854049"/>
                <a:gd name="connsiteY85" fmla="*/ 2668619 h 4135471"/>
                <a:gd name="connsiteX86" fmla="*/ 424906 w 2854049"/>
                <a:gd name="connsiteY86" fmla="*/ 2686657 h 4135471"/>
                <a:gd name="connsiteX87" fmla="*/ 453040 w 2854049"/>
                <a:gd name="connsiteY87" fmla="*/ 2701688 h 4135471"/>
                <a:gd name="connsiteX88" fmla="*/ 481173 w 2854049"/>
                <a:gd name="connsiteY88" fmla="*/ 2714717 h 4135471"/>
                <a:gd name="connsiteX89" fmla="*/ 509306 w 2854049"/>
                <a:gd name="connsiteY89" fmla="*/ 2721731 h 4135471"/>
                <a:gd name="connsiteX90" fmla="*/ 560721 w 2854049"/>
                <a:gd name="connsiteY90" fmla="*/ 2730751 h 4135471"/>
                <a:gd name="connsiteX91" fmla="*/ 615047 w 2854049"/>
                <a:gd name="connsiteY91" fmla="*/ 2734758 h 4135471"/>
                <a:gd name="connsiteX92" fmla="*/ 672284 w 2854049"/>
                <a:gd name="connsiteY92" fmla="*/ 2732755 h 4135471"/>
                <a:gd name="connsiteX93" fmla="*/ 728550 w 2854049"/>
                <a:gd name="connsiteY93" fmla="*/ 2726742 h 4135471"/>
                <a:gd name="connsiteX94" fmla="*/ 784816 w 2854049"/>
                <a:gd name="connsiteY94" fmla="*/ 2719726 h 4135471"/>
                <a:gd name="connsiteX95" fmla="*/ 838171 w 2854049"/>
                <a:gd name="connsiteY95" fmla="*/ 2708704 h 4135471"/>
                <a:gd name="connsiteX96" fmla="*/ 885706 w 2854049"/>
                <a:gd name="connsiteY96" fmla="*/ 2695677 h 4135471"/>
                <a:gd name="connsiteX97" fmla="*/ 927421 w 2854049"/>
                <a:gd name="connsiteY97" fmla="*/ 2681646 h 4135471"/>
                <a:gd name="connsiteX98" fmla="*/ 944882 w 2854049"/>
                <a:gd name="connsiteY98" fmla="*/ 2675633 h 4135471"/>
                <a:gd name="connsiteX99" fmla="*/ 968165 w 2854049"/>
                <a:gd name="connsiteY99" fmla="*/ 2668619 h 4135471"/>
                <a:gd name="connsiteX100" fmla="*/ 993388 w 2854049"/>
                <a:gd name="connsiteY100" fmla="*/ 2661605 h 4135471"/>
                <a:gd name="connsiteX101" fmla="*/ 1019581 w 2854049"/>
                <a:gd name="connsiteY101" fmla="*/ 2654590 h 4135471"/>
                <a:gd name="connsiteX102" fmla="*/ 1047714 w 2854049"/>
                <a:gd name="connsiteY102" fmla="*/ 2650582 h 4135471"/>
                <a:gd name="connsiteX103" fmla="*/ 1075847 w 2854049"/>
                <a:gd name="connsiteY103" fmla="*/ 2648577 h 4135471"/>
                <a:gd name="connsiteX104" fmla="*/ 1100100 w 2854049"/>
                <a:gd name="connsiteY104" fmla="*/ 2652585 h 4135471"/>
                <a:gd name="connsiteX105" fmla="*/ 1121442 w 2854049"/>
                <a:gd name="connsiteY105" fmla="*/ 2661605 h 4135471"/>
                <a:gd name="connsiteX106" fmla="*/ 1140844 w 2854049"/>
                <a:gd name="connsiteY106" fmla="*/ 2679643 h 4135471"/>
                <a:gd name="connsiteX107" fmla="*/ 1158306 w 2854049"/>
                <a:gd name="connsiteY107" fmla="*/ 2708704 h 4135471"/>
                <a:gd name="connsiteX108" fmla="*/ 1174797 w 2854049"/>
                <a:gd name="connsiteY108" fmla="*/ 2745782 h 4135471"/>
                <a:gd name="connsiteX109" fmla="*/ 1190319 w 2854049"/>
                <a:gd name="connsiteY109" fmla="*/ 2788872 h 4135471"/>
                <a:gd name="connsiteX110" fmla="*/ 1202931 w 2854049"/>
                <a:gd name="connsiteY110" fmla="*/ 2837975 h 4135471"/>
                <a:gd name="connsiteX111" fmla="*/ 1215541 w 2854049"/>
                <a:gd name="connsiteY111" fmla="*/ 2889083 h 4135471"/>
                <a:gd name="connsiteX112" fmla="*/ 1226212 w 2854049"/>
                <a:gd name="connsiteY112" fmla="*/ 2942195 h 4135471"/>
                <a:gd name="connsiteX113" fmla="*/ 1235914 w 2854049"/>
                <a:gd name="connsiteY113" fmla="*/ 2996309 h 4135471"/>
                <a:gd name="connsiteX114" fmla="*/ 1245616 w 2854049"/>
                <a:gd name="connsiteY114" fmla="*/ 3049421 h 4135471"/>
                <a:gd name="connsiteX115" fmla="*/ 1252407 w 2854049"/>
                <a:gd name="connsiteY115" fmla="*/ 3098524 h 4135471"/>
                <a:gd name="connsiteX116" fmla="*/ 1261138 w 2854049"/>
                <a:gd name="connsiteY116" fmla="*/ 3144621 h 4135471"/>
                <a:gd name="connsiteX117" fmla="*/ 1267927 w 2854049"/>
                <a:gd name="connsiteY117" fmla="*/ 3182701 h 4135471"/>
                <a:gd name="connsiteX118" fmla="*/ 1273749 w 2854049"/>
                <a:gd name="connsiteY118" fmla="*/ 3215771 h 4135471"/>
                <a:gd name="connsiteX119" fmla="*/ 1405683 w 2854049"/>
                <a:gd name="connsiteY119" fmla="*/ 3238820 h 4135471"/>
                <a:gd name="connsiteX120" fmla="*/ 1539558 w 2854049"/>
                <a:gd name="connsiteY120" fmla="*/ 3251847 h 4135471"/>
                <a:gd name="connsiteX121" fmla="*/ 1677312 w 2854049"/>
                <a:gd name="connsiteY121" fmla="*/ 3253851 h 4135471"/>
                <a:gd name="connsiteX122" fmla="*/ 1817977 w 2854049"/>
                <a:gd name="connsiteY122" fmla="*/ 3246837 h 4135471"/>
                <a:gd name="connsiteX123" fmla="*/ 1963493 w 2854049"/>
                <a:gd name="connsiteY123" fmla="*/ 3226793 h 4135471"/>
                <a:gd name="connsiteX124" fmla="*/ 1998071 w 2854049"/>
                <a:gd name="connsiteY124" fmla="*/ 3220300 h 4135471"/>
                <a:gd name="connsiteX125" fmla="*/ 1972544 w 2854049"/>
                <a:gd name="connsiteY125" fmla="*/ 2990832 h 4135471"/>
                <a:gd name="connsiteX126" fmla="*/ 1866104 w 2854049"/>
                <a:gd name="connsiteY126" fmla="*/ 2529483 h 4135471"/>
                <a:gd name="connsiteX127" fmla="*/ 1085631 w 2854049"/>
                <a:gd name="connsiteY127" fmla="*/ 1773024 h 4135471"/>
                <a:gd name="connsiteX128" fmla="*/ 1277747 w 2854049"/>
                <a:gd name="connsiteY128" fmla="*/ 968535 h 4135471"/>
                <a:gd name="connsiteX129" fmla="*/ 1914134 w 2854049"/>
                <a:gd name="connsiteY129" fmla="*/ 872477 h 4135471"/>
                <a:gd name="connsiteX130" fmla="*/ 2334389 w 2854049"/>
                <a:gd name="connsiteY130" fmla="*/ 1316747 h 4135471"/>
                <a:gd name="connsiteX131" fmla="*/ 2850702 w 2854049"/>
                <a:gd name="connsiteY131" fmla="*/ 1256710 h 4135471"/>
                <a:gd name="connsiteX132" fmla="*/ 2851858 w 2854049"/>
                <a:gd name="connsiteY132" fmla="*/ 1288484 h 4135471"/>
                <a:gd name="connsiteX133" fmla="*/ 2854049 w 2854049"/>
                <a:gd name="connsiteY133" fmla="*/ 1252639 h 4135471"/>
                <a:gd name="connsiteX134" fmla="*/ 2852109 w 2854049"/>
                <a:gd name="connsiteY134" fmla="*/ 1156435 h 4135471"/>
                <a:gd name="connsiteX135" fmla="*/ 2845318 w 2854049"/>
                <a:gd name="connsiteY135" fmla="*/ 1062236 h 4135471"/>
                <a:gd name="connsiteX136" fmla="*/ 2830767 w 2854049"/>
                <a:gd name="connsiteY136" fmla="*/ 971045 h 4135471"/>
                <a:gd name="connsiteX137" fmla="*/ 2811365 w 2854049"/>
                <a:gd name="connsiteY137" fmla="*/ 881857 h 4135471"/>
                <a:gd name="connsiteX138" fmla="*/ 2787112 w 2854049"/>
                <a:gd name="connsiteY138" fmla="*/ 799684 h 4135471"/>
                <a:gd name="connsiteX139" fmla="*/ 2759950 w 2854049"/>
                <a:gd name="connsiteY139" fmla="*/ 724526 h 4135471"/>
                <a:gd name="connsiteX140" fmla="*/ 2728906 w 2854049"/>
                <a:gd name="connsiteY140" fmla="*/ 657385 h 4135471"/>
                <a:gd name="connsiteX141" fmla="*/ 2682340 w 2854049"/>
                <a:gd name="connsiteY141" fmla="*/ 577215 h 4135471"/>
                <a:gd name="connsiteX142" fmla="*/ 2631895 w 2854049"/>
                <a:gd name="connsiteY142" fmla="*/ 501055 h 4135471"/>
                <a:gd name="connsiteX143" fmla="*/ 2574659 w 2854049"/>
                <a:gd name="connsiteY143" fmla="*/ 429907 h 4135471"/>
                <a:gd name="connsiteX144" fmla="*/ 2513543 w 2854049"/>
                <a:gd name="connsiteY144" fmla="*/ 361762 h 4135471"/>
                <a:gd name="connsiteX145" fmla="*/ 2446606 w 2854049"/>
                <a:gd name="connsiteY145" fmla="*/ 300634 h 4135471"/>
                <a:gd name="connsiteX146" fmla="*/ 2371907 w 2854049"/>
                <a:gd name="connsiteY146" fmla="*/ 243513 h 4135471"/>
                <a:gd name="connsiteX147" fmla="*/ 2294299 w 2854049"/>
                <a:gd name="connsiteY147" fmla="*/ 192406 h 4135471"/>
                <a:gd name="connsiteX148" fmla="*/ 2211840 w 2854049"/>
                <a:gd name="connsiteY148" fmla="*/ 147311 h 4135471"/>
                <a:gd name="connsiteX149" fmla="*/ 2121620 w 2854049"/>
                <a:gd name="connsiteY149" fmla="*/ 109230 h 4135471"/>
                <a:gd name="connsiteX150" fmla="*/ 2028490 w 2854049"/>
                <a:gd name="connsiteY150" fmla="*/ 74157 h 4135471"/>
                <a:gd name="connsiteX151" fmla="*/ 1927599 w 2854049"/>
                <a:gd name="connsiteY151" fmla="*/ 47099 h 4135471"/>
                <a:gd name="connsiteX152" fmla="*/ 1821858 w 2854049"/>
                <a:gd name="connsiteY152" fmla="*/ 25053 h 4135471"/>
                <a:gd name="connsiteX153" fmla="*/ 1711265 w 2854049"/>
                <a:gd name="connsiteY153" fmla="*/ 10021 h 4135471"/>
                <a:gd name="connsiteX154" fmla="*/ 1594853 w 2854049"/>
                <a:gd name="connsiteY154" fmla="*/ 1002 h 413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854049" h="4135471">
                  <a:moveTo>
                    <a:pt x="1696267" y="3431657"/>
                  </a:moveTo>
                  <a:cubicBezTo>
                    <a:pt x="1501914" y="3431657"/>
                    <a:pt x="1344360" y="3589211"/>
                    <a:pt x="1344360" y="3783564"/>
                  </a:cubicBezTo>
                  <a:cubicBezTo>
                    <a:pt x="1344360" y="3977917"/>
                    <a:pt x="1501914" y="4135471"/>
                    <a:pt x="1696267" y="4135471"/>
                  </a:cubicBezTo>
                  <a:cubicBezTo>
                    <a:pt x="1890620" y="4135471"/>
                    <a:pt x="2048174" y="3977917"/>
                    <a:pt x="2048174" y="3783564"/>
                  </a:cubicBezTo>
                  <a:cubicBezTo>
                    <a:pt x="2048174" y="3589211"/>
                    <a:pt x="1890620" y="3431657"/>
                    <a:pt x="1696267" y="3431657"/>
                  </a:cubicBezTo>
                  <a:close/>
                  <a:moveTo>
                    <a:pt x="1470680" y="0"/>
                  </a:moveTo>
                  <a:lnTo>
                    <a:pt x="1360088" y="9020"/>
                  </a:lnTo>
                  <a:lnTo>
                    <a:pt x="1082638" y="72152"/>
                  </a:lnTo>
                  <a:lnTo>
                    <a:pt x="1000179" y="103217"/>
                  </a:lnTo>
                  <a:lnTo>
                    <a:pt x="918691" y="138291"/>
                  </a:lnTo>
                  <a:lnTo>
                    <a:pt x="839141" y="180379"/>
                  </a:lnTo>
                  <a:lnTo>
                    <a:pt x="765414" y="227479"/>
                  </a:lnTo>
                  <a:lnTo>
                    <a:pt x="694595" y="280591"/>
                  </a:lnTo>
                  <a:lnTo>
                    <a:pt x="629599" y="338714"/>
                  </a:lnTo>
                  <a:lnTo>
                    <a:pt x="569452" y="401847"/>
                  </a:lnTo>
                  <a:lnTo>
                    <a:pt x="515126" y="470992"/>
                  </a:lnTo>
                  <a:lnTo>
                    <a:pt x="467591" y="544147"/>
                  </a:lnTo>
                  <a:lnTo>
                    <a:pt x="426847" y="622311"/>
                  </a:lnTo>
                  <a:lnTo>
                    <a:pt x="392893" y="706488"/>
                  </a:lnTo>
                  <a:lnTo>
                    <a:pt x="338568" y="937976"/>
                  </a:lnTo>
                  <a:lnTo>
                    <a:pt x="333717" y="994094"/>
                  </a:lnTo>
                  <a:lnTo>
                    <a:pt x="331776" y="1047206"/>
                  </a:lnTo>
                  <a:lnTo>
                    <a:pt x="333717" y="1096308"/>
                  </a:lnTo>
                  <a:lnTo>
                    <a:pt x="334686" y="1145413"/>
                  </a:lnTo>
                  <a:lnTo>
                    <a:pt x="334686" y="1191509"/>
                  </a:lnTo>
                  <a:lnTo>
                    <a:pt x="329836" y="1234599"/>
                  </a:lnTo>
                  <a:lnTo>
                    <a:pt x="315284" y="1278693"/>
                  </a:lnTo>
                  <a:lnTo>
                    <a:pt x="289092" y="1331805"/>
                  </a:lnTo>
                  <a:lnTo>
                    <a:pt x="257078" y="1380908"/>
                  </a:lnTo>
                  <a:lnTo>
                    <a:pt x="222155" y="1423998"/>
                  </a:lnTo>
                  <a:lnTo>
                    <a:pt x="185291" y="1468092"/>
                  </a:lnTo>
                  <a:lnTo>
                    <a:pt x="146487" y="1508176"/>
                  </a:lnTo>
                  <a:lnTo>
                    <a:pt x="107683" y="1548261"/>
                  </a:lnTo>
                  <a:lnTo>
                    <a:pt x="70819" y="1592354"/>
                  </a:lnTo>
                  <a:lnTo>
                    <a:pt x="58206" y="1604378"/>
                  </a:lnTo>
                  <a:lnTo>
                    <a:pt x="42684" y="1619410"/>
                  </a:lnTo>
                  <a:lnTo>
                    <a:pt x="26193" y="1637448"/>
                  </a:lnTo>
                  <a:lnTo>
                    <a:pt x="12611" y="1655486"/>
                  </a:lnTo>
                  <a:lnTo>
                    <a:pt x="3882" y="1677533"/>
                  </a:lnTo>
                  <a:lnTo>
                    <a:pt x="0" y="1701583"/>
                  </a:lnTo>
                  <a:lnTo>
                    <a:pt x="4851" y="1726636"/>
                  </a:lnTo>
                  <a:lnTo>
                    <a:pt x="17462" y="1750687"/>
                  </a:lnTo>
                  <a:lnTo>
                    <a:pt x="38806" y="1770728"/>
                  </a:lnTo>
                  <a:lnTo>
                    <a:pt x="63057" y="1784759"/>
                  </a:lnTo>
                  <a:lnTo>
                    <a:pt x="93130" y="1797786"/>
                  </a:lnTo>
                  <a:lnTo>
                    <a:pt x="125143" y="1808809"/>
                  </a:lnTo>
                  <a:lnTo>
                    <a:pt x="157158" y="1819833"/>
                  </a:lnTo>
                  <a:lnTo>
                    <a:pt x="188201" y="1830855"/>
                  </a:lnTo>
                  <a:lnTo>
                    <a:pt x="218273" y="1843883"/>
                  </a:lnTo>
                  <a:lnTo>
                    <a:pt x="245437" y="1857912"/>
                  </a:lnTo>
                  <a:lnTo>
                    <a:pt x="264839" y="1875951"/>
                  </a:lnTo>
                  <a:lnTo>
                    <a:pt x="259018" y="1900001"/>
                  </a:lnTo>
                  <a:lnTo>
                    <a:pt x="248347" y="1922047"/>
                  </a:lnTo>
                  <a:lnTo>
                    <a:pt x="237676" y="1945097"/>
                  </a:lnTo>
                  <a:lnTo>
                    <a:pt x="226035" y="1967142"/>
                  </a:lnTo>
                  <a:lnTo>
                    <a:pt x="215364" y="1989189"/>
                  </a:lnTo>
                  <a:lnTo>
                    <a:pt x="207602" y="2011236"/>
                  </a:lnTo>
                  <a:lnTo>
                    <a:pt x="204693" y="2031277"/>
                  </a:lnTo>
                  <a:lnTo>
                    <a:pt x="206633" y="2053324"/>
                  </a:lnTo>
                  <a:lnTo>
                    <a:pt x="217304" y="2073366"/>
                  </a:lnTo>
                  <a:lnTo>
                    <a:pt x="236706" y="2093409"/>
                  </a:lnTo>
                  <a:lnTo>
                    <a:pt x="264839" y="2113450"/>
                  </a:lnTo>
                  <a:lnTo>
                    <a:pt x="259018" y="2129483"/>
                  </a:lnTo>
                  <a:lnTo>
                    <a:pt x="250288" y="2145517"/>
                  </a:lnTo>
                  <a:lnTo>
                    <a:pt x="243497" y="2164557"/>
                  </a:lnTo>
                  <a:lnTo>
                    <a:pt x="241557" y="2184601"/>
                  </a:lnTo>
                  <a:lnTo>
                    <a:pt x="245437" y="2204642"/>
                  </a:lnTo>
                  <a:lnTo>
                    <a:pt x="256109" y="2222680"/>
                  </a:lnTo>
                  <a:lnTo>
                    <a:pt x="269690" y="2236709"/>
                  </a:lnTo>
                  <a:lnTo>
                    <a:pt x="287151" y="2249737"/>
                  </a:lnTo>
                  <a:lnTo>
                    <a:pt x="304613" y="2258756"/>
                  </a:lnTo>
                  <a:lnTo>
                    <a:pt x="321105" y="2269780"/>
                  </a:lnTo>
                  <a:lnTo>
                    <a:pt x="336627" y="2284810"/>
                  </a:lnTo>
                  <a:lnTo>
                    <a:pt x="345358" y="2300845"/>
                  </a:lnTo>
                  <a:lnTo>
                    <a:pt x="354089" y="2329906"/>
                  </a:lnTo>
                  <a:lnTo>
                    <a:pt x="354089" y="2362976"/>
                  </a:lnTo>
                  <a:lnTo>
                    <a:pt x="351179" y="2394041"/>
                  </a:lnTo>
                  <a:lnTo>
                    <a:pt x="343417" y="2426108"/>
                  </a:lnTo>
                  <a:lnTo>
                    <a:pt x="336627" y="2457173"/>
                  </a:lnTo>
                  <a:lnTo>
                    <a:pt x="331776" y="2485233"/>
                  </a:lnTo>
                  <a:lnTo>
                    <a:pt x="327896" y="2525318"/>
                  </a:lnTo>
                  <a:lnTo>
                    <a:pt x="331776" y="2561393"/>
                  </a:lnTo>
                  <a:lnTo>
                    <a:pt x="342447" y="2594464"/>
                  </a:lnTo>
                  <a:lnTo>
                    <a:pt x="356029" y="2623524"/>
                  </a:lnTo>
                  <a:lnTo>
                    <a:pt x="375432" y="2646572"/>
                  </a:lnTo>
                  <a:lnTo>
                    <a:pt x="400654" y="2668619"/>
                  </a:lnTo>
                  <a:lnTo>
                    <a:pt x="424906" y="2686657"/>
                  </a:lnTo>
                  <a:lnTo>
                    <a:pt x="453040" y="2701688"/>
                  </a:lnTo>
                  <a:lnTo>
                    <a:pt x="481173" y="2714717"/>
                  </a:lnTo>
                  <a:lnTo>
                    <a:pt x="509306" y="2721731"/>
                  </a:lnTo>
                  <a:lnTo>
                    <a:pt x="560721" y="2730751"/>
                  </a:lnTo>
                  <a:lnTo>
                    <a:pt x="615047" y="2734758"/>
                  </a:lnTo>
                  <a:lnTo>
                    <a:pt x="672284" y="2732755"/>
                  </a:lnTo>
                  <a:lnTo>
                    <a:pt x="728550" y="2726742"/>
                  </a:lnTo>
                  <a:lnTo>
                    <a:pt x="784816" y="2719726"/>
                  </a:lnTo>
                  <a:lnTo>
                    <a:pt x="838171" y="2708704"/>
                  </a:lnTo>
                  <a:lnTo>
                    <a:pt x="885706" y="2695677"/>
                  </a:lnTo>
                  <a:lnTo>
                    <a:pt x="927421" y="2681646"/>
                  </a:lnTo>
                  <a:lnTo>
                    <a:pt x="944882" y="2675633"/>
                  </a:lnTo>
                  <a:lnTo>
                    <a:pt x="968165" y="2668619"/>
                  </a:lnTo>
                  <a:lnTo>
                    <a:pt x="993388" y="2661605"/>
                  </a:lnTo>
                  <a:lnTo>
                    <a:pt x="1019581" y="2654590"/>
                  </a:lnTo>
                  <a:lnTo>
                    <a:pt x="1047714" y="2650582"/>
                  </a:lnTo>
                  <a:lnTo>
                    <a:pt x="1075847" y="2648577"/>
                  </a:lnTo>
                  <a:lnTo>
                    <a:pt x="1100100" y="2652585"/>
                  </a:lnTo>
                  <a:lnTo>
                    <a:pt x="1121442" y="2661605"/>
                  </a:lnTo>
                  <a:lnTo>
                    <a:pt x="1140844" y="2679643"/>
                  </a:lnTo>
                  <a:lnTo>
                    <a:pt x="1158306" y="2708704"/>
                  </a:lnTo>
                  <a:lnTo>
                    <a:pt x="1174797" y="2745782"/>
                  </a:lnTo>
                  <a:lnTo>
                    <a:pt x="1190319" y="2788872"/>
                  </a:lnTo>
                  <a:lnTo>
                    <a:pt x="1202931" y="2837975"/>
                  </a:lnTo>
                  <a:lnTo>
                    <a:pt x="1215541" y="2889083"/>
                  </a:lnTo>
                  <a:lnTo>
                    <a:pt x="1226212" y="2942195"/>
                  </a:lnTo>
                  <a:lnTo>
                    <a:pt x="1235914" y="2996309"/>
                  </a:lnTo>
                  <a:lnTo>
                    <a:pt x="1245616" y="3049421"/>
                  </a:lnTo>
                  <a:lnTo>
                    <a:pt x="1252407" y="3098524"/>
                  </a:lnTo>
                  <a:lnTo>
                    <a:pt x="1261138" y="3144621"/>
                  </a:lnTo>
                  <a:lnTo>
                    <a:pt x="1267927" y="3182701"/>
                  </a:lnTo>
                  <a:lnTo>
                    <a:pt x="1273749" y="3215771"/>
                  </a:lnTo>
                  <a:lnTo>
                    <a:pt x="1405683" y="3238820"/>
                  </a:lnTo>
                  <a:lnTo>
                    <a:pt x="1539558" y="3251847"/>
                  </a:lnTo>
                  <a:lnTo>
                    <a:pt x="1677312" y="3253851"/>
                  </a:lnTo>
                  <a:lnTo>
                    <a:pt x="1817977" y="3246837"/>
                  </a:lnTo>
                  <a:lnTo>
                    <a:pt x="1963493" y="3226793"/>
                  </a:lnTo>
                  <a:lnTo>
                    <a:pt x="1998071" y="3220300"/>
                  </a:lnTo>
                  <a:lnTo>
                    <a:pt x="1972544" y="2990832"/>
                  </a:lnTo>
                  <a:cubicBezTo>
                    <a:pt x="1951990" y="2824419"/>
                    <a:pt x="1923973" y="2664322"/>
                    <a:pt x="1866104" y="2529483"/>
                  </a:cubicBezTo>
                  <a:cubicBezTo>
                    <a:pt x="1798827" y="2378364"/>
                    <a:pt x="1318234" y="2057324"/>
                    <a:pt x="1085631" y="1773024"/>
                  </a:cubicBezTo>
                  <a:cubicBezTo>
                    <a:pt x="1039452" y="1683967"/>
                    <a:pt x="924385" y="1218329"/>
                    <a:pt x="1277747" y="968535"/>
                  </a:cubicBezTo>
                  <a:cubicBezTo>
                    <a:pt x="1430175" y="835482"/>
                    <a:pt x="1702005" y="831017"/>
                    <a:pt x="1914134" y="872477"/>
                  </a:cubicBezTo>
                  <a:cubicBezTo>
                    <a:pt x="2031257" y="905756"/>
                    <a:pt x="2240228" y="1053847"/>
                    <a:pt x="2334389" y="1316747"/>
                  </a:cubicBezTo>
                  <a:lnTo>
                    <a:pt x="2850702" y="1256710"/>
                  </a:lnTo>
                  <a:lnTo>
                    <a:pt x="2851858" y="1288484"/>
                  </a:lnTo>
                  <a:lnTo>
                    <a:pt x="2854049" y="1252639"/>
                  </a:lnTo>
                  <a:lnTo>
                    <a:pt x="2852109" y="1156435"/>
                  </a:lnTo>
                  <a:lnTo>
                    <a:pt x="2845318" y="1062236"/>
                  </a:lnTo>
                  <a:lnTo>
                    <a:pt x="2830767" y="971045"/>
                  </a:lnTo>
                  <a:lnTo>
                    <a:pt x="2811365" y="881857"/>
                  </a:lnTo>
                  <a:lnTo>
                    <a:pt x="2787112" y="799684"/>
                  </a:lnTo>
                  <a:lnTo>
                    <a:pt x="2759950" y="724526"/>
                  </a:lnTo>
                  <a:lnTo>
                    <a:pt x="2728906" y="657385"/>
                  </a:lnTo>
                  <a:lnTo>
                    <a:pt x="2682340" y="577215"/>
                  </a:lnTo>
                  <a:lnTo>
                    <a:pt x="2631895" y="501055"/>
                  </a:lnTo>
                  <a:lnTo>
                    <a:pt x="2574659" y="429907"/>
                  </a:lnTo>
                  <a:lnTo>
                    <a:pt x="2513543" y="361762"/>
                  </a:lnTo>
                  <a:lnTo>
                    <a:pt x="2446606" y="300634"/>
                  </a:lnTo>
                  <a:lnTo>
                    <a:pt x="2371907" y="243513"/>
                  </a:lnTo>
                  <a:lnTo>
                    <a:pt x="2294299" y="192406"/>
                  </a:lnTo>
                  <a:lnTo>
                    <a:pt x="2211840" y="147311"/>
                  </a:lnTo>
                  <a:lnTo>
                    <a:pt x="2121620" y="109230"/>
                  </a:lnTo>
                  <a:lnTo>
                    <a:pt x="2028490" y="74157"/>
                  </a:lnTo>
                  <a:lnTo>
                    <a:pt x="1927599" y="47099"/>
                  </a:lnTo>
                  <a:lnTo>
                    <a:pt x="1821858" y="25053"/>
                  </a:lnTo>
                  <a:lnTo>
                    <a:pt x="1711265" y="10021"/>
                  </a:lnTo>
                  <a:lnTo>
                    <a:pt x="1594853" y="1002"/>
                  </a:lnTo>
                  <a:close/>
                </a:path>
              </a:pathLst>
            </a:custGeom>
            <a:solidFill>
              <a:schemeClr val="tx1">
                <a:lumMod val="75000"/>
                <a:lumOff val="25000"/>
              </a:schemeClr>
            </a:solidFill>
            <a:ln>
              <a:solidFill>
                <a:srgbClr val="163F74"/>
              </a:solid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anchor="t" anchorCtr="0" compatLnSpc="1">
              <a:prstTxWarp prst="textNoShape">
                <a:avLst/>
              </a:prstTxWarp>
              <a:noAutofit/>
            </a:bodyPr>
            <a:lstStyle/>
            <a:p>
              <a:endParaRPr lang="ko-KR" altLang="en-US" sz="2026" dirty="0"/>
            </a:p>
          </p:txBody>
        </p:sp>
        <p:sp>
          <p:nvSpPr>
            <p:cNvPr id="16" name="Freeform: Shape 15">
              <a:extLst>
                <a:ext uri="{FF2B5EF4-FFF2-40B4-BE49-F238E27FC236}">
                  <a16:creationId xmlns:a16="http://schemas.microsoft.com/office/drawing/2014/main" id="{68C7E696-0B18-41D8-BADC-63197E0C7B5D}"/>
                </a:ext>
              </a:extLst>
            </p:cNvPr>
            <p:cNvSpPr/>
            <p:nvPr/>
          </p:nvSpPr>
          <p:spPr>
            <a:xfrm flipH="1">
              <a:off x="457200" y="590550"/>
              <a:ext cx="2979057" cy="1921717"/>
            </a:xfrm>
            <a:custGeom>
              <a:avLst/>
              <a:gdLst>
                <a:gd name="connsiteX0" fmla="*/ 1547519 w 3095038"/>
                <a:gd name="connsiteY0" fmla="*/ 0 h 2022026"/>
                <a:gd name="connsiteX1" fmla="*/ 3095038 w 3095038"/>
                <a:gd name="connsiteY1" fmla="*/ 627509 h 2022026"/>
                <a:gd name="connsiteX2" fmla="*/ 2825277 w 3095038"/>
                <a:gd name="connsiteY2" fmla="*/ 736897 h 2022026"/>
                <a:gd name="connsiteX3" fmla="*/ 2825277 w 3095038"/>
                <a:gd name="connsiteY3" fmla="*/ 1583608 h 2022026"/>
                <a:gd name="connsiteX4" fmla="*/ 2829142 w 3095038"/>
                <a:gd name="connsiteY4" fmla="*/ 1585209 h 2022026"/>
                <a:gd name="connsiteX5" fmla="*/ 2841509 w 3095038"/>
                <a:gd name="connsiteY5" fmla="*/ 1615067 h 2022026"/>
                <a:gd name="connsiteX6" fmla="*/ 2829142 w 3095038"/>
                <a:gd name="connsiteY6" fmla="*/ 1644926 h 2022026"/>
                <a:gd name="connsiteX7" fmla="*/ 2826092 w 3095038"/>
                <a:gd name="connsiteY7" fmla="*/ 1646189 h 2022026"/>
                <a:gd name="connsiteX8" fmla="*/ 2876626 w 3095038"/>
                <a:gd name="connsiteY8" fmla="*/ 2022026 h 2022026"/>
                <a:gd name="connsiteX9" fmla="*/ 2721940 w 3095038"/>
                <a:gd name="connsiteY9" fmla="*/ 2022026 h 2022026"/>
                <a:gd name="connsiteX10" fmla="*/ 2772475 w 3095038"/>
                <a:gd name="connsiteY10" fmla="*/ 1646189 h 2022026"/>
                <a:gd name="connsiteX11" fmla="*/ 2769425 w 3095038"/>
                <a:gd name="connsiteY11" fmla="*/ 1644926 h 2022026"/>
                <a:gd name="connsiteX12" fmla="*/ 2757057 w 3095038"/>
                <a:gd name="connsiteY12" fmla="*/ 1615067 h 2022026"/>
                <a:gd name="connsiteX13" fmla="*/ 2769425 w 3095038"/>
                <a:gd name="connsiteY13" fmla="*/ 1585209 h 2022026"/>
                <a:gd name="connsiteX14" fmla="*/ 2773289 w 3095038"/>
                <a:gd name="connsiteY14" fmla="*/ 1583608 h 2022026"/>
                <a:gd name="connsiteX15" fmla="*/ 2773289 w 3095038"/>
                <a:gd name="connsiteY15" fmla="*/ 757978 h 2022026"/>
                <a:gd name="connsiteX16" fmla="*/ 2747752 w 3095038"/>
                <a:gd name="connsiteY16" fmla="*/ 768333 h 2022026"/>
                <a:gd name="connsiteX17" fmla="*/ 2473970 w 3095038"/>
                <a:gd name="connsiteY17" fmla="*/ 981499 h 2022026"/>
                <a:gd name="connsiteX18" fmla="*/ 2473970 w 3095038"/>
                <a:gd name="connsiteY18" fmla="*/ 1333096 h 2022026"/>
                <a:gd name="connsiteX19" fmla="*/ 1442377 w 3095038"/>
                <a:gd name="connsiteY19" fmla="*/ 1553521 h 2022026"/>
                <a:gd name="connsiteX20" fmla="*/ 628675 w 3095038"/>
                <a:gd name="connsiteY20" fmla="*/ 1422110 h 2022026"/>
                <a:gd name="connsiteX21" fmla="*/ 635755 w 3095038"/>
                <a:gd name="connsiteY21" fmla="*/ 1406334 h 2022026"/>
                <a:gd name="connsiteX22" fmla="*/ 621068 w 3095038"/>
                <a:gd name="connsiteY22" fmla="*/ 1402746 h 2022026"/>
                <a:gd name="connsiteX23" fmla="*/ 621068 w 3095038"/>
                <a:gd name="connsiteY23" fmla="*/ 981499 h 2022026"/>
                <a:gd name="connsiteX24" fmla="*/ 0 w 3095038"/>
                <a:gd name="connsiteY24" fmla="*/ 627509 h 202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95038" h="2022026">
                  <a:moveTo>
                    <a:pt x="1547519" y="0"/>
                  </a:moveTo>
                  <a:lnTo>
                    <a:pt x="3095038" y="627509"/>
                  </a:lnTo>
                  <a:lnTo>
                    <a:pt x="2825277" y="736897"/>
                  </a:lnTo>
                  <a:lnTo>
                    <a:pt x="2825277" y="1583608"/>
                  </a:lnTo>
                  <a:lnTo>
                    <a:pt x="2829142" y="1585209"/>
                  </a:lnTo>
                  <a:cubicBezTo>
                    <a:pt x="2836783" y="1592850"/>
                    <a:pt x="2841509" y="1603406"/>
                    <a:pt x="2841509" y="1615067"/>
                  </a:cubicBezTo>
                  <a:cubicBezTo>
                    <a:pt x="2841509" y="1626728"/>
                    <a:pt x="2836783" y="1637284"/>
                    <a:pt x="2829142" y="1644926"/>
                  </a:cubicBezTo>
                  <a:lnTo>
                    <a:pt x="2826092" y="1646189"/>
                  </a:lnTo>
                  <a:lnTo>
                    <a:pt x="2876626" y="2022026"/>
                  </a:lnTo>
                  <a:lnTo>
                    <a:pt x="2721940" y="2022026"/>
                  </a:lnTo>
                  <a:lnTo>
                    <a:pt x="2772475" y="1646189"/>
                  </a:lnTo>
                  <a:lnTo>
                    <a:pt x="2769425" y="1644926"/>
                  </a:lnTo>
                  <a:cubicBezTo>
                    <a:pt x="2761784" y="1637284"/>
                    <a:pt x="2757057" y="1626728"/>
                    <a:pt x="2757057" y="1615067"/>
                  </a:cubicBezTo>
                  <a:cubicBezTo>
                    <a:pt x="2757057" y="1603406"/>
                    <a:pt x="2761784" y="1592850"/>
                    <a:pt x="2769425" y="1585209"/>
                  </a:cubicBezTo>
                  <a:lnTo>
                    <a:pt x="2773289" y="1583608"/>
                  </a:lnTo>
                  <a:lnTo>
                    <a:pt x="2773289" y="757978"/>
                  </a:lnTo>
                  <a:lnTo>
                    <a:pt x="2747752" y="768333"/>
                  </a:lnTo>
                  <a:lnTo>
                    <a:pt x="2473970" y="981499"/>
                  </a:lnTo>
                  <a:lnTo>
                    <a:pt x="2473970" y="1333096"/>
                  </a:lnTo>
                  <a:cubicBezTo>
                    <a:pt x="2176456" y="1474039"/>
                    <a:pt x="1822001" y="1553521"/>
                    <a:pt x="1442377" y="1553521"/>
                  </a:cubicBezTo>
                  <a:cubicBezTo>
                    <a:pt x="1151810" y="1553521"/>
                    <a:pt x="875988" y="1506956"/>
                    <a:pt x="628675" y="1422110"/>
                  </a:cubicBezTo>
                  <a:cubicBezTo>
                    <a:pt x="630298" y="1416654"/>
                    <a:pt x="632987" y="1411486"/>
                    <a:pt x="635755" y="1406334"/>
                  </a:cubicBezTo>
                  <a:cubicBezTo>
                    <a:pt x="631035" y="1404608"/>
                    <a:pt x="626049" y="1403669"/>
                    <a:pt x="621068" y="1402746"/>
                  </a:cubicBezTo>
                  <a:lnTo>
                    <a:pt x="621068" y="981499"/>
                  </a:lnTo>
                  <a:lnTo>
                    <a:pt x="0" y="62750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sz="2026" dirty="0"/>
            </a:p>
          </p:txBody>
        </p:sp>
      </p:grpSp>
      <p:graphicFrame>
        <p:nvGraphicFramePr>
          <p:cNvPr id="5" name="Object 4" hidden="1">
            <a:extLst>
              <a:ext uri="{FF2B5EF4-FFF2-40B4-BE49-F238E27FC236}">
                <a16:creationId xmlns:a16="http://schemas.microsoft.com/office/drawing/2014/main" id="{A9E43DCD-F115-4EC7-90AE-5F5E6C473889}"/>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4964" name="think-cell Slide" r:id="rId8" imgW="383" imgH="384" progId="TCLayout.ActiveDocument.1">
                  <p:embed/>
                </p:oleObj>
              </mc:Choice>
              <mc:Fallback>
                <p:oleObj name="think-cell Slide" r:id="rId8" imgW="383" imgH="384" progId="TCLayout.ActiveDocument.1">
                  <p:embed/>
                  <p:pic>
                    <p:nvPicPr>
                      <p:cNvPr id="5" name="Object 4" hidden="1">
                        <a:extLst>
                          <a:ext uri="{FF2B5EF4-FFF2-40B4-BE49-F238E27FC236}">
                            <a16:creationId xmlns:a16="http://schemas.microsoft.com/office/drawing/2014/main" id="{A9E43DCD-F115-4EC7-90AE-5F5E6C473889}"/>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140B3F-4BDA-4FDA-A9EE-3C673CDF2373}"/>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b="1" dirty="0">
              <a:latin typeface="Segoe UI" panose="020B0502040204020203" pitchFamily="34" charset="0"/>
              <a:ea typeface="+mj-ea"/>
              <a:cs typeface="Segoe UI" panose="020B0502040204020203" pitchFamily="34" charset="0"/>
              <a:sym typeface="Segoe UI" panose="020B0502040204020203" pitchFamily="34" charset="0"/>
            </a:endParaRPr>
          </a:p>
        </p:txBody>
      </p:sp>
      <p:cxnSp>
        <p:nvCxnSpPr>
          <p:cNvPr id="8" name="Straight Connector 7">
            <a:extLst>
              <a:ext uri="{FF2B5EF4-FFF2-40B4-BE49-F238E27FC236}">
                <a16:creationId xmlns:a16="http://schemas.microsoft.com/office/drawing/2014/main" id="{FDDCB1DF-AB7E-4220-9C07-5A95CD99AED5}"/>
              </a:ext>
            </a:extLst>
          </p:cNvPr>
          <p:cNvCxnSpPr>
            <a:cxnSpLocks/>
          </p:cNvCxnSpPr>
          <p:nvPr/>
        </p:nvCxnSpPr>
        <p:spPr>
          <a:xfrm flipH="1">
            <a:off x="264252" y="4162255"/>
            <a:ext cx="712513" cy="9885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544301-48A2-4C9C-9CBF-01A720F732C0}"/>
              </a:ext>
            </a:extLst>
          </p:cNvPr>
          <p:cNvCxnSpPr>
            <a:cxnSpLocks/>
          </p:cNvCxnSpPr>
          <p:nvPr/>
        </p:nvCxnSpPr>
        <p:spPr>
          <a:xfrm flipH="1">
            <a:off x="725918" y="1"/>
            <a:ext cx="501694" cy="69604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E0D0D9FA-3DBB-4185-910C-1F200143EFAC}"/>
              </a:ext>
            </a:extLst>
          </p:cNvPr>
          <p:cNvSpPr>
            <a:spLocks noGrp="1"/>
          </p:cNvSpPr>
          <p:nvPr>
            <p:ph type="title"/>
          </p:nvPr>
        </p:nvSpPr>
        <p:spPr>
          <a:xfrm>
            <a:off x="2707341" y="2020384"/>
            <a:ext cx="6436659" cy="1200329"/>
          </a:xfrm>
        </p:spPr>
        <p:txBody>
          <a:bodyPr vert="horz" wrap="square" lIns="91440" tIns="45720" rIns="91440" bIns="45720" rtlCol="0" anchor="t">
            <a:spAutoFit/>
          </a:bodyPr>
          <a:lstStyle/>
          <a:p>
            <a:pPr marL="11545" algn="l">
              <a:spcBef>
                <a:spcPts val="72"/>
              </a:spcBef>
            </a:pPr>
            <a:r>
              <a:rPr lang="en-US" sz="3600"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rPr>
              <a:t>Career Opportunities after  Engineering?</a:t>
            </a:r>
          </a:p>
        </p:txBody>
      </p:sp>
      <p:sp>
        <p:nvSpPr>
          <p:cNvPr id="17" name="Rectangle 16">
            <a:extLst>
              <a:ext uri="{FF2B5EF4-FFF2-40B4-BE49-F238E27FC236}">
                <a16:creationId xmlns:a16="http://schemas.microsoft.com/office/drawing/2014/main" id="{E481DB9C-92EC-43E7-B4B1-F15D6B9CE47D}"/>
              </a:ext>
            </a:extLst>
          </p:cNvPr>
          <p:cNvSpPr/>
          <p:nvPr/>
        </p:nvSpPr>
        <p:spPr>
          <a:xfrm>
            <a:off x="2707341" y="3430160"/>
            <a:ext cx="6436659" cy="48896"/>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pic>
        <p:nvPicPr>
          <p:cNvPr id="18" name="Picture 17">
            <a:extLst>
              <a:ext uri="{FF2B5EF4-FFF2-40B4-BE49-F238E27FC236}">
                <a16:creationId xmlns:a16="http://schemas.microsoft.com/office/drawing/2014/main" id="{5D902101-AC89-42B0-9B96-0874B628281D}"/>
              </a:ext>
            </a:extLst>
          </p:cNvPr>
          <p:cNvPicPr>
            <a:picLocks noChangeAspect="1"/>
          </p:cNvPicPr>
          <p:nvPr/>
        </p:nvPicPr>
        <p:blipFill rotWithShape="1">
          <a:blip r:embed="rId10"/>
          <a:srcRect l="86667" b="81138"/>
          <a:stretch/>
        </p:blipFill>
        <p:spPr>
          <a:xfrm>
            <a:off x="7924800" y="-1"/>
            <a:ext cx="1219200" cy="971551"/>
          </a:xfrm>
          <a:prstGeom prst="rect">
            <a:avLst/>
          </a:prstGeom>
        </p:spPr>
      </p:pic>
    </p:spTree>
    <p:extLst>
      <p:ext uri="{BB962C8B-B14F-4D97-AF65-F5344CB8AC3E}">
        <p14:creationId xmlns:p14="http://schemas.microsoft.com/office/powerpoint/2010/main" val="342058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itle 1">
            <a:extLst>
              <a:ext uri="{FF2B5EF4-FFF2-40B4-BE49-F238E27FC236}">
                <a16:creationId xmlns:a16="http://schemas.microsoft.com/office/drawing/2014/main" id="{24AF6583-8934-481E-8BC7-212D7FFBE715}"/>
              </a:ext>
            </a:extLst>
          </p:cNvPr>
          <p:cNvSpPr txBox="1">
            <a:spLocks/>
          </p:cNvSpPr>
          <p:nvPr/>
        </p:nvSpPr>
        <p:spPr>
          <a:xfrm>
            <a:off x="415154" y="197251"/>
            <a:ext cx="8457246"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altLang="en-US" sz="2800" dirty="0">
                <a:solidFill>
                  <a:srgbClr val="52CBBE"/>
                </a:solidFill>
                <a:latin typeface="Gotham Bold" panose="02000803030000020004" pitchFamily="2" charset="0"/>
              </a:rPr>
              <a:t>Display of Seat Allotment</a:t>
            </a:r>
          </a:p>
        </p:txBody>
      </p:sp>
      <p:sp>
        <p:nvSpPr>
          <p:cNvPr id="37" name="Google Shape;456;p11">
            <a:extLst>
              <a:ext uri="{FF2B5EF4-FFF2-40B4-BE49-F238E27FC236}">
                <a16:creationId xmlns:a16="http://schemas.microsoft.com/office/drawing/2014/main" id="{4B635CDB-6E2C-4C36-96BE-0D7823E37006}"/>
              </a:ext>
            </a:extLst>
          </p:cNvPr>
          <p:cNvSpPr/>
          <p:nvPr/>
        </p:nvSpPr>
        <p:spPr>
          <a:xfrm>
            <a:off x="0" y="0"/>
            <a:ext cx="381000" cy="5143500"/>
          </a:xfrm>
          <a:prstGeom prst="rect">
            <a:avLst/>
          </a:prstGeom>
          <a:solidFill>
            <a:srgbClr val="FF596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2" name="Google Shape;457;p11">
            <a:extLst>
              <a:ext uri="{FF2B5EF4-FFF2-40B4-BE49-F238E27FC236}">
                <a16:creationId xmlns:a16="http://schemas.microsoft.com/office/drawing/2014/main" id="{453DE01B-3244-4A97-A9FC-72911647058A}"/>
              </a:ext>
            </a:extLst>
          </p:cNvPr>
          <p:cNvGrpSpPr/>
          <p:nvPr/>
        </p:nvGrpSpPr>
        <p:grpSpPr>
          <a:xfrm>
            <a:off x="-207" y="193020"/>
            <a:ext cx="155867" cy="653721"/>
            <a:chOff x="5385375" y="498300"/>
            <a:chExt cx="802200" cy="556500"/>
          </a:xfrm>
          <a:solidFill>
            <a:srgbClr val="52CBBE"/>
          </a:solidFill>
        </p:grpSpPr>
        <p:sp>
          <p:nvSpPr>
            <p:cNvPr id="43" name="Google Shape;458;p11">
              <a:extLst>
                <a:ext uri="{FF2B5EF4-FFF2-40B4-BE49-F238E27FC236}">
                  <a16:creationId xmlns:a16="http://schemas.microsoft.com/office/drawing/2014/main" id="{84F6296B-DC66-4682-995E-23152529733B}"/>
                </a:ext>
              </a:extLst>
            </p:cNvPr>
            <p:cNvSpPr/>
            <p:nvPr/>
          </p:nvSpPr>
          <p:spPr>
            <a:xfrm>
              <a:off x="5385375" y="498300"/>
              <a:ext cx="802200" cy="993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59;p11">
              <a:extLst>
                <a:ext uri="{FF2B5EF4-FFF2-40B4-BE49-F238E27FC236}">
                  <a16:creationId xmlns:a16="http://schemas.microsoft.com/office/drawing/2014/main" id="{D56B0B4F-D8EE-4633-BF6A-7E9FCF75F1FD}"/>
                </a:ext>
              </a:extLst>
            </p:cNvPr>
            <p:cNvSpPr/>
            <p:nvPr/>
          </p:nvSpPr>
          <p:spPr>
            <a:xfrm>
              <a:off x="5385375" y="726900"/>
              <a:ext cx="802200" cy="993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460;p11">
              <a:extLst>
                <a:ext uri="{FF2B5EF4-FFF2-40B4-BE49-F238E27FC236}">
                  <a16:creationId xmlns:a16="http://schemas.microsoft.com/office/drawing/2014/main" id="{F3FA3616-3643-4535-A6AA-E2240C1CD504}"/>
                </a:ext>
              </a:extLst>
            </p:cNvPr>
            <p:cNvSpPr/>
            <p:nvPr/>
          </p:nvSpPr>
          <p:spPr>
            <a:xfrm>
              <a:off x="5385375" y="955500"/>
              <a:ext cx="802200" cy="993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8" name="TextBox 37">
            <a:extLst>
              <a:ext uri="{FF2B5EF4-FFF2-40B4-BE49-F238E27FC236}">
                <a16:creationId xmlns:a16="http://schemas.microsoft.com/office/drawing/2014/main" id="{81F6D8AA-6B69-4412-B606-F62267D05A8D}"/>
              </a:ext>
            </a:extLst>
          </p:cNvPr>
          <p:cNvSpPr txBox="1"/>
          <p:nvPr/>
        </p:nvSpPr>
        <p:spPr>
          <a:xfrm>
            <a:off x="415154" y="1276350"/>
            <a:ext cx="8423092" cy="3477619"/>
          </a:xfrm>
          <a:prstGeom prst="rect">
            <a:avLst/>
          </a:prstGeom>
          <a:noFill/>
        </p:spPr>
        <p:txBody>
          <a:bodyPr wrap="square" rtlCol="0">
            <a:spAutoFit/>
          </a:bodyPr>
          <a:lstStyle/>
          <a:p>
            <a:pPr marL="342900" indent="-342900">
              <a:lnSpc>
                <a:spcPct val="150000"/>
              </a:lnSpc>
              <a:spcBef>
                <a:spcPts val="600"/>
              </a:spcBef>
              <a:buFont typeface="+mj-lt"/>
              <a:buAutoNum type="arabicPeriod"/>
            </a:pPr>
            <a:r>
              <a:rPr lang="en-US" sz="2000" dirty="0">
                <a:latin typeface="Gotham Medium" panose="02000603030000020004" pitchFamily="2" charset="0"/>
              </a:rPr>
              <a:t>Check seat allotment status through login</a:t>
            </a:r>
          </a:p>
          <a:p>
            <a:pPr marL="342900" indent="-342900">
              <a:lnSpc>
                <a:spcPct val="150000"/>
              </a:lnSpc>
              <a:spcBef>
                <a:spcPts val="600"/>
              </a:spcBef>
              <a:buFont typeface="+mj-lt"/>
              <a:buAutoNum type="arabicPeriod"/>
            </a:pPr>
            <a:r>
              <a:rPr lang="en-US" sz="2000" dirty="0">
                <a:latin typeface="Gotham Medium" panose="02000603030000020004" pitchFamily="2" charset="0"/>
              </a:rPr>
              <a:t>See which option number is allotted – </a:t>
            </a:r>
          </a:p>
          <a:p>
            <a:pPr marL="800100" lvl="1" indent="-342900">
              <a:lnSpc>
                <a:spcPct val="150000"/>
              </a:lnSpc>
              <a:spcBef>
                <a:spcPts val="600"/>
              </a:spcBef>
              <a:buFont typeface="Wingdings" panose="05000000000000000000" pitchFamily="2" charset="2"/>
              <a:buChar char="§"/>
            </a:pPr>
            <a:r>
              <a:rPr lang="en-US" dirty="0">
                <a:latin typeface="Gotham Medium" panose="02000603030000020004" pitchFamily="2" charset="0"/>
              </a:rPr>
              <a:t>If option number one is allotted, its mandatory to accept the seat</a:t>
            </a:r>
          </a:p>
          <a:p>
            <a:pPr marL="800100" lvl="1" indent="-342900">
              <a:lnSpc>
                <a:spcPct val="150000"/>
              </a:lnSpc>
              <a:spcBef>
                <a:spcPts val="600"/>
              </a:spcBef>
              <a:buFont typeface="Wingdings" panose="05000000000000000000" pitchFamily="2" charset="2"/>
              <a:buChar char="§"/>
            </a:pPr>
            <a:r>
              <a:rPr lang="en-US" dirty="0">
                <a:latin typeface="Gotham Medium" panose="02000603030000020004" pitchFamily="2" charset="0"/>
              </a:rPr>
              <a:t>If option number allotted is other than one, Select –</a:t>
            </a:r>
          </a:p>
          <a:p>
            <a:pPr marL="1257300" lvl="2" indent="-342900">
              <a:buFont typeface="Wingdings" panose="05000000000000000000" pitchFamily="2" charset="2"/>
              <a:buChar char="§"/>
            </a:pPr>
            <a:r>
              <a:rPr lang="en-US" dirty="0">
                <a:solidFill>
                  <a:srgbClr val="FF5969"/>
                </a:solidFill>
                <a:latin typeface="Gotham Medium" panose="02000603030000020004" pitchFamily="2" charset="0"/>
              </a:rPr>
              <a:t>Freeze </a:t>
            </a:r>
            <a:r>
              <a:rPr lang="en-US" dirty="0">
                <a:latin typeface="Gotham Medium" panose="02000603030000020004" pitchFamily="2" charset="0"/>
              </a:rPr>
              <a:t>OR</a:t>
            </a:r>
          </a:p>
          <a:p>
            <a:pPr marL="1257300" lvl="2" indent="-342900">
              <a:buFont typeface="Wingdings" panose="05000000000000000000" pitchFamily="2" charset="2"/>
              <a:buChar char="§"/>
            </a:pPr>
            <a:r>
              <a:rPr lang="en-US" dirty="0">
                <a:solidFill>
                  <a:srgbClr val="FF5969"/>
                </a:solidFill>
                <a:latin typeface="Gotham Medium" panose="02000603030000020004" pitchFamily="2" charset="0"/>
              </a:rPr>
              <a:t>Betterment</a:t>
            </a:r>
          </a:p>
          <a:p>
            <a:pPr marL="800100" lvl="1" indent="-342900">
              <a:lnSpc>
                <a:spcPct val="150000"/>
              </a:lnSpc>
              <a:spcBef>
                <a:spcPts val="600"/>
              </a:spcBef>
              <a:buFont typeface="Wingdings" panose="05000000000000000000" pitchFamily="2" charset="2"/>
              <a:buChar char="§"/>
            </a:pPr>
            <a:r>
              <a:rPr lang="en-US" dirty="0">
                <a:latin typeface="Gotham Medium" panose="02000603030000020004" pitchFamily="2" charset="0"/>
              </a:rPr>
              <a:t>If no seat is allotted, wait for CAP round-II</a:t>
            </a:r>
          </a:p>
        </p:txBody>
      </p:sp>
    </p:spTree>
    <p:extLst>
      <p:ext uri="{BB962C8B-B14F-4D97-AF65-F5344CB8AC3E}">
        <p14:creationId xmlns:p14="http://schemas.microsoft.com/office/powerpoint/2010/main" val="1413115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8">
                                            <p:txEl>
                                              <p:pRg st="0" end="0"/>
                                            </p:txEl>
                                          </p:spTgt>
                                        </p:tgtEl>
                                        <p:attrNameLst>
                                          <p:attrName>style.visibility</p:attrName>
                                        </p:attrNameLst>
                                      </p:cBhvr>
                                      <p:to>
                                        <p:strVal val="visible"/>
                                      </p:to>
                                    </p:set>
                                    <p:animEffect transition="in" filter="fade">
                                      <p:cBhvr>
                                        <p:cTn id="7" dur="500"/>
                                        <p:tgtEl>
                                          <p:spTgt spid="3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8">
                                            <p:txEl>
                                              <p:pRg st="1" end="1"/>
                                            </p:txEl>
                                          </p:spTgt>
                                        </p:tgtEl>
                                        <p:attrNameLst>
                                          <p:attrName>style.visibility</p:attrName>
                                        </p:attrNameLst>
                                      </p:cBhvr>
                                      <p:to>
                                        <p:strVal val="visible"/>
                                      </p:to>
                                    </p:set>
                                    <p:animEffect transition="in" filter="fade">
                                      <p:cBhvr>
                                        <p:cTn id="12" dur="500"/>
                                        <p:tgtEl>
                                          <p:spTgt spid="3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8">
                                            <p:txEl>
                                              <p:pRg st="2" end="2"/>
                                            </p:txEl>
                                          </p:spTgt>
                                        </p:tgtEl>
                                        <p:attrNameLst>
                                          <p:attrName>style.visibility</p:attrName>
                                        </p:attrNameLst>
                                      </p:cBhvr>
                                      <p:to>
                                        <p:strVal val="visible"/>
                                      </p:to>
                                    </p:set>
                                    <p:animEffect transition="in" filter="fade">
                                      <p:cBhvr>
                                        <p:cTn id="17" dur="500"/>
                                        <p:tgtEl>
                                          <p:spTgt spid="3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8">
                                            <p:txEl>
                                              <p:pRg st="3" end="3"/>
                                            </p:txEl>
                                          </p:spTgt>
                                        </p:tgtEl>
                                        <p:attrNameLst>
                                          <p:attrName>style.visibility</p:attrName>
                                        </p:attrNameLst>
                                      </p:cBhvr>
                                      <p:to>
                                        <p:strVal val="visible"/>
                                      </p:to>
                                    </p:set>
                                    <p:animEffect transition="in" filter="fade">
                                      <p:cBhvr>
                                        <p:cTn id="22" dur="500"/>
                                        <p:tgtEl>
                                          <p:spTgt spid="38">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8">
                                            <p:txEl>
                                              <p:pRg st="4" end="4"/>
                                            </p:txEl>
                                          </p:spTgt>
                                        </p:tgtEl>
                                        <p:attrNameLst>
                                          <p:attrName>style.visibility</p:attrName>
                                        </p:attrNameLst>
                                      </p:cBhvr>
                                      <p:to>
                                        <p:strVal val="visible"/>
                                      </p:to>
                                    </p:set>
                                    <p:animEffect transition="in" filter="fade">
                                      <p:cBhvr>
                                        <p:cTn id="27" dur="500"/>
                                        <p:tgtEl>
                                          <p:spTgt spid="38">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8">
                                            <p:txEl>
                                              <p:pRg st="5" end="5"/>
                                            </p:txEl>
                                          </p:spTgt>
                                        </p:tgtEl>
                                        <p:attrNameLst>
                                          <p:attrName>style.visibility</p:attrName>
                                        </p:attrNameLst>
                                      </p:cBhvr>
                                      <p:to>
                                        <p:strVal val="visible"/>
                                      </p:to>
                                    </p:set>
                                    <p:animEffect transition="in" filter="fade">
                                      <p:cBhvr>
                                        <p:cTn id="32" dur="500"/>
                                        <p:tgtEl>
                                          <p:spTgt spid="38">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8">
                                            <p:txEl>
                                              <p:pRg st="6" end="6"/>
                                            </p:txEl>
                                          </p:spTgt>
                                        </p:tgtEl>
                                        <p:attrNameLst>
                                          <p:attrName>style.visibility</p:attrName>
                                        </p:attrNameLst>
                                      </p:cBhvr>
                                      <p:to>
                                        <p:strVal val="visible"/>
                                      </p:to>
                                    </p:set>
                                    <p:animEffect transition="in" filter="fade">
                                      <p:cBhvr>
                                        <p:cTn id="37" dur="500"/>
                                        <p:tgtEl>
                                          <p:spTgt spid="3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324;p7">
            <a:extLst>
              <a:ext uri="{FF2B5EF4-FFF2-40B4-BE49-F238E27FC236}">
                <a16:creationId xmlns:a16="http://schemas.microsoft.com/office/drawing/2014/main" id="{20EC8EBF-95FE-4530-BD0A-384421DA4067}"/>
              </a:ext>
            </a:extLst>
          </p:cNvPr>
          <p:cNvSpPr/>
          <p:nvPr/>
        </p:nvSpPr>
        <p:spPr>
          <a:xfrm>
            <a:off x="0" y="0"/>
            <a:ext cx="653700" cy="5143500"/>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3" name="Title 1">
            <a:extLst>
              <a:ext uri="{FF2B5EF4-FFF2-40B4-BE49-F238E27FC236}">
                <a16:creationId xmlns:a16="http://schemas.microsoft.com/office/drawing/2014/main" id="{D6CD76F9-85E8-4914-8E2B-8B7CFA5177CE}"/>
              </a:ext>
            </a:extLst>
          </p:cNvPr>
          <p:cNvSpPr txBox="1">
            <a:spLocks/>
          </p:cNvSpPr>
          <p:nvPr/>
        </p:nvSpPr>
        <p:spPr>
          <a:xfrm>
            <a:off x="653699" y="192762"/>
            <a:ext cx="8185859"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altLang="en-US" sz="2800" dirty="0">
                <a:solidFill>
                  <a:srgbClr val="52CBBE"/>
                </a:solidFill>
                <a:latin typeface="Gotham Bold" panose="02000803030000020004" pitchFamily="2" charset="0"/>
              </a:rPr>
              <a:t>Seat Acceptance</a:t>
            </a:r>
          </a:p>
        </p:txBody>
      </p:sp>
      <p:grpSp>
        <p:nvGrpSpPr>
          <p:cNvPr id="26" name="Google Shape;347;p7">
            <a:extLst>
              <a:ext uri="{FF2B5EF4-FFF2-40B4-BE49-F238E27FC236}">
                <a16:creationId xmlns:a16="http://schemas.microsoft.com/office/drawing/2014/main" id="{C3CB0FF7-8A44-4EB0-9792-F116402E4A68}"/>
              </a:ext>
            </a:extLst>
          </p:cNvPr>
          <p:cNvGrpSpPr/>
          <p:nvPr/>
        </p:nvGrpSpPr>
        <p:grpSpPr>
          <a:xfrm>
            <a:off x="0" y="192762"/>
            <a:ext cx="311815" cy="653721"/>
            <a:chOff x="5385375" y="498300"/>
            <a:chExt cx="802200" cy="556500"/>
          </a:xfrm>
          <a:solidFill>
            <a:srgbClr val="52CBBE"/>
          </a:solidFill>
        </p:grpSpPr>
        <p:sp>
          <p:nvSpPr>
            <p:cNvPr id="27" name="Google Shape;348;p7">
              <a:extLst>
                <a:ext uri="{FF2B5EF4-FFF2-40B4-BE49-F238E27FC236}">
                  <a16:creationId xmlns:a16="http://schemas.microsoft.com/office/drawing/2014/main" id="{98370779-31D0-4228-83DE-BA24112FD8F7}"/>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8" name="Google Shape;349;p7">
              <a:extLst>
                <a:ext uri="{FF2B5EF4-FFF2-40B4-BE49-F238E27FC236}">
                  <a16:creationId xmlns:a16="http://schemas.microsoft.com/office/drawing/2014/main" id="{3FA17BE1-C7B3-46C6-A908-F82FA189A5C5}"/>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9" name="Google Shape;350;p7">
              <a:extLst>
                <a:ext uri="{FF2B5EF4-FFF2-40B4-BE49-F238E27FC236}">
                  <a16:creationId xmlns:a16="http://schemas.microsoft.com/office/drawing/2014/main" id="{F311C074-973A-433C-8588-0F8431F4777C}"/>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sp>
        <p:nvSpPr>
          <p:cNvPr id="13" name="TextBox 12">
            <a:extLst>
              <a:ext uri="{FF2B5EF4-FFF2-40B4-BE49-F238E27FC236}">
                <a16:creationId xmlns:a16="http://schemas.microsoft.com/office/drawing/2014/main" id="{A6FBA2AF-4150-4EB2-B6DC-97B705B0EEA3}"/>
              </a:ext>
            </a:extLst>
          </p:cNvPr>
          <p:cNvSpPr txBox="1"/>
          <p:nvPr/>
        </p:nvSpPr>
        <p:spPr>
          <a:xfrm>
            <a:off x="653698" y="1039245"/>
            <a:ext cx="8185859" cy="3739229"/>
          </a:xfrm>
          <a:prstGeom prst="rect">
            <a:avLst/>
          </a:prstGeom>
          <a:noFill/>
        </p:spPr>
        <p:txBody>
          <a:bodyPr wrap="square" rtlCol="0">
            <a:spAutoFit/>
          </a:bodyPr>
          <a:lstStyle/>
          <a:p>
            <a:pPr marL="342900" indent="-342900">
              <a:lnSpc>
                <a:spcPct val="150000"/>
              </a:lnSpc>
              <a:spcBef>
                <a:spcPts val="600"/>
              </a:spcBef>
              <a:buFont typeface="+mj-lt"/>
              <a:buAutoNum type="arabicPeriod"/>
            </a:pPr>
            <a:r>
              <a:rPr lang="en-US" dirty="0">
                <a:latin typeface="Gotham Medium" panose="02000603030000020004" pitchFamily="2" charset="0"/>
              </a:rPr>
              <a:t>The candidates allotted with </a:t>
            </a:r>
            <a:r>
              <a:rPr lang="en-US" dirty="0">
                <a:solidFill>
                  <a:srgbClr val="FF5969"/>
                </a:solidFill>
                <a:latin typeface="Gotham Medium" panose="02000603030000020004" pitchFamily="2" charset="0"/>
              </a:rPr>
              <a:t>First Option (Auto Freeze)</a:t>
            </a:r>
            <a:r>
              <a:rPr lang="en-US" dirty="0">
                <a:solidFill>
                  <a:srgbClr val="E46C0A"/>
                </a:solidFill>
                <a:latin typeface="Gotham Medium" panose="02000603030000020004" pitchFamily="2" charset="0"/>
              </a:rPr>
              <a:t> </a:t>
            </a:r>
            <a:r>
              <a:rPr lang="en-US" dirty="0">
                <a:latin typeface="Gotham Medium" panose="02000603030000020004" pitchFamily="2" charset="0"/>
              </a:rPr>
              <a:t>– </a:t>
            </a:r>
          </a:p>
          <a:p>
            <a:pPr marL="800100" lvl="1" indent="-342900">
              <a:lnSpc>
                <a:spcPct val="150000"/>
              </a:lnSpc>
              <a:spcBef>
                <a:spcPts val="600"/>
              </a:spcBef>
              <a:buFont typeface="Wingdings" panose="05000000000000000000" pitchFamily="2" charset="2"/>
              <a:buChar char="§"/>
            </a:pPr>
            <a:r>
              <a:rPr lang="en-US" dirty="0">
                <a:latin typeface="Gotham Medium" panose="02000603030000020004" pitchFamily="2" charset="0"/>
              </a:rPr>
              <a:t>Accept the seat through login</a:t>
            </a:r>
          </a:p>
          <a:p>
            <a:pPr marL="800100" lvl="1" indent="-342900">
              <a:lnSpc>
                <a:spcPct val="150000"/>
              </a:lnSpc>
              <a:spcBef>
                <a:spcPts val="600"/>
              </a:spcBef>
              <a:buFont typeface="Wingdings" panose="05000000000000000000" pitchFamily="2" charset="2"/>
              <a:buChar char="§"/>
            </a:pPr>
            <a:r>
              <a:rPr lang="en-US" dirty="0">
                <a:latin typeface="Gotham Medium" panose="02000603030000020004" pitchFamily="2" charset="0"/>
              </a:rPr>
              <a:t>Pay Seat Acceptance Fee of Rs. 1000/- (Online)</a:t>
            </a:r>
          </a:p>
          <a:p>
            <a:pPr marL="800100" lvl="1" indent="-342900">
              <a:lnSpc>
                <a:spcPct val="150000"/>
              </a:lnSpc>
              <a:spcBef>
                <a:spcPts val="600"/>
              </a:spcBef>
              <a:buFont typeface="Wingdings" panose="05000000000000000000" pitchFamily="2" charset="2"/>
              <a:buChar char="§"/>
            </a:pPr>
            <a:r>
              <a:rPr lang="en-US" dirty="0">
                <a:latin typeface="Gotham Medium" panose="02000603030000020004" pitchFamily="2" charset="0"/>
              </a:rPr>
              <a:t>Take printout of Seat Acceptance</a:t>
            </a:r>
          </a:p>
          <a:p>
            <a:pPr marL="800100" lvl="1" indent="-342900">
              <a:lnSpc>
                <a:spcPct val="150000"/>
              </a:lnSpc>
              <a:spcBef>
                <a:spcPts val="600"/>
              </a:spcBef>
              <a:buFont typeface="Wingdings" panose="05000000000000000000" pitchFamily="2" charset="2"/>
              <a:buChar char="§"/>
            </a:pPr>
            <a:r>
              <a:rPr lang="en-US" dirty="0">
                <a:latin typeface="Gotham Medium" panose="02000603030000020004" pitchFamily="2" charset="0"/>
              </a:rPr>
              <a:t>Visit the allotted college, pay the fee, submit original documents and confirm the admission</a:t>
            </a:r>
          </a:p>
          <a:p>
            <a:pPr marL="800100" lvl="1" indent="-342900">
              <a:lnSpc>
                <a:spcPct val="150000"/>
              </a:lnSpc>
              <a:spcBef>
                <a:spcPts val="600"/>
              </a:spcBef>
              <a:buFont typeface="Wingdings" panose="05000000000000000000" pitchFamily="2" charset="2"/>
              <a:buChar char="§"/>
            </a:pPr>
            <a:r>
              <a:rPr lang="en-US" dirty="0">
                <a:latin typeface="Gotham Medium" panose="02000603030000020004" pitchFamily="2" charset="0"/>
              </a:rPr>
              <a:t>Take Acknowledge Receipt of Admission Confirmation from the college</a:t>
            </a:r>
          </a:p>
        </p:txBody>
      </p:sp>
    </p:spTree>
    <p:extLst>
      <p:ext uri="{BB962C8B-B14F-4D97-AF65-F5344CB8AC3E}">
        <p14:creationId xmlns:p14="http://schemas.microsoft.com/office/powerpoint/2010/main" val="4269794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fade">
                                      <p:cBhvr>
                                        <p:cTn id="12" dur="500"/>
                                        <p:tgtEl>
                                          <p:spTgt spid="1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xEl>
                                              <p:pRg st="2" end="2"/>
                                            </p:txEl>
                                          </p:spTgt>
                                        </p:tgtEl>
                                        <p:attrNameLst>
                                          <p:attrName>style.visibility</p:attrName>
                                        </p:attrNameLst>
                                      </p:cBhvr>
                                      <p:to>
                                        <p:strVal val="visible"/>
                                      </p:to>
                                    </p:set>
                                    <p:animEffect transition="in" filter="fade">
                                      <p:cBhvr>
                                        <p:cTn id="17" dur="500"/>
                                        <p:tgtEl>
                                          <p:spTgt spid="1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xEl>
                                              <p:pRg st="3" end="3"/>
                                            </p:txEl>
                                          </p:spTgt>
                                        </p:tgtEl>
                                        <p:attrNameLst>
                                          <p:attrName>style.visibility</p:attrName>
                                        </p:attrNameLst>
                                      </p:cBhvr>
                                      <p:to>
                                        <p:strVal val="visible"/>
                                      </p:to>
                                    </p:set>
                                    <p:animEffect transition="in" filter="fade">
                                      <p:cBhvr>
                                        <p:cTn id="22" dur="500"/>
                                        <p:tgtEl>
                                          <p:spTgt spid="1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3">
                                            <p:txEl>
                                              <p:pRg st="4" end="4"/>
                                            </p:txEl>
                                          </p:spTgt>
                                        </p:tgtEl>
                                        <p:attrNameLst>
                                          <p:attrName>style.visibility</p:attrName>
                                        </p:attrNameLst>
                                      </p:cBhvr>
                                      <p:to>
                                        <p:strVal val="visible"/>
                                      </p:to>
                                    </p:set>
                                    <p:animEffect transition="in" filter="fade">
                                      <p:cBhvr>
                                        <p:cTn id="27" dur="500"/>
                                        <p:tgtEl>
                                          <p:spTgt spid="1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3">
                                            <p:txEl>
                                              <p:pRg st="5" end="5"/>
                                            </p:txEl>
                                          </p:spTgt>
                                        </p:tgtEl>
                                        <p:attrNameLst>
                                          <p:attrName>style.visibility</p:attrName>
                                        </p:attrNameLst>
                                      </p:cBhvr>
                                      <p:to>
                                        <p:strVal val="visible"/>
                                      </p:to>
                                    </p:set>
                                    <p:animEffect transition="in" filter="fade">
                                      <p:cBhvr>
                                        <p:cTn id="32" dur="500"/>
                                        <p:tgtEl>
                                          <p:spTgt spid="1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324;p7">
            <a:extLst>
              <a:ext uri="{FF2B5EF4-FFF2-40B4-BE49-F238E27FC236}">
                <a16:creationId xmlns:a16="http://schemas.microsoft.com/office/drawing/2014/main" id="{20EC8EBF-95FE-4530-BD0A-384421DA4067}"/>
              </a:ext>
            </a:extLst>
          </p:cNvPr>
          <p:cNvSpPr/>
          <p:nvPr/>
        </p:nvSpPr>
        <p:spPr>
          <a:xfrm>
            <a:off x="0" y="0"/>
            <a:ext cx="653700" cy="51435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3" name="Title 1">
            <a:extLst>
              <a:ext uri="{FF2B5EF4-FFF2-40B4-BE49-F238E27FC236}">
                <a16:creationId xmlns:a16="http://schemas.microsoft.com/office/drawing/2014/main" id="{D6CD76F9-85E8-4914-8E2B-8B7CFA5177CE}"/>
              </a:ext>
            </a:extLst>
          </p:cNvPr>
          <p:cNvSpPr txBox="1">
            <a:spLocks/>
          </p:cNvSpPr>
          <p:nvPr/>
        </p:nvSpPr>
        <p:spPr>
          <a:xfrm>
            <a:off x="653699" y="192762"/>
            <a:ext cx="8185859"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altLang="en-US" sz="2800" dirty="0">
                <a:solidFill>
                  <a:srgbClr val="FF5969"/>
                </a:solidFill>
                <a:latin typeface="Gotham Bold" panose="02000803030000020004" pitchFamily="2" charset="0"/>
              </a:rPr>
              <a:t>Seat Acceptance</a:t>
            </a:r>
          </a:p>
        </p:txBody>
      </p:sp>
      <p:grpSp>
        <p:nvGrpSpPr>
          <p:cNvPr id="26" name="Google Shape;347;p7">
            <a:extLst>
              <a:ext uri="{FF2B5EF4-FFF2-40B4-BE49-F238E27FC236}">
                <a16:creationId xmlns:a16="http://schemas.microsoft.com/office/drawing/2014/main" id="{C3CB0FF7-8A44-4EB0-9792-F116402E4A68}"/>
              </a:ext>
            </a:extLst>
          </p:cNvPr>
          <p:cNvGrpSpPr/>
          <p:nvPr/>
        </p:nvGrpSpPr>
        <p:grpSpPr>
          <a:xfrm>
            <a:off x="0" y="192762"/>
            <a:ext cx="311815" cy="653721"/>
            <a:chOff x="5385375" y="498300"/>
            <a:chExt cx="802200" cy="556500"/>
          </a:xfrm>
          <a:solidFill>
            <a:srgbClr val="FF5969"/>
          </a:solidFill>
        </p:grpSpPr>
        <p:sp>
          <p:nvSpPr>
            <p:cNvPr id="27" name="Google Shape;348;p7">
              <a:extLst>
                <a:ext uri="{FF2B5EF4-FFF2-40B4-BE49-F238E27FC236}">
                  <a16:creationId xmlns:a16="http://schemas.microsoft.com/office/drawing/2014/main" id="{98370779-31D0-4228-83DE-BA24112FD8F7}"/>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8" name="Google Shape;349;p7">
              <a:extLst>
                <a:ext uri="{FF2B5EF4-FFF2-40B4-BE49-F238E27FC236}">
                  <a16:creationId xmlns:a16="http://schemas.microsoft.com/office/drawing/2014/main" id="{3FA17BE1-C7B3-46C6-A908-F82FA189A5C5}"/>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9" name="Google Shape;350;p7">
              <a:extLst>
                <a:ext uri="{FF2B5EF4-FFF2-40B4-BE49-F238E27FC236}">
                  <a16:creationId xmlns:a16="http://schemas.microsoft.com/office/drawing/2014/main" id="{F311C074-973A-433C-8588-0F8431F4777C}"/>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sp>
        <p:nvSpPr>
          <p:cNvPr id="14" name="TextBox 13">
            <a:extLst>
              <a:ext uri="{FF2B5EF4-FFF2-40B4-BE49-F238E27FC236}">
                <a16:creationId xmlns:a16="http://schemas.microsoft.com/office/drawing/2014/main" id="{551034EF-3D01-4C59-86E0-C33CA9542BA3}"/>
              </a:ext>
            </a:extLst>
          </p:cNvPr>
          <p:cNvSpPr txBox="1"/>
          <p:nvPr/>
        </p:nvSpPr>
        <p:spPr>
          <a:xfrm>
            <a:off x="646771" y="846483"/>
            <a:ext cx="8490302" cy="3988015"/>
          </a:xfrm>
          <a:prstGeom prst="rect">
            <a:avLst/>
          </a:prstGeom>
          <a:noFill/>
        </p:spPr>
        <p:txBody>
          <a:bodyPr wrap="square" rtlCol="0">
            <a:spAutoFit/>
          </a:bodyPr>
          <a:lstStyle/>
          <a:p>
            <a:pPr marL="342900" indent="-342900">
              <a:lnSpc>
                <a:spcPct val="150000"/>
              </a:lnSpc>
              <a:spcBef>
                <a:spcPts val="600"/>
              </a:spcBef>
              <a:buFont typeface="+mj-lt"/>
              <a:buAutoNum type="arabicPeriod" startAt="2"/>
            </a:pPr>
            <a:r>
              <a:rPr lang="en-US" sz="1600" dirty="0">
                <a:latin typeface="Gotham Medium" panose="02000603030000020004" pitchFamily="2" charset="0"/>
              </a:rPr>
              <a:t>The candidates allotted with </a:t>
            </a:r>
            <a:r>
              <a:rPr lang="en-US" sz="1600" dirty="0">
                <a:solidFill>
                  <a:srgbClr val="FF5969"/>
                </a:solidFill>
                <a:latin typeface="Gotham Medium" panose="02000603030000020004" pitchFamily="2" charset="0"/>
              </a:rPr>
              <a:t>other than first option </a:t>
            </a:r>
            <a:r>
              <a:rPr lang="en-US" sz="1600" dirty="0">
                <a:latin typeface="Gotham Medium" panose="02000603030000020004" pitchFamily="2" charset="0"/>
              </a:rPr>
              <a:t>– </a:t>
            </a:r>
          </a:p>
          <a:p>
            <a:pPr marL="800100" lvl="1" indent="-342900">
              <a:lnSpc>
                <a:spcPct val="150000"/>
              </a:lnSpc>
              <a:spcBef>
                <a:spcPts val="600"/>
              </a:spcBef>
              <a:buFont typeface="+mj-lt"/>
              <a:buAutoNum type="arabicPeriod"/>
            </a:pPr>
            <a:r>
              <a:rPr lang="en-US" sz="1600" dirty="0">
                <a:latin typeface="Gotham Medium" panose="02000603030000020004" pitchFamily="2" charset="0"/>
              </a:rPr>
              <a:t>Select any one of the two options – </a:t>
            </a:r>
          </a:p>
          <a:p>
            <a:pPr marL="1257300" lvl="2" indent="-342900">
              <a:buFont typeface="Wingdings" panose="05000000000000000000" pitchFamily="2" charset="2"/>
              <a:buChar char="§"/>
            </a:pPr>
            <a:r>
              <a:rPr lang="en-US" sz="1600" dirty="0">
                <a:solidFill>
                  <a:srgbClr val="FF5969"/>
                </a:solidFill>
                <a:latin typeface="Gotham Medium" panose="02000603030000020004" pitchFamily="2" charset="0"/>
              </a:rPr>
              <a:t>Freeze </a:t>
            </a:r>
          </a:p>
          <a:p>
            <a:pPr marL="1257300" lvl="2" indent="-342900">
              <a:buFont typeface="Wingdings" panose="05000000000000000000" pitchFamily="2" charset="2"/>
              <a:buChar char="§"/>
            </a:pPr>
            <a:r>
              <a:rPr lang="en-US" sz="1600" dirty="0">
                <a:solidFill>
                  <a:srgbClr val="FF5969"/>
                </a:solidFill>
                <a:latin typeface="Gotham Medium" panose="02000603030000020004" pitchFamily="2" charset="0"/>
              </a:rPr>
              <a:t>Betterment</a:t>
            </a:r>
          </a:p>
          <a:p>
            <a:pPr marL="800100" lvl="1" indent="-342900">
              <a:lnSpc>
                <a:spcPct val="150000"/>
              </a:lnSpc>
              <a:spcBef>
                <a:spcPts val="600"/>
              </a:spcBef>
              <a:buFont typeface="+mj-lt"/>
              <a:buAutoNum type="arabicPeriod"/>
            </a:pPr>
            <a:r>
              <a:rPr lang="en-US" sz="1600" dirty="0">
                <a:latin typeface="Gotham Medium" panose="02000603030000020004" pitchFamily="2" charset="0"/>
              </a:rPr>
              <a:t>If selected freeze option, then –</a:t>
            </a:r>
          </a:p>
          <a:p>
            <a:pPr marL="1257300" lvl="2" indent="-342900">
              <a:lnSpc>
                <a:spcPct val="150000"/>
              </a:lnSpc>
              <a:buFont typeface="Wingdings" panose="05000000000000000000" pitchFamily="2" charset="2"/>
              <a:buChar char="§"/>
            </a:pPr>
            <a:r>
              <a:rPr lang="en-US" sz="1600" dirty="0">
                <a:latin typeface="Gotham Medium" panose="02000603030000020004" pitchFamily="2" charset="0"/>
              </a:rPr>
              <a:t>Accept the seat through login</a:t>
            </a:r>
          </a:p>
          <a:p>
            <a:pPr marL="1257300" lvl="2" indent="-342900">
              <a:lnSpc>
                <a:spcPct val="150000"/>
              </a:lnSpc>
              <a:buFont typeface="Wingdings" panose="05000000000000000000" pitchFamily="2" charset="2"/>
              <a:buChar char="§"/>
            </a:pPr>
            <a:r>
              <a:rPr lang="en-US" sz="1600" dirty="0">
                <a:latin typeface="Gotham Medium" panose="02000603030000020004" pitchFamily="2" charset="0"/>
              </a:rPr>
              <a:t>Pay Seat Acceptance Fee of Rs. 1000/- (Online)</a:t>
            </a:r>
          </a:p>
          <a:p>
            <a:pPr marL="1257300" lvl="2" indent="-342900">
              <a:lnSpc>
                <a:spcPct val="150000"/>
              </a:lnSpc>
              <a:buFont typeface="Wingdings" panose="05000000000000000000" pitchFamily="2" charset="2"/>
              <a:buChar char="§"/>
            </a:pPr>
            <a:r>
              <a:rPr lang="en-US" sz="1600" dirty="0">
                <a:latin typeface="Gotham Medium" panose="02000603030000020004" pitchFamily="2" charset="0"/>
              </a:rPr>
              <a:t>Take printout of Seat Acceptance</a:t>
            </a:r>
          </a:p>
          <a:p>
            <a:pPr marL="1257300" lvl="2" indent="-342900">
              <a:lnSpc>
                <a:spcPct val="150000"/>
              </a:lnSpc>
              <a:buFont typeface="Wingdings" panose="05000000000000000000" pitchFamily="2" charset="2"/>
              <a:buChar char="§"/>
            </a:pPr>
            <a:r>
              <a:rPr lang="en-US" sz="1600" dirty="0">
                <a:latin typeface="Gotham Medium" panose="02000603030000020004" pitchFamily="2" charset="0"/>
              </a:rPr>
              <a:t>Visit the allotted college, pay the fee, submit original documents and confirm the admission</a:t>
            </a:r>
          </a:p>
          <a:p>
            <a:pPr marL="1257300" lvl="2" indent="-342900">
              <a:lnSpc>
                <a:spcPct val="150000"/>
              </a:lnSpc>
              <a:buFont typeface="Wingdings" panose="05000000000000000000" pitchFamily="2" charset="2"/>
              <a:buChar char="§"/>
            </a:pPr>
            <a:r>
              <a:rPr lang="en-US" sz="1500" dirty="0">
                <a:latin typeface="Gotham Medium" panose="02000603030000020004" pitchFamily="2" charset="0"/>
              </a:rPr>
              <a:t>Take Acknowledge Receipt of Admission Confirmation from the college</a:t>
            </a:r>
          </a:p>
        </p:txBody>
      </p:sp>
    </p:spTree>
    <p:extLst>
      <p:ext uri="{BB962C8B-B14F-4D97-AF65-F5344CB8AC3E}">
        <p14:creationId xmlns:p14="http://schemas.microsoft.com/office/powerpoint/2010/main" val="1919758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xEl>
                                              <p:pRg st="1" end="1"/>
                                            </p:txEl>
                                          </p:spTgt>
                                        </p:tgtEl>
                                        <p:attrNameLst>
                                          <p:attrName>style.visibility</p:attrName>
                                        </p:attrNameLst>
                                      </p:cBhvr>
                                      <p:to>
                                        <p:strVal val="visible"/>
                                      </p:to>
                                    </p:set>
                                    <p:animEffect transition="in" filter="fade">
                                      <p:cBhvr>
                                        <p:cTn id="12" dur="500"/>
                                        <p:tgtEl>
                                          <p:spTgt spid="1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xEl>
                                              <p:pRg st="2" end="2"/>
                                            </p:txEl>
                                          </p:spTgt>
                                        </p:tgtEl>
                                        <p:attrNameLst>
                                          <p:attrName>style.visibility</p:attrName>
                                        </p:attrNameLst>
                                      </p:cBhvr>
                                      <p:to>
                                        <p:strVal val="visible"/>
                                      </p:to>
                                    </p:set>
                                    <p:animEffect transition="in" filter="fade">
                                      <p:cBhvr>
                                        <p:cTn id="17" dur="500"/>
                                        <p:tgtEl>
                                          <p:spTgt spid="14">
                                            <p:txEl>
                                              <p:pRg st="2" end="2"/>
                                            </p:txEl>
                                          </p:spTgt>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4">
                                            <p:txEl>
                                              <p:pRg st="3" end="3"/>
                                            </p:txEl>
                                          </p:spTgt>
                                        </p:tgtEl>
                                        <p:attrNameLst>
                                          <p:attrName>style.visibility</p:attrName>
                                        </p:attrNameLst>
                                      </p:cBhvr>
                                      <p:to>
                                        <p:strVal val="visible"/>
                                      </p:to>
                                    </p:set>
                                    <p:animEffect transition="in" filter="fade">
                                      <p:cBhvr>
                                        <p:cTn id="21" dur="500"/>
                                        <p:tgtEl>
                                          <p:spTgt spid="14">
                                            <p:txEl>
                                              <p:pRg st="3" end="3"/>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4">
                                            <p:txEl>
                                              <p:pRg st="4" end="4"/>
                                            </p:txEl>
                                          </p:spTgt>
                                        </p:tgtEl>
                                        <p:attrNameLst>
                                          <p:attrName>style.visibility</p:attrName>
                                        </p:attrNameLst>
                                      </p:cBhvr>
                                      <p:to>
                                        <p:strVal val="visible"/>
                                      </p:to>
                                    </p:set>
                                    <p:animEffect transition="in" filter="fade">
                                      <p:cBhvr>
                                        <p:cTn id="26" dur="500"/>
                                        <p:tgtEl>
                                          <p:spTgt spid="14">
                                            <p:txEl>
                                              <p:pRg st="4" end="4"/>
                                            </p:txEl>
                                          </p:spTgt>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14">
                                            <p:txEl>
                                              <p:pRg st="5" end="5"/>
                                            </p:txEl>
                                          </p:spTgt>
                                        </p:tgtEl>
                                        <p:attrNameLst>
                                          <p:attrName>style.visibility</p:attrName>
                                        </p:attrNameLst>
                                      </p:cBhvr>
                                      <p:to>
                                        <p:strVal val="visible"/>
                                      </p:to>
                                    </p:set>
                                    <p:animEffect transition="in" filter="fade">
                                      <p:cBhvr>
                                        <p:cTn id="30" dur="500"/>
                                        <p:tgtEl>
                                          <p:spTgt spid="14">
                                            <p:txEl>
                                              <p:pRg st="5" end="5"/>
                                            </p:txEl>
                                          </p:spTgt>
                                        </p:tgtEl>
                                      </p:cBhvr>
                                    </p:animEffect>
                                  </p:childTnLst>
                                </p:cTn>
                              </p:par>
                            </p:childTnLst>
                          </p:cTn>
                        </p:par>
                        <p:par>
                          <p:cTn id="31" fill="hold">
                            <p:stCondLst>
                              <p:cond delay="1000"/>
                            </p:stCondLst>
                            <p:childTnLst>
                              <p:par>
                                <p:cTn id="32" presetID="10" presetClass="entr" presetSubtype="0" fill="hold" nodeType="afterEffect">
                                  <p:stCondLst>
                                    <p:cond delay="0"/>
                                  </p:stCondLst>
                                  <p:childTnLst>
                                    <p:set>
                                      <p:cBhvr>
                                        <p:cTn id="33" dur="1" fill="hold">
                                          <p:stCondLst>
                                            <p:cond delay="0"/>
                                          </p:stCondLst>
                                        </p:cTn>
                                        <p:tgtEl>
                                          <p:spTgt spid="14">
                                            <p:txEl>
                                              <p:pRg st="6" end="6"/>
                                            </p:txEl>
                                          </p:spTgt>
                                        </p:tgtEl>
                                        <p:attrNameLst>
                                          <p:attrName>style.visibility</p:attrName>
                                        </p:attrNameLst>
                                      </p:cBhvr>
                                      <p:to>
                                        <p:strVal val="visible"/>
                                      </p:to>
                                    </p:set>
                                    <p:animEffect transition="in" filter="fade">
                                      <p:cBhvr>
                                        <p:cTn id="34" dur="500"/>
                                        <p:tgtEl>
                                          <p:spTgt spid="14">
                                            <p:txEl>
                                              <p:pRg st="6" end="6"/>
                                            </p:txEl>
                                          </p:spTgt>
                                        </p:tgtEl>
                                      </p:cBhvr>
                                    </p:animEffect>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14">
                                            <p:txEl>
                                              <p:pRg st="7" end="7"/>
                                            </p:txEl>
                                          </p:spTgt>
                                        </p:tgtEl>
                                        <p:attrNameLst>
                                          <p:attrName>style.visibility</p:attrName>
                                        </p:attrNameLst>
                                      </p:cBhvr>
                                      <p:to>
                                        <p:strVal val="visible"/>
                                      </p:to>
                                    </p:set>
                                    <p:animEffect transition="in" filter="fade">
                                      <p:cBhvr>
                                        <p:cTn id="38" dur="500"/>
                                        <p:tgtEl>
                                          <p:spTgt spid="14">
                                            <p:txEl>
                                              <p:pRg st="7" end="7"/>
                                            </p:txEl>
                                          </p:spTgt>
                                        </p:tgtEl>
                                      </p:cBhvr>
                                    </p:animEffect>
                                  </p:childTnLst>
                                </p:cTn>
                              </p:par>
                            </p:childTnLst>
                          </p:cTn>
                        </p:par>
                        <p:par>
                          <p:cTn id="39" fill="hold">
                            <p:stCondLst>
                              <p:cond delay="2000"/>
                            </p:stCondLst>
                            <p:childTnLst>
                              <p:par>
                                <p:cTn id="40" presetID="10" presetClass="entr" presetSubtype="0" fill="hold" nodeType="afterEffect">
                                  <p:stCondLst>
                                    <p:cond delay="0"/>
                                  </p:stCondLst>
                                  <p:childTnLst>
                                    <p:set>
                                      <p:cBhvr>
                                        <p:cTn id="41" dur="1" fill="hold">
                                          <p:stCondLst>
                                            <p:cond delay="0"/>
                                          </p:stCondLst>
                                        </p:cTn>
                                        <p:tgtEl>
                                          <p:spTgt spid="14">
                                            <p:txEl>
                                              <p:pRg st="8" end="8"/>
                                            </p:txEl>
                                          </p:spTgt>
                                        </p:tgtEl>
                                        <p:attrNameLst>
                                          <p:attrName>style.visibility</p:attrName>
                                        </p:attrNameLst>
                                      </p:cBhvr>
                                      <p:to>
                                        <p:strVal val="visible"/>
                                      </p:to>
                                    </p:set>
                                    <p:animEffect transition="in" filter="fade">
                                      <p:cBhvr>
                                        <p:cTn id="42" dur="500"/>
                                        <p:tgtEl>
                                          <p:spTgt spid="14">
                                            <p:txEl>
                                              <p:pRg st="8" end="8"/>
                                            </p:txEl>
                                          </p:spTgt>
                                        </p:tgtEl>
                                      </p:cBhvr>
                                    </p:animEffect>
                                  </p:childTnLst>
                                </p:cTn>
                              </p:par>
                            </p:childTnLst>
                          </p:cTn>
                        </p:par>
                        <p:par>
                          <p:cTn id="43" fill="hold">
                            <p:stCondLst>
                              <p:cond delay="2500"/>
                            </p:stCondLst>
                            <p:childTnLst>
                              <p:par>
                                <p:cTn id="44" presetID="10" presetClass="entr" presetSubtype="0" fill="hold" nodeType="afterEffect">
                                  <p:stCondLst>
                                    <p:cond delay="0"/>
                                  </p:stCondLst>
                                  <p:childTnLst>
                                    <p:set>
                                      <p:cBhvr>
                                        <p:cTn id="45" dur="1" fill="hold">
                                          <p:stCondLst>
                                            <p:cond delay="0"/>
                                          </p:stCondLst>
                                        </p:cTn>
                                        <p:tgtEl>
                                          <p:spTgt spid="14">
                                            <p:txEl>
                                              <p:pRg st="9" end="9"/>
                                            </p:txEl>
                                          </p:spTgt>
                                        </p:tgtEl>
                                        <p:attrNameLst>
                                          <p:attrName>style.visibility</p:attrName>
                                        </p:attrNameLst>
                                      </p:cBhvr>
                                      <p:to>
                                        <p:strVal val="visible"/>
                                      </p:to>
                                    </p:set>
                                    <p:animEffect transition="in" filter="fade">
                                      <p:cBhvr>
                                        <p:cTn id="46" dur="500"/>
                                        <p:tgtEl>
                                          <p:spTgt spid="1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324;p7">
            <a:extLst>
              <a:ext uri="{FF2B5EF4-FFF2-40B4-BE49-F238E27FC236}">
                <a16:creationId xmlns:a16="http://schemas.microsoft.com/office/drawing/2014/main" id="{20EC8EBF-95FE-4530-BD0A-384421DA4067}"/>
              </a:ext>
            </a:extLst>
          </p:cNvPr>
          <p:cNvSpPr/>
          <p:nvPr/>
        </p:nvSpPr>
        <p:spPr>
          <a:xfrm>
            <a:off x="0" y="0"/>
            <a:ext cx="653700" cy="5143500"/>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3" name="Title 1">
            <a:extLst>
              <a:ext uri="{FF2B5EF4-FFF2-40B4-BE49-F238E27FC236}">
                <a16:creationId xmlns:a16="http://schemas.microsoft.com/office/drawing/2014/main" id="{D6CD76F9-85E8-4914-8E2B-8B7CFA5177CE}"/>
              </a:ext>
            </a:extLst>
          </p:cNvPr>
          <p:cNvSpPr txBox="1">
            <a:spLocks/>
          </p:cNvSpPr>
          <p:nvPr/>
        </p:nvSpPr>
        <p:spPr>
          <a:xfrm>
            <a:off x="653699" y="192762"/>
            <a:ext cx="8185859"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altLang="en-US" sz="2800" dirty="0">
                <a:solidFill>
                  <a:srgbClr val="52CBBE"/>
                </a:solidFill>
                <a:latin typeface="Gotham Bold" panose="02000803030000020004" pitchFamily="2" charset="0"/>
              </a:rPr>
              <a:t>Seat Acceptance</a:t>
            </a:r>
          </a:p>
        </p:txBody>
      </p:sp>
      <p:grpSp>
        <p:nvGrpSpPr>
          <p:cNvPr id="26" name="Google Shape;347;p7">
            <a:extLst>
              <a:ext uri="{FF2B5EF4-FFF2-40B4-BE49-F238E27FC236}">
                <a16:creationId xmlns:a16="http://schemas.microsoft.com/office/drawing/2014/main" id="{C3CB0FF7-8A44-4EB0-9792-F116402E4A68}"/>
              </a:ext>
            </a:extLst>
          </p:cNvPr>
          <p:cNvGrpSpPr/>
          <p:nvPr/>
        </p:nvGrpSpPr>
        <p:grpSpPr>
          <a:xfrm>
            <a:off x="0" y="192762"/>
            <a:ext cx="311815" cy="653721"/>
            <a:chOff x="5385375" y="498300"/>
            <a:chExt cx="802200" cy="556500"/>
          </a:xfrm>
          <a:solidFill>
            <a:srgbClr val="52CBBE"/>
          </a:solidFill>
        </p:grpSpPr>
        <p:sp>
          <p:nvSpPr>
            <p:cNvPr id="27" name="Google Shape;348;p7">
              <a:extLst>
                <a:ext uri="{FF2B5EF4-FFF2-40B4-BE49-F238E27FC236}">
                  <a16:creationId xmlns:a16="http://schemas.microsoft.com/office/drawing/2014/main" id="{98370779-31D0-4228-83DE-BA24112FD8F7}"/>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8" name="Google Shape;349;p7">
              <a:extLst>
                <a:ext uri="{FF2B5EF4-FFF2-40B4-BE49-F238E27FC236}">
                  <a16:creationId xmlns:a16="http://schemas.microsoft.com/office/drawing/2014/main" id="{3FA17BE1-C7B3-46C6-A908-F82FA189A5C5}"/>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9" name="Google Shape;350;p7">
              <a:extLst>
                <a:ext uri="{FF2B5EF4-FFF2-40B4-BE49-F238E27FC236}">
                  <a16:creationId xmlns:a16="http://schemas.microsoft.com/office/drawing/2014/main" id="{F311C074-973A-433C-8588-0F8431F4777C}"/>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sp>
        <p:nvSpPr>
          <p:cNvPr id="13" name="TextBox 12">
            <a:extLst>
              <a:ext uri="{FF2B5EF4-FFF2-40B4-BE49-F238E27FC236}">
                <a16:creationId xmlns:a16="http://schemas.microsoft.com/office/drawing/2014/main" id="{6319BCFB-827C-43B6-AAC3-E50977BDC437}"/>
              </a:ext>
            </a:extLst>
          </p:cNvPr>
          <p:cNvSpPr txBox="1"/>
          <p:nvPr/>
        </p:nvSpPr>
        <p:spPr>
          <a:xfrm>
            <a:off x="653699" y="1123950"/>
            <a:ext cx="8178486" cy="2331985"/>
          </a:xfrm>
          <a:prstGeom prst="rect">
            <a:avLst/>
          </a:prstGeom>
          <a:noFill/>
        </p:spPr>
        <p:txBody>
          <a:bodyPr wrap="square" rtlCol="0">
            <a:spAutoFit/>
          </a:bodyPr>
          <a:lstStyle/>
          <a:p>
            <a:pPr marL="342900" indent="-342900">
              <a:lnSpc>
                <a:spcPct val="150000"/>
              </a:lnSpc>
              <a:spcBef>
                <a:spcPts val="600"/>
              </a:spcBef>
              <a:buFont typeface="+mj-lt"/>
              <a:buAutoNum type="arabicPeriod" startAt="3"/>
            </a:pPr>
            <a:r>
              <a:rPr lang="en-US" sz="2000" dirty="0">
                <a:latin typeface="Gotham Medium" panose="02000603030000020004" pitchFamily="2" charset="0"/>
              </a:rPr>
              <a:t>If selected </a:t>
            </a:r>
            <a:r>
              <a:rPr lang="en-US" sz="2000" dirty="0">
                <a:solidFill>
                  <a:srgbClr val="FF5969"/>
                </a:solidFill>
                <a:latin typeface="Gotham Medium" panose="02000603030000020004" pitchFamily="2" charset="0"/>
              </a:rPr>
              <a:t>Betterment</a:t>
            </a:r>
            <a:r>
              <a:rPr lang="en-US" sz="2000" dirty="0">
                <a:latin typeface="Gotham Medium" panose="02000603030000020004" pitchFamily="2" charset="0"/>
              </a:rPr>
              <a:t> option, then –</a:t>
            </a:r>
          </a:p>
          <a:p>
            <a:pPr marL="800100" lvl="1" indent="-342900">
              <a:lnSpc>
                <a:spcPct val="150000"/>
              </a:lnSpc>
              <a:buFont typeface="Wingdings" panose="05000000000000000000" pitchFamily="2" charset="2"/>
              <a:buChar char="§"/>
            </a:pPr>
            <a:r>
              <a:rPr lang="en-US" sz="2000" dirty="0">
                <a:latin typeface="Gotham Medium" panose="02000603030000020004" pitchFamily="2" charset="0"/>
              </a:rPr>
              <a:t>Accept the seat through login</a:t>
            </a:r>
          </a:p>
          <a:p>
            <a:pPr marL="800100" lvl="1" indent="-342900">
              <a:lnSpc>
                <a:spcPct val="150000"/>
              </a:lnSpc>
              <a:buFont typeface="Wingdings" panose="05000000000000000000" pitchFamily="2" charset="2"/>
              <a:buChar char="§"/>
            </a:pPr>
            <a:r>
              <a:rPr lang="en-US" sz="2000" dirty="0">
                <a:latin typeface="Gotham Medium" panose="02000603030000020004" pitchFamily="2" charset="0"/>
              </a:rPr>
              <a:t>Pay Seat Acceptance Fee of Rs. 1000/- (Online)</a:t>
            </a:r>
          </a:p>
          <a:p>
            <a:pPr marL="800100" lvl="1" indent="-342900">
              <a:lnSpc>
                <a:spcPct val="150000"/>
              </a:lnSpc>
              <a:buFont typeface="Wingdings" panose="05000000000000000000" pitchFamily="2" charset="2"/>
              <a:buChar char="§"/>
            </a:pPr>
            <a:r>
              <a:rPr lang="en-US" sz="2000" dirty="0">
                <a:latin typeface="Gotham Medium" panose="02000603030000020004" pitchFamily="2" charset="0"/>
              </a:rPr>
              <a:t>Take printout of Seat Acceptance</a:t>
            </a:r>
          </a:p>
          <a:p>
            <a:pPr marL="800100" lvl="1" indent="-342900">
              <a:lnSpc>
                <a:spcPct val="150000"/>
              </a:lnSpc>
              <a:buFont typeface="Wingdings" panose="05000000000000000000" pitchFamily="2" charset="2"/>
              <a:buChar char="§"/>
            </a:pPr>
            <a:r>
              <a:rPr lang="en-US" sz="2000" dirty="0">
                <a:latin typeface="Gotham Medium" panose="02000603030000020004" pitchFamily="2" charset="0"/>
              </a:rPr>
              <a:t>Wait for CAP round-II</a:t>
            </a:r>
          </a:p>
        </p:txBody>
      </p:sp>
    </p:spTree>
    <p:extLst>
      <p:ext uri="{BB962C8B-B14F-4D97-AF65-F5344CB8AC3E}">
        <p14:creationId xmlns:p14="http://schemas.microsoft.com/office/powerpoint/2010/main" val="911138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fade">
                                      <p:cBhvr>
                                        <p:cTn id="12" dur="500"/>
                                        <p:tgtEl>
                                          <p:spTgt spid="1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xEl>
                                              <p:pRg st="2" end="2"/>
                                            </p:txEl>
                                          </p:spTgt>
                                        </p:tgtEl>
                                        <p:attrNameLst>
                                          <p:attrName>style.visibility</p:attrName>
                                        </p:attrNameLst>
                                      </p:cBhvr>
                                      <p:to>
                                        <p:strVal val="visible"/>
                                      </p:to>
                                    </p:set>
                                    <p:animEffect transition="in" filter="fade">
                                      <p:cBhvr>
                                        <p:cTn id="17" dur="500"/>
                                        <p:tgtEl>
                                          <p:spTgt spid="1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xEl>
                                              <p:pRg st="3" end="3"/>
                                            </p:txEl>
                                          </p:spTgt>
                                        </p:tgtEl>
                                        <p:attrNameLst>
                                          <p:attrName>style.visibility</p:attrName>
                                        </p:attrNameLst>
                                      </p:cBhvr>
                                      <p:to>
                                        <p:strVal val="visible"/>
                                      </p:to>
                                    </p:set>
                                    <p:animEffect transition="in" filter="fade">
                                      <p:cBhvr>
                                        <p:cTn id="22" dur="500"/>
                                        <p:tgtEl>
                                          <p:spTgt spid="1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3">
                                            <p:txEl>
                                              <p:pRg st="4" end="4"/>
                                            </p:txEl>
                                          </p:spTgt>
                                        </p:tgtEl>
                                        <p:attrNameLst>
                                          <p:attrName>style.visibility</p:attrName>
                                        </p:attrNameLst>
                                      </p:cBhvr>
                                      <p:to>
                                        <p:strVal val="visible"/>
                                      </p:to>
                                    </p:set>
                                    <p:animEffect transition="in" filter="fade">
                                      <p:cBhvr>
                                        <p:cTn id="27" dur="500"/>
                                        <p:tgtEl>
                                          <p:spTgt spid="1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itle 1">
            <a:extLst>
              <a:ext uri="{FF2B5EF4-FFF2-40B4-BE49-F238E27FC236}">
                <a16:creationId xmlns:a16="http://schemas.microsoft.com/office/drawing/2014/main" id="{24AF6583-8934-481E-8BC7-212D7FFBE715}"/>
              </a:ext>
            </a:extLst>
          </p:cNvPr>
          <p:cNvSpPr txBox="1">
            <a:spLocks/>
          </p:cNvSpPr>
          <p:nvPr/>
        </p:nvSpPr>
        <p:spPr>
          <a:xfrm>
            <a:off x="415154" y="197251"/>
            <a:ext cx="5757046" cy="850499"/>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altLang="en-US" sz="2800" dirty="0">
                <a:solidFill>
                  <a:srgbClr val="FF5969"/>
                </a:solidFill>
                <a:latin typeface="Gotham Bold" panose="02000803030000020004" pitchFamily="2" charset="0"/>
              </a:rPr>
              <a:t>Filling Online Option Form for </a:t>
            </a:r>
            <a:r>
              <a:rPr lang="en-IN" altLang="en-US" sz="2800" dirty="0">
                <a:solidFill>
                  <a:srgbClr val="52CBBE"/>
                </a:solidFill>
                <a:latin typeface="Gotham Bold" panose="02000803030000020004" pitchFamily="2" charset="0"/>
              </a:rPr>
              <a:t>CAP Round-II</a:t>
            </a:r>
          </a:p>
        </p:txBody>
      </p:sp>
      <p:sp>
        <p:nvSpPr>
          <p:cNvPr id="37" name="Google Shape;456;p11">
            <a:extLst>
              <a:ext uri="{FF2B5EF4-FFF2-40B4-BE49-F238E27FC236}">
                <a16:creationId xmlns:a16="http://schemas.microsoft.com/office/drawing/2014/main" id="{4B635CDB-6E2C-4C36-96BE-0D7823E37006}"/>
              </a:ext>
            </a:extLst>
          </p:cNvPr>
          <p:cNvSpPr/>
          <p:nvPr/>
        </p:nvSpPr>
        <p:spPr>
          <a:xfrm>
            <a:off x="0" y="0"/>
            <a:ext cx="381000" cy="5143500"/>
          </a:xfrm>
          <a:prstGeom prst="rect">
            <a:avLst/>
          </a:prstGeom>
          <a:solidFill>
            <a:srgbClr val="52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2" name="Google Shape;457;p11">
            <a:extLst>
              <a:ext uri="{FF2B5EF4-FFF2-40B4-BE49-F238E27FC236}">
                <a16:creationId xmlns:a16="http://schemas.microsoft.com/office/drawing/2014/main" id="{453DE01B-3244-4A97-A9FC-72911647058A}"/>
              </a:ext>
            </a:extLst>
          </p:cNvPr>
          <p:cNvGrpSpPr/>
          <p:nvPr/>
        </p:nvGrpSpPr>
        <p:grpSpPr>
          <a:xfrm>
            <a:off x="-207" y="193020"/>
            <a:ext cx="155867" cy="653721"/>
            <a:chOff x="5385375" y="498300"/>
            <a:chExt cx="802200" cy="556500"/>
          </a:xfrm>
          <a:solidFill>
            <a:srgbClr val="FF5969"/>
          </a:solidFill>
        </p:grpSpPr>
        <p:sp>
          <p:nvSpPr>
            <p:cNvPr id="43" name="Google Shape;458;p11">
              <a:extLst>
                <a:ext uri="{FF2B5EF4-FFF2-40B4-BE49-F238E27FC236}">
                  <a16:creationId xmlns:a16="http://schemas.microsoft.com/office/drawing/2014/main" id="{84F6296B-DC66-4682-995E-23152529733B}"/>
                </a:ext>
              </a:extLst>
            </p:cNvPr>
            <p:cNvSpPr/>
            <p:nvPr/>
          </p:nvSpPr>
          <p:spPr>
            <a:xfrm>
              <a:off x="5385375" y="498300"/>
              <a:ext cx="802200" cy="993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59;p11">
              <a:extLst>
                <a:ext uri="{FF2B5EF4-FFF2-40B4-BE49-F238E27FC236}">
                  <a16:creationId xmlns:a16="http://schemas.microsoft.com/office/drawing/2014/main" id="{D56B0B4F-D8EE-4633-BF6A-7E9FCF75F1FD}"/>
                </a:ext>
              </a:extLst>
            </p:cNvPr>
            <p:cNvSpPr/>
            <p:nvPr/>
          </p:nvSpPr>
          <p:spPr>
            <a:xfrm>
              <a:off x="5385375" y="726900"/>
              <a:ext cx="802200" cy="993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460;p11">
              <a:extLst>
                <a:ext uri="{FF2B5EF4-FFF2-40B4-BE49-F238E27FC236}">
                  <a16:creationId xmlns:a16="http://schemas.microsoft.com/office/drawing/2014/main" id="{F3FA3616-3643-4535-A6AA-E2240C1CD504}"/>
                </a:ext>
              </a:extLst>
            </p:cNvPr>
            <p:cNvSpPr/>
            <p:nvPr/>
          </p:nvSpPr>
          <p:spPr>
            <a:xfrm>
              <a:off x="5385375" y="955500"/>
              <a:ext cx="802200" cy="993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 name="TextBox 17">
            <a:extLst>
              <a:ext uri="{FF2B5EF4-FFF2-40B4-BE49-F238E27FC236}">
                <a16:creationId xmlns:a16="http://schemas.microsoft.com/office/drawing/2014/main" id="{173C1835-40C1-4D18-8D49-0304282F9C04}"/>
              </a:ext>
            </a:extLst>
          </p:cNvPr>
          <p:cNvSpPr txBox="1"/>
          <p:nvPr/>
        </p:nvSpPr>
        <p:spPr>
          <a:xfrm>
            <a:off x="381000" y="1195539"/>
            <a:ext cx="8763000" cy="3292953"/>
          </a:xfrm>
          <a:prstGeom prst="rect">
            <a:avLst/>
          </a:prstGeom>
          <a:noFill/>
        </p:spPr>
        <p:txBody>
          <a:bodyPr wrap="square" rtlCol="0">
            <a:spAutoFit/>
          </a:bodyPr>
          <a:lstStyle/>
          <a:p>
            <a:pPr marL="342900" indent="-342900">
              <a:lnSpc>
                <a:spcPct val="150000"/>
              </a:lnSpc>
              <a:spcBef>
                <a:spcPts val="600"/>
              </a:spcBef>
              <a:buFont typeface="Wingdings" panose="05000000000000000000" pitchFamily="2" charset="2"/>
              <a:buChar char="§"/>
            </a:pPr>
            <a:r>
              <a:rPr lang="en-US" sz="2000" dirty="0">
                <a:solidFill>
                  <a:srgbClr val="FF5969"/>
                </a:solidFill>
                <a:latin typeface="Gotham Medium" panose="02000603030000020004" pitchFamily="2" charset="0"/>
              </a:rPr>
              <a:t>Who are eligible for CAP Round-II - </a:t>
            </a:r>
          </a:p>
          <a:p>
            <a:pPr marL="800100" lvl="1" indent="-342900">
              <a:lnSpc>
                <a:spcPct val="150000"/>
              </a:lnSpc>
              <a:spcBef>
                <a:spcPts val="600"/>
              </a:spcBef>
              <a:buFont typeface="Wingdings" panose="05000000000000000000" pitchFamily="2" charset="2"/>
              <a:buChar char="§"/>
            </a:pPr>
            <a:r>
              <a:rPr lang="en-US" dirty="0">
                <a:latin typeface="Gotham Medium" panose="02000603030000020004" pitchFamily="2" charset="0"/>
              </a:rPr>
              <a:t>Candidates who have not participated in CAP Round-I</a:t>
            </a:r>
          </a:p>
          <a:p>
            <a:pPr marL="800100" lvl="1" indent="-342900">
              <a:lnSpc>
                <a:spcPct val="150000"/>
              </a:lnSpc>
              <a:spcBef>
                <a:spcPts val="600"/>
              </a:spcBef>
              <a:buFont typeface="Wingdings" panose="05000000000000000000" pitchFamily="2" charset="2"/>
              <a:buChar char="§"/>
            </a:pPr>
            <a:r>
              <a:rPr lang="en-US" dirty="0">
                <a:latin typeface="Gotham Medium" panose="02000603030000020004" pitchFamily="2" charset="0"/>
              </a:rPr>
              <a:t>Candidates who have not been allotted any seats in CAP Round-I</a:t>
            </a:r>
          </a:p>
          <a:p>
            <a:pPr marL="800100" lvl="1" indent="-342900">
              <a:lnSpc>
                <a:spcPct val="150000"/>
              </a:lnSpc>
              <a:spcBef>
                <a:spcPts val="600"/>
              </a:spcBef>
              <a:buFont typeface="Wingdings" panose="05000000000000000000" pitchFamily="2" charset="2"/>
              <a:buChar char="§"/>
            </a:pPr>
            <a:r>
              <a:rPr lang="en-US" dirty="0">
                <a:latin typeface="Gotham Medium" panose="02000603030000020004" pitchFamily="2" charset="0"/>
              </a:rPr>
              <a:t>Candidates who have selected betterment option for the allotment of CAP Round-I</a:t>
            </a:r>
          </a:p>
          <a:p>
            <a:pPr marL="800100" lvl="1" indent="-342900">
              <a:lnSpc>
                <a:spcPct val="150000"/>
              </a:lnSpc>
              <a:spcBef>
                <a:spcPts val="600"/>
              </a:spcBef>
              <a:buFont typeface="Wingdings" panose="05000000000000000000" pitchFamily="2" charset="2"/>
              <a:buChar char="§"/>
            </a:pPr>
            <a:r>
              <a:rPr lang="en-US" dirty="0">
                <a:latin typeface="Gotham Medium" panose="02000603030000020004" pitchFamily="2" charset="0"/>
              </a:rPr>
              <a:t>Candidates who have not accepted the seat allotment of CAP round-I</a:t>
            </a:r>
          </a:p>
        </p:txBody>
      </p:sp>
    </p:spTree>
    <p:extLst>
      <p:ext uri="{BB962C8B-B14F-4D97-AF65-F5344CB8AC3E}">
        <p14:creationId xmlns:p14="http://schemas.microsoft.com/office/powerpoint/2010/main" val="3181127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xEl>
                                              <p:pRg st="1" end="1"/>
                                            </p:txEl>
                                          </p:spTgt>
                                        </p:tgtEl>
                                        <p:attrNameLst>
                                          <p:attrName>style.visibility</p:attrName>
                                        </p:attrNameLst>
                                      </p:cBhvr>
                                      <p:to>
                                        <p:strVal val="visible"/>
                                      </p:to>
                                    </p:set>
                                    <p:animEffect transition="in" filter="fade">
                                      <p:cBhvr>
                                        <p:cTn id="12" dur="500"/>
                                        <p:tgtEl>
                                          <p:spTgt spid="1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
                                            <p:txEl>
                                              <p:pRg st="2" end="2"/>
                                            </p:txEl>
                                          </p:spTgt>
                                        </p:tgtEl>
                                        <p:attrNameLst>
                                          <p:attrName>style.visibility</p:attrName>
                                        </p:attrNameLst>
                                      </p:cBhvr>
                                      <p:to>
                                        <p:strVal val="visible"/>
                                      </p:to>
                                    </p:set>
                                    <p:animEffect transition="in" filter="fade">
                                      <p:cBhvr>
                                        <p:cTn id="17" dur="500"/>
                                        <p:tgtEl>
                                          <p:spTgt spid="1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8">
                                            <p:txEl>
                                              <p:pRg st="3" end="3"/>
                                            </p:txEl>
                                          </p:spTgt>
                                        </p:tgtEl>
                                        <p:attrNameLst>
                                          <p:attrName>style.visibility</p:attrName>
                                        </p:attrNameLst>
                                      </p:cBhvr>
                                      <p:to>
                                        <p:strVal val="visible"/>
                                      </p:to>
                                    </p:set>
                                    <p:animEffect transition="in" filter="fade">
                                      <p:cBhvr>
                                        <p:cTn id="22" dur="500"/>
                                        <p:tgtEl>
                                          <p:spTgt spid="18">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8">
                                            <p:txEl>
                                              <p:pRg st="4" end="4"/>
                                            </p:txEl>
                                          </p:spTgt>
                                        </p:tgtEl>
                                        <p:attrNameLst>
                                          <p:attrName>style.visibility</p:attrName>
                                        </p:attrNameLst>
                                      </p:cBhvr>
                                      <p:to>
                                        <p:strVal val="visible"/>
                                      </p:to>
                                    </p:set>
                                    <p:animEffect transition="in" filter="fade">
                                      <p:cBhvr>
                                        <p:cTn id="27" dur="500"/>
                                        <p:tgtEl>
                                          <p:spTgt spid="18">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itle 1">
            <a:extLst>
              <a:ext uri="{FF2B5EF4-FFF2-40B4-BE49-F238E27FC236}">
                <a16:creationId xmlns:a16="http://schemas.microsoft.com/office/drawing/2014/main" id="{24AF6583-8934-481E-8BC7-212D7FFBE715}"/>
              </a:ext>
            </a:extLst>
          </p:cNvPr>
          <p:cNvSpPr txBox="1">
            <a:spLocks/>
          </p:cNvSpPr>
          <p:nvPr/>
        </p:nvSpPr>
        <p:spPr>
          <a:xfrm>
            <a:off x="415154" y="197251"/>
            <a:ext cx="5833246" cy="850499"/>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altLang="en-US" sz="2800" dirty="0">
                <a:solidFill>
                  <a:srgbClr val="FF5969"/>
                </a:solidFill>
                <a:latin typeface="Gotham Bold" panose="02000803030000020004" pitchFamily="2" charset="0"/>
              </a:rPr>
              <a:t>Filling Online Option Form for </a:t>
            </a:r>
            <a:r>
              <a:rPr lang="en-IN" altLang="en-US" sz="2800" dirty="0">
                <a:solidFill>
                  <a:srgbClr val="52CBBE"/>
                </a:solidFill>
                <a:latin typeface="Gotham Bold" panose="02000803030000020004" pitchFamily="2" charset="0"/>
              </a:rPr>
              <a:t>CAP Round-II</a:t>
            </a:r>
          </a:p>
        </p:txBody>
      </p:sp>
      <p:sp>
        <p:nvSpPr>
          <p:cNvPr id="37" name="Google Shape;456;p11">
            <a:extLst>
              <a:ext uri="{FF2B5EF4-FFF2-40B4-BE49-F238E27FC236}">
                <a16:creationId xmlns:a16="http://schemas.microsoft.com/office/drawing/2014/main" id="{4B635CDB-6E2C-4C36-96BE-0D7823E37006}"/>
              </a:ext>
            </a:extLst>
          </p:cNvPr>
          <p:cNvSpPr/>
          <p:nvPr/>
        </p:nvSpPr>
        <p:spPr>
          <a:xfrm>
            <a:off x="0" y="0"/>
            <a:ext cx="381000" cy="5143500"/>
          </a:xfrm>
          <a:prstGeom prst="rect">
            <a:avLst/>
          </a:prstGeom>
          <a:solidFill>
            <a:srgbClr val="52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2" name="Google Shape;457;p11">
            <a:extLst>
              <a:ext uri="{FF2B5EF4-FFF2-40B4-BE49-F238E27FC236}">
                <a16:creationId xmlns:a16="http://schemas.microsoft.com/office/drawing/2014/main" id="{453DE01B-3244-4A97-A9FC-72911647058A}"/>
              </a:ext>
            </a:extLst>
          </p:cNvPr>
          <p:cNvGrpSpPr/>
          <p:nvPr/>
        </p:nvGrpSpPr>
        <p:grpSpPr>
          <a:xfrm>
            <a:off x="0" y="295639"/>
            <a:ext cx="155867" cy="653721"/>
            <a:chOff x="5385375" y="498300"/>
            <a:chExt cx="802200" cy="556500"/>
          </a:xfrm>
          <a:solidFill>
            <a:srgbClr val="FF5969"/>
          </a:solidFill>
        </p:grpSpPr>
        <p:sp>
          <p:nvSpPr>
            <p:cNvPr id="43" name="Google Shape;458;p11">
              <a:extLst>
                <a:ext uri="{FF2B5EF4-FFF2-40B4-BE49-F238E27FC236}">
                  <a16:creationId xmlns:a16="http://schemas.microsoft.com/office/drawing/2014/main" id="{84F6296B-DC66-4682-995E-23152529733B}"/>
                </a:ext>
              </a:extLst>
            </p:cNvPr>
            <p:cNvSpPr/>
            <p:nvPr/>
          </p:nvSpPr>
          <p:spPr>
            <a:xfrm>
              <a:off x="5385375" y="498300"/>
              <a:ext cx="802200" cy="993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59;p11">
              <a:extLst>
                <a:ext uri="{FF2B5EF4-FFF2-40B4-BE49-F238E27FC236}">
                  <a16:creationId xmlns:a16="http://schemas.microsoft.com/office/drawing/2014/main" id="{D56B0B4F-D8EE-4633-BF6A-7E9FCF75F1FD}"/>
                </a:ext>
              </a:extLst>
            </p:cNvPr>
            <p:cNvSpPr/>
            <p:nvPr/>
          </p:nvSpPr>
          <p:spPr>
            <a:xfrm>
              <a:off x="5385375" y="726900"/>
              <a:ext cx="802200" cy="993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460;p11">
              <a:extLst>
                <a:ext uri="{FF2B5EF4-FFF2-40B4-BE49-F238E27FC236}">
                  <a16:creationId xmlns:a16="http://schemas.microsoft.com/office/drawing/2014/main" id="{F3FA3616-3643-4535-A6AA-E2240C1CD504}"/>
                </a:ext>
              </a:extLst>
            </p:cNvPr>
            <p:cNvSpPr/>
            <p:nvPr/>
          </p:nvSpPr>
          <p:spPr>
            <a:xfrm>
              <a:off x="5385375" y="955500"/>
              <a:ext cx="802200" cy="993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TextBox 18">
            <a:extLst>
              <a:ext uri="{FF2B5EF4-FFF2-40B4-BE49-F238E27FC236}">
                <a16:creationId xmlns:a16="http://schemas.microsoft.com/office/drawing/2014/main" id="{73669B8E-A1F9-482C-9386-EB56B5FEAADE}"/>
              </a:ext>
            </a:extLst>
          </p:cNvPr>
          <p:cNvSpPr txBox="1"/>
          <p:nvPr/>
        </p:nvSpPr>
        <p:spPr>
          <a:xfrm>
            <a:off x="533400" y="1200150"/>
            <a:ext cx="8423092" cy="3563091"/>
          </a:xfrm>
          <a:prstGeom prst="rect">
            <a:avLst/>
          </a:prstGeom>
          <a:noFill/>
        </p:spPr>
        <p:txBody>
          <a:bodyPr wrap="square" rtlCol="0">
            <a:spAutoFit/>
          </a:bodyPr>
          <a:lstStyle/>
          <a:p>
            <a:pPr marL="342900" indent="-342900">
              <a:lnSpc>
                <a:spcPct val="150000"/>
              </a:lnSpc>
              <a:spcBef>
                <a:spcPts val="600"/>
              </a:spcBef>
              <a:buFont typeface="+mj-lt"/>
              <a:buAutoNum type="arabicPeriod"/>
            </a:pPr>
            <a:r>
              <a:rPr lang="en-US" sz="2000" dirty="0">
                <a:latin typeface="Gotham Medium" panose="02000603030000020004" pitchFamily="2" charset="0"/>
              </a:rPr>
              <a:t>Fill option form online through login ID</a:t>
            </a:r>
          </a:p>
          <a:p>
            <a:pPr marL="342900" indent="-342900">
              <a:lnSpc>
                <a:spcPct val="150000"/>
              </a:lnSpc>
              <a:spcBef>
                <a:spcPts val="600"/>
              </a:spcBef>
              <a:buFont typeface="+mj-lt"/>
              <a:buAutoNum type="arabicPeriod"/>
            </a:pPr>
            <a:r>
              <a:rPr lang="en-US" sz="2000" dirty="0">
                <a:latin typeface="Gotham Medium" panose="02000603030000020004" pitchFamily="2" charset="0"/>
              </a:rPr>
              <a:t>Minimum 1 and Maximum 300 options</a:t>
            </a:r>
          </a:p>
          <a:p>
            <a:pPr marL="342900" indent="-342900">
              <a:lnSpc>
                <a:spcPct val="150000"/>
              </a:lnSpc>
              <a:spcBef>
                <a:spcPts val="600"/>
              </a:spcBef>
              <a:buFont typeface="+mj-lt"/>
              <a:buAutoNum type="arabicPeriod"/>
            </a:pPr>
            <a:r>
              <a:rPr lang="en-US" sz="2000" dirty="0">
                <a:latin typeface="Gotham Medium" panose="02000603030000020004" pitchFamily="2" charset="0"/>
              </a:rPr>
              <a:t>Confirm option form using password and OTP</a:t>
            </a:r>
          </a:p>
          <a:p>
            <a:pPr marL="342900" indent="-342900">
              <a:lnSpc>
                <a:spcPct val="150000"/>
              </a:lnSpc>
              <a:spcBef>
                <a:spcPts val="600"/>
              </a:spcBef>
              <a:buFont typeface="+mj-lt"/>
              <a:buAutoNum type="arabicPeriod"/>
            </a:pPr>
            <a:r>
              <a:rPr lang="en-US" sz="2000" dirty="0">
                <a:latin typeface="Gotham Medium" panose="02000603030000020004" pitchFamily="2" charset="0"/>
              </a:rPr>
              <a:t>Once option form confirmed, cannot be modified</a:t>
            </a:r>
          </a:p>
          <a:p>
            <a:pPr marL="342900" indent="-342900">
              <a:lnSpc>
                <a:spcPct val="150000"/>
              </a:lnSpc>
              <a:spcBef>
                <a:spcPts val="600"/>
              </a:spcBef>
              <a:buFont typeface="+mj-lt"/>
              <a:buAutoNum type="arabicPeriod"/>
            </a:pPr>
            <a:r>
              <a:rPr lang="en-US" sz="2000" dirty="0">
                <a:solidFill>
                  <a:srgbClr val="FF5969"/>
                </a:solidFill>
                <a:latin typeface="Gotham Medium" panose="02000603030000020004" pitchFamily="2" charset="0"/>
              </a:rPr>
              <a:t>Candidate who have selected Betterment Option for CAP round-I, allotted seat of CAP Round-I will be the last option automatically</a:t>
            </a:r>
          </a:p>
        </p:txBody>
      </p:sp>
    </p:spTree>
    <p:extLst>
      <p:ext uri="{BB962C8B-B14F-4D97-AF65-F5344CB8AC3E}">
        <p14:creationId xmlns:p14="http://schemas.microsoft.com/office/powerpoint/2010/main" val="4113346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xEl>
                                              <p:pRg st="1" end="1"/>
                                            </p:txEl>
                                          </p:spTgt>
                                        </p:tgtEl>
                                        <p:attrNameLst>
                                          <p:attrName>style.visibility</p:attrName>
                                        </p:attrNameLst>
                                      </p:cBhvr>
                                      <p:to>
                                        <p:strVal val="visible"/>
                                      </p:to>
                                    </p:set>
                                    <p:animEffect transition="in" filter="fade">
                                      <p:cBhvr>
                                        <p:cTn id="12" dur="500"/>
                                        <p:tgtEl>
                                          <p:spTgt spid="1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xEl>
                                              <p:pRg st="2" end="2"/>
                                            </p:txEl>
                                          </p:spTgt>
                                        </p:tgtEl>
                                        <p:attrNameLst>
                                          <p:attrName>style.visibility</p:attrName>
                                        </p:attrNameLst>
                                      </p:cBhvr>
                                      <p:to>
                                        <p:strVal val="visible"/>
                                      </p:to>
                                    </p:set>
                                    <p:animEffect transition="in" filter="fade">
                                      <p:cBhvr>
                                        <p:cTn id="17" dur="500"/>
                                        <p:tgtEl>
                                          <p:spTgt spid="1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xEl>
                                              <p:pRg st="3" end="3"/>
                                            </p:txEl>
                                          </p:spTgt>
                                        </p:tgtEl>
                                        <p:attrNameLst>
                                          <p:attrName>style.visibility</p:attrName>
                                        </p:attrNameLst>
                                      </p:cBhvr>
                                      <p:to>
                                        <p:strVal val="visible"/>
                                      </p:to>
                                    </p:set>
                                    <p:animEffect transition="in" filter="fade">
                                      <p:cBhvr>
                                        <p:cTn id="22" dur="500"/>
                                        <p:tgtEl>
                                          <p:spTgt spid="1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
                                            <p:txEl>
                                              <p:pRg st="4" end="4"/>
                                            </p:txEl>
                                          </p:spTgt>
                                        </p:tgtEl>
                                        <p:attrNameLst>
                                          <p:attrName>style.visibility</p:attrName>
                                        </p:attrNameLst>
                                      </p:cBhvr>
                                      <p:to>
                                        <p:strVal val="visible"/>
                                      </p:to>
                                    </p:set>
                                    <p:animEffect transition="in" filter="fade">
                                      <p:cBhvr>
                                        <p:cTn id="27" dur="500"/>
                                        <p:tgtEl>
                                          <p:spTgt spid="19">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324;p7">
            <a:extLst>
              <a:ext uri="{FF2B5EF4-FFF2-40B4-BE49-F238E27FC236}">
                <a16:creationId xmlns:a16="http://schemas.microsoft.com/office/drawing/2014/main" id="{20EC8EBF-95FE-4530-BD0A-384421DA4067}"/>
              </a:ext>
            </a:extLst>
          </p:cNvPr>
          <p:cNvSpPr/>
          <p:nvPr/>
        </p:nvSpPr>
        <p:spPr>
          <a:xfrm>
            <a:off x="0" y="0"/>
            <a:ext cx="653700" cy="5143500"/>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3" name="Title 1">
            <a:extLst>
              <a:ext uri="{FF2B5EF4-FFF2-40B4-BE49-F238E27FC236}">
                <a16:creationId xmlns:a16="http://schemas.microsoft.com/office/drawing/2014/main" id="{D6CD76F9-85E8-4914-8E2B-8B7CFA5177CE}"/>
              </a:ext>
            </a:extLst>
          </p:cNvPr>
          <p:cNvSpPr txBox="1">
            <a:spLocks/>
          </p:cNvSpPr>
          <p:nvPr/>
        </p:nvSpPr>
        <p:spPr>
          <a:xfrm>
            <a:off x="653699" y="192762"/>
            <a:ext cx="8185859"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altLang="en-US" sz="2800" dirty="0">
                <a:solidFill>
                  <a:srgbClr val="FF5969"/>
                </a:solidFill>
                <a:latin typeface="Gotham Bold" panose="02000803030000020004" pitchFamily="2" charset="0"/>
              </a:rPr>
              <a:t>Seat Acceptance for </a:t>
            </a:r>
            <a:r>
              <a:rPr lang="en-IN" altLang="en-US" sz="2800" dirty="0">
                <a:solidFill>
                  <a:srgbClr val="52CBBE"/>
                </a:solidFill>
                <a:latin typeface="Gotham Bold" panose="02000803030000020004" pitchFamily="2" charset="0"/>
              </a:rPr>
              <a:t>CAP Round-II</a:t>
            </a:r>
          </a:p>
        </p:txBody>
      </p:sp>
      <p:grpSp>
        <p:nvGrpSpPr>
          <p:cNvPr id="26" name="Google Shape;347;p7">
            <a:extLst>
              <a:ext uri="{FF2B5EF4-FFF2-40B4-BE49-F238E27FC236}">
                <a16:creationId xmlns:a16="http://schemas.microsoft.com/office/drawing/2014/main" id="{C3CB0FF7-8A44-4EB0-9792-F116402E4A68}"/>
              </a:ext>
            </a:extLst>
          </p:cNvPr>
          <p:cNvGrpSpPr/>
          <p:nvPr/>
        </p:nvGrpSpPr>
        <p:grpSpPr>
          <a:xfrm>
            <a:off x="0" y="192762"/>
            <a:ext cx="311815" cy="653721"/>
            <a:chOff x="5385375" y="498300"/>
            <a:chExt cx="802200" cy="556500"/>
          </a:xfrm>
          <a:solidFill>
            <a:srgbClr val="52CBBE"/>
          </a:solidFill>
        </p:grpSpPr>
        <p:sp>
          <p:nvSpPr>
            <p:cNvPr id="27" name="Google Shape;348;p7">
              <a:extLst>
                <a:ext uri="{FF2B5EF4-FFF2-40B4-BE49-F238E27FC236}">
                  <a16:creationId xmlns:a16="http://schemas.microsoft.com/office/drawing/2014/main" id="{98370779-31D0-4228-83DE-BA24112FD8F7}"/>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8" name="Google Shape;349;p7">
              <a:extLst>
                <a:ext uri="{FF2B5EF4-FFF2-40B4-BE49-F238E27FC236}">
                  <a16:creationId xmlns:a16="http://schemas.microsoft.com/office/drawing/2014/main" id="{3FA17BE1-C7B3-46C6-A908-F82FA189A5C5}"/>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9" name="Google Shape;350;p7">
              <a:extLst>
                <a:ext uri="{FF2B5EF4-FFF2-40B4-BE49-F238E27FC236}">
                  <a16:creationId xmlns:a16="http://schemas.microsoft.com/office/drawing/2014/main" id="{F311C074-973A-433C-8588-0F8431F4777C}"/>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sp>
        <p:nvSpPr>
          <p:cNvPr id="14" name="TextBox 13">
            <a:extLst>
              <a:ext uri="{FF2B5EF4-FFF2-40B4-BE49-F238E27FC236}">
                <a16:creationId xmlns:a16="http://schemas.microsoft.com/office/drawing/2014/main" id="{D11091FE-1D6B-4839-AC2C-34A4892966E8}"/>
              </a:ext>
            </a:extLst>
          </p:cNvPr>
          <p:cNvSpPr txBox="1"/>
          <p:nvPr/>
        </p:nvSpPr>
        <p:spPr>
          <a:xfrm>
            <a:off x="653699" y="729835"/>
            <a:ext cx="8185859" cy="4324004"/>
          </a:xfrm>
          <a:prstGeom prst="rect">
            <a:avLst/>
          </a:prstGeom>
          <a:noFill/>
        </p:spPr>
        <p:txBody>
          <a:bodyPr wrap="square" rtlCol="0">
            <a:spAutoFit/>
          </a:bodyPr>
          <a:lstStyle/>
          <a:p>
            <a:pPr marL="342900" indent="-342900">
              <a:lnSpc>
                <a:spcPct val="150000"/>
              </a:lnSpc>
              <a:spcBef>
                <a:spcPts val="600"/>
              </a:spcBef>
              <a:buFont typeface="+mj-lt"/>
              <a:buAutoNum type="arabicPeriod"/>
            </a:pPr>
            <a:r>
              <a:rPr lang="en-US" sz="2000" dirty="0">
                <a:solidFill>
                  <a:srgbClr val="FF5969"/>
                </a:solidFill>
                <a:latin typeface="Gotham Medium" panose="02000603030000020004" pitchFamily="2" charset="0"/>
              </a:rPr>
              <a:t>Candidates who have not accepted the seat in CAP Round-I </a:t>
            </a:r>
            <a:r>
              <a:rPr lang="en-US" sz="2000" dirty="0">
                <a:solidFill>
                  <a:srgbClr val="52CBBE"/>
                </a:solidFill>
                <a:latin typeface="Gotham Medium" panose="02000603030000020004" pitchFamily="2" charset="0"/>
              </a:rPr>
              <a:t>OR</a:t>
            </a:r>
            <a:r>
              <a:rPr lang="en-US" sz="2000" dirty="0">
                <a:solidFill>
                  <a:srgbClr val="FF5969"/>
                </a:solidFill>
                <a:latin typeface="Gotham Medium" panose="02000603030000020004" pitchFamily="2" charset="0"/>
              </a:rPr>
              <a:t> </a:t>
            </a:r>
            <a:br>
              <a:rPr lang="en-US" sz="2000" dirty="0">
                <a:solidFill>
                  <a:srgbClr val="FF5969"/>
                </a:solidFill>
                <a:latin typeface="Gotham Medium" panose="02000603030000020004" pitchFamily="2" charset="0"/>
              </a:rPr>
            </a:br>
            <a:r>
              <a:rPr lang="en-US" sz="2000" dirty="0">
                <a:solidFill>
                  <a:srgbClr val="FF5969"/>
                </a:solidFill>
                <a:latin typeface="Gotham Medium" panose="02000603030000020004" pitchFamily="2" charset="0"/>
              </a:rPr>
              <a:t>Seat is allotted first time in CAP Round-II -</a:t>
            </a:r>
          </a:p>
          <a:p>
            <a:pPr marL="800100" lvl="1" indent="-342900">
              <a:lnSpc>
                <a:spcPct val="150000"/>
              </a:lnSpc>
              <a:buFont typeface="Wingdings" panose="05000000000000000000" pitchFamily="2" charset="2"/>
              <a:buChar char="§"/>
            </a:pPr>
            <a:r>
              <a:rPr lang="en-US" dirty="0">
                <a:latin typeface="Gotham Medium" panose="02000603030000020004" pitchFamily="2" charset="0"/>
              </a:rPr>
              <a:t>Accept the seat through login</a:t>
            </a:r>
          </a:p>
          <a:p>
            <a:pPr marL="800100" lvl="1" indent="-342900">
              <a:lnSpc>
                <a:spcPct val="150000"/>
              </a:lnSpc>
              <a:buFont typeface="Wingdings" panose="05000000000000000000" pitchFamily="2" charset="2"/>
              <a:buChar char="§"/>
            </a:pPr>
            <a:r>
              <a:rPr lang="en-US" dirty="0">
                <a:latin typeface="Gotham Medium" panose="02000603030000020004" pitchFamily="2" charset="0"/>
              </a:rPr>
              <a:t>Pay Seat Acceptance Fee of Rs. 1000/- (Online)</a:t>
            </a:r>
          </a:p>
          <a:p>
            <a:pPr marL="800100" lvl="1" indent="-342900">
              <a:lnSpc>
                <a:spcPct val="150000"/>
              </a:lnSpc>
              <a:buFont typeface="Wingdings" panose="05000000000000000000" pitchFamily="2" charset="2"/>
              <a:buChar char="§"/>
            </a:pPr>
            <a:r>
              <a:rPr lang="en-US" dirty="0">
                <a:latin typeface="Gotham Medium" panose="02000603030000020004" pitchFamily="2" charset="0"/>
              </a:rPr>
              <a:t>Take printout of Seat Acceptance</a:t>
            </a:r>
          </a:p>
          <a:p>
            <a:pPr marL="800100" lvl="1" indent="-342900">
              <a:lnSpc>
                <a:spcPct val="150000"/>
              </a:lnSpc>
              <a:buFont typeface="Wingdings" panose="05000000000000000000" pitchFamily="2" charset="2"/>
              <a:buChar char="§"/>
            </a:pPr>
            <a:r>
              <a:rPr lang="en-US" dirty="0">
                <a:latin typeface="Gotham Medium" panose="02000603030000020004" pitchFamily="2" charset="0"/>
              </a:rPr>
              <a:t>Visit the allotted college, pay the fee, submit original documents and confirm the admission</a:t>
            </a:r>
          </a:p>
          <a:p>
            <a:pPr marL="800100" lvl="1" indent="-342900">
              <a:lnSpc>
                <a:spcPct val="150000"/>
              </a:lnSpc>
              <a:buFont typeface="Wingdings" panose="05000000000000000000" pitchFamily="2" charset="2"/>
              <a:buChar char="§"/>
            </a:pPr>
            <a:r>
              <a:rPr lang="en-US" dirty="0">
                <a:latin typeface="Gotham Medium" panose="02000603030000020004" pitchFamily="2" charset="0"/>
              </a:rPr>
              <a:t>Take Acknowledge Receipt of Admission Confirmation from the college</a:t>
            </a:r>
          </a:p>
        </p:txBody>
      </p:sp>
    </p:spTree>
    <p:extLst>
      <p:ext uri="{BB962C8B-B14F-4D97-AF65-F5344CB8AC3E}">
        <p14:creationId xmlns:p14="http://schemas.microsoft.com/office/powerpoint/2010/main" val="3958419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xEl>
                                              <p:pRg st="1" end="1"/>
                                            </p:txEl>
                                          </p:spTgt>
                                        </p:tgtEl>
                                        <p:attrNameLst>
                                          <p:attrName>style.visibility</p:attrName>
                                        </p:attrNameLst>
                                      </p:cBhvr>
                                      <p:to>
                                        <p:strVal val="visible"/>
                                      </p:to>
                                    </p:set>
                                    <p:animEffect transition="in" filter="fade">
                                      <p:cBhvr>
                                        <p:cTn id="12" dur="500"/>
                                        <p:tgtEl>
                                          <p:spTgt spid="1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xEl>
                                              <p:pRg st="2" end="2"/>
                                            </p:txEl>
                                          </p:spTgt>
                                        </p:tgtEl>
                                        <p:attrNameLst>
                                          <p:attrName>style.visibility</p:attrName>
                                        </p:attrNameLst>
                                      </p:cBhvr>
                                      <p:to>
                                        <p:strVal val="visible"/>
                                      </p:to>
                                    </p:set>
                                    <p:animEffect transition="in" filter="fade">
                                      <p:cBhvr>
                                        <p:cTn id="17" dur="500"/>
                                        <p:tgtEl>
                                          <p:spTgt spid="1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xEl>
                                              <p:pRg st="3" end="3"/>
                                            </p:txEl>
                                          </p:spTgt>
                                        </p:tgtEl>
                                        <p:attrNameLst>
                                          <p:attrName>style.visibility</p:attrName>
                                        </p:attrNameLst>
                                      </p:cBhvr>
                                      <p:to>
                                        <p:strVal val="visible"/>
                                      </p:to>
                                    </p:set>
                                    <p:animEffect transition="in" filter="fade">
                                      <p:cBhvr>
                                        <p:cTn id="22" dur="500"/>
                                        <p:tgtEl>
                                          <p:spTgt spid="1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xEl>
                                              <p:pRg st="4" end="4"/>
                                            </p:txEl>
                                          </p:spTgt>
                                        </p:tgtEl>
                                        <p:attrNameLst>
                                          <p:attrName>style.visibility</p:attrName>
                                        </p:attrNameLst>
                                      </p:cBhvr>
                                      <p:to>
                                        <p:strVal val="visible"/>
                                      </p:to>
                                    </p:set>
                                    <p:animEffect transition="in" filter="fade">
                                      <p:cBhvr>
                                        <p:cTn id="27" dur="500"/>
                                        <p:tgtEl>
                                          <p:spTgt spid="1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4">
                                            <p:txEl>
                                              <p:pRg st="5" end="5"/>
                                            </p:txEl>
                                          </p:spTgt>
                                        </p:tgtEl>
                                        <p:attrNameLst>
                                          <p:attrName>style.visibility</p:attrName>
                                        </p:attrNameLst>
                                      </p:cBhvr>
                                      <p:to>
                                        <p:strVal val="visible"/>
                                      </p:to>
                                    </p:set>
                                    <p:animEffect transition="in" filter="fade">
                                      <p:cBhvr>
                                        <p:cTn id="32" dur="500"/>
                                        <p:tgtEl>
                                          <p:spTgt spid="1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324;p7">
            <a:extLst>
              <a:ext uri="{FF2B5EF4-FFF2-40B4-BE49-F238E27FC236}">
                <a16:creationId xmlns:a16="http://schemas.microsoft.com/office/drawing/2014/main" id="{20EC8EBF-95FE-4530-BD0A-384421DA4067}"/>
              </a:ext>
            </a:extLst>
          </p:cNvPr>
          <p:cNvSpPr/>
          <p:nvPr/>
        </p:nvSpPr>
        <p:spPr>
          <a:xfrm>
            <a:off x="0" y="0"/>
            <a:ext cx="653700" cy="51435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3" name="Title 1">
            <a:extLst>
              <a:ext uri="{FF2B5EF4-FFF2-40B4-BE49-F238E27FC236}">
                <a16:creationId xmlns:a16="http://schemas.microsoft.com/office/drawing/2014/main" id="{D6CD76F9-85E8-4914-8E2B-8B7CFA5177CE}"/>
              </a:ext>
            </a:extLst>
          </p:cNvPr>
          <p:cNvSpPr txBox="1">
            <a:spLocks/>
          </p:cNvSpPr>
          <p:nvPr/>
        </p:nvSpPr>
        <p:spPr>
          <a:xfrm>
            <a:off x="653699" y="192762"/>
            <a:ext cx="8185859"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altLang="en-US" sz="2800" dirty="0">
                <a:solidFill>
                  <a:srgbClr val="FF5969"/>
                </a:solidFill>
                <a:latin typeface="Gotham Bold" panose="02000803030000020004" pitchFamily="2" charset="0"/>
              </a:rPr>
              <a:t>Seat Acceptance for </a:t>
            </a:r>
            <a:r>
              <a:rPr lang="en-IN" altLang="en-US" sz="2800" dirty="0">
                <a:solidFill>
                  <a:srgbClr val="52CBBE"/>
                </a:solidFill>
                <a:latin typeface="Gotham Bold" panose="02000803030000020004" pitchFamily="2" charset="0"/>
              </a:rPr>
              <a:t>CAP Round-II</a:t>
            </a:r>
          </a:p>
        </p:txBody>
      </p:sp>
      <p:grpSp>
        <p:nvGrpSpPr>
          <p:cNvPr id="26" name="Google Shape;347;p7">
            <a:extLst>
              <a:ext uri="{FF2B5EF4-FFF2-40B4-BE49-F238E27FC236}">
                <a16:creationId xmlns:a16="http://schemas.microsoft.com/office/drawing/2014/main" id="{C3CB0FF7-8A44-4EB0-9792-F116402E4A68}"/>
              </a:ext>
            </a:extLst>
          </p:cNvPr>
          <p:cNvGrpSpPr/>
          <p:nvPr/>
        </p:nvGrpSpPr>
        <p:grpSpPr>
          <a:xfrm>
            <a:off x="0" y="192762"/>
            <a:ext cx="311815" cy="653721"/>
            <a:chOff x="5385375" y="498300"/>
            <a:chExt cx="802200" cy="556500"/>
          </a:xfrm>
          <a:solidFill>
            <a:srgbClr val="FF5969"/>
          </a:solidFill>
        </p:grpSpPr>
        <p:sp>
          <p:nvSpPr>
            <p:cNvPr id="27" name="Google Shape;348;p7">
              <a:extLst>
                <a:ext uri="{FF2B5EF4-FFF2-40B4-BE49-F238E27FC236}">
                  <a16:creationId xmlns:a16="http://schemas.microsoft.com/office/drawing/2014/main" id="{98370779-31D0-4228-83DE-BA24112FD8F7}"/>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8" name="Google Shape;349;p7">
              <a:extLst>
                <a:ext uri="{FF2B5EF4-FFF2-40B4-BE49-F238E27FC236}">
                  <a16:creationId xmlns:a16="http://schemas.microsoft.com/office/drawing/2014/main" id="{3FA17BE1-C7B3-46C6-A908-F82FA189A5C5}"/>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9" name="Google Shape;350;p7">
              <a:extLst>
                <a:ext uri="{FF2B5EF4-FFF2-40B4-BE49-F238E27FC236}">
                  <a16:creationId xmlns:a16="http://schemas.microsoft.com/office/drawing/2014/main" id="{F311C074-973A-433C-8588-0F8431F4777C}"/>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sp>
        <p:nvSpPr>
          <p:cNvPr id="13" name="TextBox 12">
            <a:extLst>
              <a:ext uri="{FF2B5EF4-FFF2-40B4-BE49-F238E27FC236}">
                <a16:creationId xmlns:a16="http://schemas.microsoft.com/office/drawing/2014/main" id="{81EB2A1D-1471-4D6D-B030-726652BF16D3}"/>
              </a:ext>
            </a:extLst>
          </p:cNvPr>
          <p:cNvSpPr txBox="1"/>
          <p:nvPr/>
        </p:nvSpPr>
        <p:spPr>
          <a:xfrm>
            <a:off x="653699" y="998371"/>
            <a:ext cx="8178486" cy="3255315"/>
          </a:xfrm>
          <a:prstGeom prst="rect">
            <a:avLst/>
          </a:prstGeom>
          <a:noFill/>
        </p:spPr>
        <p:txBody>
          <a:bodyPr wrap="square" rtlCol="0">
            <a:spAutoFit/>
          </a:bodyPr>
          <a:lstStyle/>
          <a:p>
            <a:pPr marL="342900" indent="-342900">
              <a:lnSpc>
                <a:spcPct val="150000"/>
              </a:lnSpc>
              <a:spcBef>
                <a:spcPts val="600"/>
              </a:spcBef>
              <a:buFont typeface="+mj-lt"/>
              <a:buAutoNum type="arabicPeriod" startAt="2"/>
            </a:pPr>
            <a:r>
              <a:rPr lang="en-US" sz="2000" dirty="0">
                <a:solidFill>
                  <a:srgbClr val="FF5969"/>
                </a:solidFill>
                <a:latin typeface="Gotham Medium" panose="02000603030000020004" pitchFamily="2" charset="0"/>
              </a:rPr>
              <a:t>Candidates who have accepted the seat in CAP Round-I (Betterment) - </a:t>
            </a:r>
          </a:p>
          <a:p>
            <a:pPr marL="800100" lvl="1" indent="-342900">
              <a:lnSpc>
                <a:spcPct val="150000"/>
              </a:lnSpc>
              <a:buFont typeface="Wingdings" panose="05000000000000000000" pitchFamily="2" charset="2"/>
              <a:buChar char="§"/>
            </a:pPr>
            <a:r>
              <a:rPr lang="en-US" sz="2000" dirty="0">
                <a:latin typeface="Gotham Medium" panose="02000603030000020004" pitchFamily="2" charset="0"/>
              </a:rPr>
              <a:t>Visit the allotted college, pay the fee, submit original documents and confirm the admission</a:t>
            </a:r>
          </a:p>
          <a:p>
            <a:pPr marL="800100" lvl="1" indent="-342900">
              <a:lnSpc>
                <a:spcPct val="150000"/>
              </a:lnSpc>
              <a:buFont typeface="Wingdings" panose="05000000000000000000" pitchFamily="2" charset="2"/>
              <a:buChar char="§"/>
            </a:pPr>
            <a:r>
              <a:rPr lang="en-US" sz="2000" dirty="0">
                <a:latin typeface="Gotham Medium" panose="02000603030000020004" pitchFamily="2" charset="0"/>
              </a:rPr>
              <a:t>Take Acknowledge Receipt of Admission Confirmation from the college</a:t>
            </a:r>
          </a:p>
          <a:p>
            <a:pPr marL="800100" lvl="1" indent="-342900">
              <a:lnSpc>
                <a:spcPct val="150000"/>
              </a:lnSpc>
              <a:buFont typeface="Wingdings" panose="05000000000000000000" pitchFamily="2" charset="2"/>
              <a:buChar char="§"/>
            </a:pPr>
            <a:endParaRPr lang="en-US" sz="2000" dirty="0">
              <a:latin typeface="Gotham Medium" panose="02000603030000020004" pitchFamily="2" charset="0"/>
            </a:endParaRPr>
          </a:p>
        </p:txBody>
      </p:sp>
    </p:spTree>
    <p:extLst>
      <p:ext uri="{BB962C8B-B14F-4D97-AF65-F5344CB8AC3E}">
        <p14:creationId xmlns:p14="http://schemas.microsoft.com/office/powerpoint/2010/main" val="1493364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fade">
                                      <p:cBhvr>
                                        <p:cTn id="12" dur="500"/>
                                        <p:tgtEl>
                                          <p:spTgt spid="13">
                                            <p:txEl>
                                              <p:pRg st="1" end="1"/>
                                            </p:txEl>
                                          </p:spTgt>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3">
                                            <p:txEl>
                                              <p:pRg st="2" end="2"/>
                                            </p:txEl>
                                          </p:spTgt>
                                        </p:tgtEl>
                                        <p:attrNameLst>
                                          <p:attrName>style.visibility</p:attrName>
                                        </p:attrNameLst>
                                      </p:cBhvr>
                                      <p:to>
                                        <p:strVal val="visible"/>
                                      </p:to>
                                    </p:set>
                                    <p:animEffect transition="in" filter="fade">
                                      <p:cBhvr>
                                        <p:cTn id="16"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Shape 542"/>
        <p:cNvGrpSpPr/>
        <p:nvPr/>
      </p:nvGrpSpPr>
      <p:grpSpPr>
        <a:xfrm>
          <a:off x="0" y="0"/>
          <a:ext cx="0" cy="0"/>
          <a:chOff x="0" y="0"/>
          <a:chExt cx="0" cy="0"/>
        </a:xfrm>
      </p:grpSpPr>
      <p:sp>
        <p:nvSpPr>
          <p:cNvPr id="38" name="TextBox 37">
            <a:extLst>
              <a:ext uri="{FF2B5EF4-FFF2-40B4-BE49-F238E27FC236}">
                <a16:creationId xmlns:a16="http://schemas.microsoft.com/office/drawing/2014/main" id="{117670A0-D65A-4259-8272-110020E52C61}"/>
              </a:ext>
            </a:extLst>
          </p:cNvPr>
          <p:cNvSpPr txBox="1"/>
          <p:nvPr/>
        </p:nvSpPr>
        <p:spPr>
          <a:xfrm>
            <a:off x="2546495" y="869467"/>
            <a:ext cx="6597505" cy="4100033"/>
          </a:xfrm>
          <a:prstGeom prst="rect">
            <a:avLst/>
          </a:prstGeom>
          <a:noFill/>
        </p:spPr>
        <p:txBody>
          <a:bodyPr wrap="square" rtlCol="0">
            <a:spAutoFit/>
          </a:bodyPr>
          <a:lstStyle/>
          <a:p>
            <a:pPr marL="171450" indent="-171450">
              <a:lnSpc>
                <a:spcPct val="150000"/>
              </a:lnSpc>
              <a:buFont typeface="Wingdings" panose="05000000000000000000" pitchFamily="2" charset="2"/>
              <a:buChar char="§"/>
            </a:pPr>
            <a:r>
              <a:rPr lang="en-US" sz="1600" dirty="0">
                <a:latin typeface="Gotham Medium" panose="02000603030000020004" pitchFamily="2" charset="0"/>
              </a:rPr>
              <a:t>What is your SML Number?</a:t>
            </a:r>
          </a:p>
          <a:p>
            <a:pPr marL="171450" indent="-171450">
              <a:lnSpc>
                <a:spcPct val="150000"/>
              </a:lnSpc>
              <a:buFont typeface="Wingdings" panose="05000000000000000000" pitchFamily="2" charset="2"/>
              <a:buChar char="§"/>
            </a:pPr>
            <a:r>
              <a:rPr lang="en-US" sz="1600" dirty="0">
                <a:latin typeface="Gotham Medium" panose="02000603030000020004" pitchFamily="2" charset="0"/>
              </a:rPr>
              <a:t>What is the meaning of University Rank, Category Rank, Gender Rank.</a:t>
            </a:r>
          </a:p>
          <a:p>
            <a:pPr marL="171450" indent="-171450">
              <a:lnSpc>
                <a:spcPct val="150000"/>
              </a:lnSpc>
              <a:buFont typeface="Wingdings" panose="05000000000000000000" pitchFamily="2" charset="2"/>
              <a:buChar char="§"/>
            </a:pPr>
            <a:r>
              <a:rPr lang="en-US" sz="1600" dirty="0">
                <a:latin typeface="Gotham Medium" panose="02000603030000020004" pitchFamily="2" charset="0"/>
              </a:rPr>
              <a:t>With the SML Number what best you can get.</a:t>
            </a:r>
          </a:p>
          <a:p>
            <a:pPr marL="171450" indent="-171450">
              <a:lnSpc>
                <a:spcPct val="150000"/>
              </a:lnSpc>
              <a:buFont typeface="Wingdings" panose="05000000000000000000" pitchFamily="2" charset="2"/>
              <a:buChar char="§"/>
            </a:pPr>
            <a:r>
              <a:rPr lang="en-US" sz="1600" dirty="0">
                <a:latin typeface="Gotham Medium" panose="02000603030000020004" pitchFamily="2" charset="0"/>
              </a:rPr>
              <a:t>How to refine your Selected Options?</a:t>
            </a:r>
          </a:p>
          <a:p>
            <a:pPr marL="171450" indent="-171450">
              <a:lnSpc>
                <a:spcPct val="150000"/>
              </a:lnSpc>
              <a:buFont typeface="Wingdings" panose="05000000000000000000" pitchFamily="2" charset="2"/>
              <a:buChar char="§"/>
            </a:pPr>
            <a:r>
              <a:rPr lang="en-US" sz="1600" dirty="0">
                <a:latin typeface="Gotham Medium" panose="02000603030000020004" pitchFamily="2" charset="0"/>
              </a:rPr>
              <a:t>Whether importance is to be given to branch or college.</a:t>
            </a:r>
          </a:p>
          <a:p>
            <a:pPr marL="171450" indent="-171450">
              <a:lnSpc>
                <a:spcPct val="150000"/>
              </a:lnSpc>
              <a:buFont typeface="Wingdings" panose="05000000000000000000" pitchFamily="2" charset="2"/>
              <a:buChar char="§"/>
            </a:pPr>
            <a:r>
              <a:rPr lang="en-US" sz="1600" dirty="0">
                <a:latin typeface="Gotham Medium" panose="02000603030000020004" pitchFamily="2" charset="0"/>
              </a:rPr>
              <a:t>How to fill option form?</a:t>
            </a:r>
          </a:p>
          <a:p>
            <a:pPr marL="171450" indent="-171450">
              <a:lnSpc>
                <a:spcPct val="150000"/>
              </a:lnSpc>
              <a:buFont typeface="Wingdings" panose="05000000000000000000" pitchFamily="2" charset="2"/>
              <a:buChar char="§"/>
            </a:pPr>
            <a:r>
              <a:rPr lang="en-US" sz="1600" dirty="0">
                <a:latin typeface="Gotham Medium" panose="02000603030000020004" pitchFamily="2" charset="0"/>
              </a:rPr>
              <a:t>How to confirm option form?</a:t>
            </a:r>
          </a:p>
          <a:p>
            <a:pPr marL="171450" indent="-171450">
              <a:lnSpc>
                <a:spcPct val="150000"/>
              </a:lnSpc>
              <a:buFont typeface="Wingdings" panose="05000000000000000000" pitchFamily="2" charset="2"/>
              <a:buChar char="§"/>
            </a:pPr>
            <a:r>
              <a:rPr lang="en-US" sz="1600" dirty="0">
                <a:latin typeface="Gotham Medium" panose="02000603030000020004" pitchFamily="2" charset="0"/>
              </a:rPr>
              <a:t>What is to be done after allotment?</a:t>
            </a:r>
          </a:p>
          <a:p>
            <a:pPr marL="171450" indent="-171450">
              <a:lnSpc>
                <a:spcPct val="150000"/>
              </a:lnSpc>
              <a:buFont typeface="Wingdings" panose="05000000000000000000" pitchFamily="2" charset="2"/>
              <a:buChar char="§"/>
            </a:pPr>
            <a:r>
              <a:rPr lang="en-US" sz="1600" dirty="0">
                <a:latin typeface="Gotham Medium" panose="02000603030000020004" pitchFamily="2" charset="0"/>
              </a:rPr>
              <a:t>How to do the seat acceptance?</a:t>
            </a:r>
          </a:p>
          <a:p>
            <a:pPr marL="171450" indent="-171450">
              <a:lnSpc>
                <a:spcPct val="150000"/>
              </a:lnSpc>
              <a:buFont typeface="Wingdings" panose="05000000000000000000" pitchFamily="2" charset="2"/>
              <a:buChar char="§"/>
            </a:pPr>
            <a:r>
              <a:rPr lang="en-US" sz="1600" dirty="0">
                <a:latin typeface="Gotham Medium" panose="02000603030000020004" pitchFamily="2" charset="0"/>
              </a:rPr>
              <a:t>How to confirm admission at the allotted college?</a:t>
            </a:r>
          </a:p>
        </p:txBody>
      </p:sp>
      <p:sp>
        <p:nvSpPr>
          <p:cNvPr id="546" name="Google Shape;546;p32"/>
          <p:cNvSpPr/>
          <p:nvPr/>
        </p:nvSpPr>
        <p:spPr>
          <a:xfrm>
            <a:off x="228601" y="0"/>
            <a:ext cx="280307" cy="653721"/>
          </a:xfrm>
          <a:prstGeom prst="rect">
            <a:avLst/>
          </a:prstGeom>
          <a:solidFill>
            <a:srgbClr val="52CBBE"/>
          </a:solidFill>
          <a:ln>
            <a:noFill/>
          </a:ln>
        </p:spPr>
        <p:txBody>
          <a:bodyPr spcFirstLastPara="1" wrap="square" lIns="68569" tIns="34275" rIns="68569" bIns="34275" anchor="ctr" anchorCtr="0">
            <a:noAutofit/>
          </a:bodyPr>
          <a:lstStyle/>
          <a:p>
            <a:pPr algn="ctr"/>
            <a:endParaRPr sz="1350">
              <a:solidFill>
                <a:schemeClr val="lt1"/>
              </a:solidFill>
              <a:latin typeface="Quattrocento Sans"/>
              <a:ea typeface="Quattrocento Sans"/>
              <a:cs typeface="Quattrocento Sans"/>
              <a:sym typeface="Quattrocento Sans"/>
            </a:endParaRPr>
          </a:p>
        </p:txBody>
      </p:sp>
      <p:cxnSp>
        <p:nvCxnSpPr>
          <p:cNvPr id="547" name="Google Shape;547;p32"/>
          <p:cNvCxnSpPr/>
          <p:nvPr/>
        </p:nvCxnSpPr>
        <p:spPr>
          <a:xfrm>
            <a:off x="4410075" y="828546"/>
            <a:ext cx="4733925" cy="0"/>
          </a:xfrm>
          <a:prstGeom prst="straightConnector1">
            <a:avLst/>
          </a:prstGeom>
          <a:noFill/>
          <a:ln w="9525" cap="flat" cmpd="sng">
            <a:solidFill>
              <a:srgbClr val="92D050"/>
            </a:solidFill>
            <a:prstDash val="solid"/>
            <a:miter lim="800000"/>
            <a:headEnd type="none" w="sm" len="sm"/>
            <a:tailEnd type="none" w="sm" len="sm"/>
          </a:ln>
        </p:spPr>
      </p:cxnSp>
      <p:sp>
        <p:nvSpPr>
          <p:cNvPr id="548" name="Google Shape;548;p32"/>
          <p:cNvSpPr/>
          <p:nvPr/>
        </p:nvSpPr>
        <p:spPr>
          <a:xfrm>
            <a:off x="0" y="4969500"/>
            <a:ext cx="8303419" cy="114300"/>
          </a:xfrm>
          <a:prstGeom prst="rect">
            <a:avLst/>
          </a:prstGeom>
          <a:solidFill>
            <a:srgbClr val="D8D8D8"/>
          </a:solidFill>
          <a:ln>
            <a:noFill/>
          </a:ln>
        </p:spPr>
        <p:txBody>
          <a:bodyPr spcFirstLastPara="1" wrap="square" lIns="68569" tIns="34275" rIns="68569" bIns="34275" anchor="ctr" anchorCtr="0">
            <a:noAutofit/>
          </a:bodyPr>
          <a:lstStyle/>
          <a:p>
            <a:pPr algn="ctr"/>
            <a:endParaRPr sz="1350">
              <a:solidFill>
                <a:schemeClr val="lt1"/>
              </a:solidFill>
              <a:latin typeface="Quattrocento Sans"/>
              <a:ea typeface="Quattrocento Sans"/>
              <a:cs typeface="Quattrocento Sans"/>
              <a:sym typeface="Quattrocento Sans"/>
            </a:endParaRPr>
          </a:p>
        </p:txBody>
      </p:sp>
      <p:sp>
        <p:nvSpPr>
          <p:cNvPr id="549" name="Google Shape;549;p32"/>
          <p:cNvSpPr/>
          <p:nvPr/>
        </p:nvSpPr>
        <p:spPr>
          <a:xfrm>
            <a:off x="8586788" y="4733928"/>
            <a:ext cx="328613" cy="409573"/>
          </a:xfrm>
          <a:prstGeom prst="rect">
            <a:avLst/>
          </a:prstGeom>
          <a:solidFill>
            <a:srgbClr val="FF5969"/>
          </a:solidFill>
          <a:ln>
            <a:noFill/>
          </a:ln>
        </p:spPr>
        <p:txBody>
          <a:bodyPr spcFirstLastPara="1" wrap="square" lIns="68569" tIns="34275" rIns="68569" bIns="34275" anchor="ctr" anchorCtr="0">
            <a:noAutofit/>
          </a:bodyPr>
          <a:lstStyle/>
          <a:p>
            <a:pPr algn="ctr"/>
            <a:endParaRPr sz="1350" dirty="0">
              <a:latin typeface="Calibri"/>
              <a:ea typeface="Calibri"/>
              <a:cs typeface="Calibri"/>
              <a:sym typeface="Calibri"/>
            </a:endParaRPr>
          </a:p>
        </p:txBody>
      </p:sp>
      <p:sp>
        <p:nvSpPr>
          <p:cNvPr id="561" name="Google Shape;561;p32"/>
          <p:cNvSpPr/>
          <p:nvPr/>
        </p:nvSpPr>
        <p:spPr>
          <a:xfrm>
            <a:off x="561856" y="3371265"/>
            <a:ext cx="1307306" cy="90778"/>
          </a:xfrm>
          <a:prstGeom prst="rect">
            <a:avLst/>
          </a:prstGeom>
          <a:solidFill>
            <a:srgbClr val="92D050"/>
          </a:solidFill>
          <a:ln>
            <a:noFill/>
          </a:ln>
        </p:spPr>
        <p:txBody>
          <a:bodyPr spcFirstLastPara="1" wrap="square" lIns="68569" tIns="34275" rIns="68569" bIns="34275" anchor="ctr" anchorCtr="0">
            <a:noAutofit/>
          </a:bodyPr>
          <a:lstStyle/>
          <a:p>
            <a:pPr algn="ctr"/>
            <a:endParaRPr sz="1350" dirty="0">
              <a:solidFill>
                <a:schemeClr val="lt1"/>
              </a:solidFill>
              <a:latin typeface="Quattrocento Sans"/>
              <a:ea typeface="Quattrocento Sans"/>
              <a:cs typeface="Quattrocento Sans"/>
              <a:sym typeface="Quattrocento Sans"/>
            </a:endParaRPr>
          </a:p>
        </p:txBody>
      </p:sp>
      <p:sp>
        <p:nvSpPr>
          <p:cNvPr id="33" name="Title 1">
            <a:extLst>
              <a:ext uri="{FF2B5EF4-FFF2-40B4-BE49-F238E27FC236}">
                <a16:creationId xmlns:a16="http://schemas.microsoft.com/office/drawing/2014/main" id="{1BD8E234-5367-4333-933F-691E5DCE39A6}"/>
              </a:ext>
            </a:extLst>
          </p:cNvPr>
          <p:cNvSpPr txBox="1">
            <a:spLocks/>
          </p:cNvSpPr>
          <p:nvPr/>
        </p:nvSpPr>
        <p:spPr>
          <a:xfrm>
            <a:off x="609600" y="93766"/>
            <a:ext cx="7772400" cy="728759"/>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en-US" sz="2800" dirty="0">
                <a:solidFill>
                  <a:srgbClr val="FF5969"/>
                </a:solidFill>
                <a:latin typeface="Gotham Bold" panose="02000803030000020004" pitchFamily="2" charset="0"/>
              </a:rPr>
              <a:t>Next Seminar -</a:t>
            </a:r>
            <a:r>
              <a:rPr lang="en-US" altLang="en-US" sz="2000" dirty="0">
                <a:solidFill>
                  <a:srgbClr val="52CBBE"/>
                </a:solidFill>
                <a:latin typeface="Gotham Bold" panose="02000803030000020004" pitchFamily="2" charset="0"/>
              </a:rPr>
              <a:t>After Display of Merit List</a:t>
            </a:r>
            <a:endParaRPr lang="en-US" altLang="en-US" sz="2800" dirty="0">
              <a:solidFill>
                <a:srgbClr val="52CBBE"/>
              </a:solidFill>
              <a:latin typeface="Gotham Bold" panose="02000803030000020004" pitchFamily="2" charset="0"/>
            </a:endParaRPr>
          </a:p>
        </p:txBody>
      </p:sp>
      <p:pic>
        <p:nvPicPr>
          <p:cNvPr id="36" name="Google Shape;635;p34">
            <a:extLst>
              <a:ext uri="{FF2B5EF4-FFF2-40B4-BE49-F238E27FC236}">
                <a16:creationId xmlns:a16="http://schemas.microsoft.com/office/drawing/2014/main" id="{E38EE635-0CF2-48D8-8A97-173F67A00A41}"/>
              </a:ext>
            </a:extLst>
          </p:cNvPr>
          <p:cNvPicPr preferRelativeResize="0"/>
          <p:nvPr/>
        </p:nvPicPr>
        <p:blipFill rotWithShape="1">
          <a:blip r:embed="rId3">
            <a:alphaModFix/>
            <a:grayscl/>
          </a:blip>
          <a:srcRect/>
          <a:stretch/>
        </p:blipFill>
        <p:spPr>
          <a:xfrm>
            <a:off x="177666" y="1018158"/>
            <a:ext cx="2075687" cy="2157474"/>
          </a:xfrm>
          <a:prstGeom prst="rect">
            <a:avLst/>
          </a:prstGeom>
          <a:noFill/>
          <a:ln>
            <a:noFill/>
          </a:ln>
          <a:effectLst>
            <a:reflection stA="20000" endPos="20000" sy="-100000" algn="bl" rotWithShape="0"/>
          </a:effectLst>
        </p:spPr>
      </p:pic>
      <p:sp>
        <p:nvSpPr>
          <p:cNvPr id="19" name="TextBox 18">
            <a:extLst>
              <a:ext uri="{FF2B5EF4-FFF2-40B4-BE49-F238E27FC236}">
                <a16:creationId xmlns:a16="http://schemas.microsoft.com/office/drawing/2014/main" id="{582AF2DB-F9C0-4FAA-A293-4F560772C326}"/>
              </a:ext>
            </a:extLst>
          </p:cNvPr>
          <p:cNvSpPr txBox="1"/>
          <p:nvPr/>
        </p:nvSpPr>
        <p:spPr>
          <a:xfrm>
            <a:off x="177667" y="1972682"/>
            <a:ext cx="2075687" cy="923330"/>
          </a:xfrm>
          <a:prstGeom prst="rect">
            <a:avLst/>
          </a:prstGeom>
          <a:noFill/>
        </p:spPr>
        <p:txBody>
          <a:bodyPr wrap="square">
            <a:spAutoFit/>
          </a:bodyPr>
          <a:lstStyle/>
          <a:p>
            <a:pPr algn="ctr"/>
            <a:r>
              <a:rPr lang="en-US" sz="1800" b="1" dirty="0">
                <a:latin typeface="Gotham Medium" panose="02000603030000020004" pitchFamily="2" charset="0"/>
                <a:ea typeface="Livvic"/>
                <a:cs typeface="Livvic"/>
                <a:sym typeface="Livvic"/>
              </a:rPr>
              <a:t>3</a:t>
            </a:r>
            <a:r>
              <a:rPr lang="en-US" sz="1800" b="1" baseline="30000" dirty="0">
                <a:latin typeface="Gotham Medium" panose="02000603030000020004" pitchFamily="2" charset="0"/>
                <a:ea typeface="Livvic"/>
                <a:cs typeface="Livvic"/>
                <a:sym typeface="Livvic"/>
              </a:rPr>
              <a:t>rd</a:t>
            </a:r>
            <a:r>
              <a:rPr lang="en-US" sz="1800" b="1" dirty="0">
                <a:latin typeface="Gotham Medium" panose="02000603030000020004" pitchFamily="2" charset="0"/>
                <a:ea typeface="Livvic"/>
                <a:cs typeface="Livvic"/>
                <a:sym typeface="Livvic"/>
              </a:rPr>
              <a:t> Week of </a:t>
            </a:r>
          </a:p>
          <a:p>
            <a:pPr algn="ctr"/>
            <a:r>
              <a:rPr lang="en-US" sz="1800" b="1" dirty="0">
                <a:latin typeface="Gotham Medium" panose="02000603030000020004" pitchFamily="2" charset="0"/>
                <a:ea typeface="Livvic"/>
                <a:cs typeface="Livvic"/>
                <a:sym typeface="Livvic"/>
              </a:rPr>
              <a:t>November, </a:t>
            </a:r>
          </a:p>
          <a:p>
            <a:pPr algn="ctr"/>
            <a:r>
              <a:rPr lang="en-US" sz="1800" b="1" dirty="0">
                <a:latin typeface="Gotham Medium" panose="02000603030000020004" pitchFamily="2" charset="0"/>
                <a:ea typeface="Livvic"/>
                <a:cs typeface="Livvic"/>
                <a:sym typeface="Livvic"/>
              </a:rPr>
              <a:t>2021 </a:t>
            </a:r>
            <a:endParaRPr lang="en-IN" dirty="0"/>
          </a:p>
        </p:txBody>
      </p:sp>
      <p:sp>
        <p:nvSpPr>
          <p:cNvPr id="21" name="TextBox 20">
            <a:extLst>
              <a:ext uri="{FF2B5EF4-FFF2-40B4-BE49-F238E27FC236}">
                <a16:creationId xmlns:a16="http://schemas.microsoft.com/office/drawing/2014/main" id="{2FC49EB3-2F0A-408C-9955-A34F1459E8A5}"/>
              </a:ext>
            </a:extLst>
          </p:cNvPr>
          <p:cNvSpPr txBox="1"/>
          <p:nvPr/>
        </p:nvSpPr>
        <p:spPr>
          <a:xfrm>
            <a:off x="91495" y="3418943"/>
            <a:ext cx="2248030" cy="1031051"/>
          </a:xfrm>
          <a:prstGeom prst="rect">
            <a:avLst/>
          </a:prstGeom>
          <a:noFill/>
        </p:spPr>
        <p:txBody>
          <a:bodyPr wrap="square">
            <a:spAutoFit/>
          </a:bodyPr>
          <a:lstStyle/>
          <a:p>
            <a:pPr algn="ctr"/>
            <a:r>
              <a:rPr lang="en-US" sz="1200" b="1" dirty="0">
                <a:latin typeface="Gotham Medium" panose="02000603030000020004" pitchFamily="2" charset="0"/>
                <a:sym typeface="Livvic"/>
              </a:rPr>
              <a:t>Venue</a:t>
            </a:r>
            <a:r>
              <a:rPr lang="en-US" sz="1600" b="1" dirty="0">
                <a:latin typeface="Gotham Medium" panose="02000603030000020004" pitchFamily="2" charset="0"/>
                <a:sym typeface="Livvic"/>
              </a:rPr>
              <a:t>: </a:t>
            </a:r>
          </a:p>
          <a:p>
            <a:pPr algn="ctr"/>
            <a:r>
              <a:rPr lang="en-US" sz="1600" b="1" dirty="0">
                <a:latin typeface="Gotham Medium" panose="02000603030000020004" pitchFamily="2" charset="0"/>
                <a:sym typeface="Livvic"/>
              </a:rPr>
              <a:t>Seminar Hall, DYPCET, </a:t>
            </a:r>
          </a:p>
          <a:p>
            <a:pPr algn="ctr"/>
            <a:r>
              <a:rPr lang="en-US" sz="1100" dirty="0" err="1">
                <a:latin typeface="Gotham Medium" panose="02000603030000020004" pitchFamily="2" charset="0"/>
                <a:sym typeface="Livvic"/>
              </a:rPr>
              <a:t>Kasaba</a:t>
            </a:r>
            <a:r>
              <a:rPr lang="en-US" sz="1100" dirty="0">
                <a:latin typeface="Gotham Medium" panose="02000603030000020004" pitchFamily="2" charset="0"/>
                <a:sym typeface="Livvic"/>
              </a:rPr>
              <a:t> </a:t>
            </a:r>
            <a:r>
              <a:rPr lang="en-US" sz="1100" dirty="0" err="1">
                <a:latin typeface="Gotham Medium" panose="02000603030000020004" pitchFamily="2" charset="0"/>
                <a:sym typeface="Livvic"/>
              </a:rPr>
              <a:t>Bawada</a:t>
            </a:r>
            <a:endParaRPr lang="en-IN" sz="1600" dirty="0"/>
          </a:p>
        </p:txBody>
      </p:sp>
    </p:spTree>
    <p:extLst>
      <p:ext uri="{BB962C8B-B14F-4D97-AF65-F5344CB8AC3E}">
        <p14:creationId xmlns:p14="http://schemas.microsoft.com/office/powerpoint/2010/main" val="2960610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3A3970D-7406-43CD-B641-403ECB53BEBB}"/>
              </a:ext>
            </a:extLst>
          </p:cNvPr>
          <p:cNvSpPr/>
          <p:nvPr/>
        </p:nvSpPr>
        <p:spPr>
          <a:xfrm>
            <a:off x="6554019" y="1"/>
            <a:ext cx="2589980" cy="16547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l="23833" t="-1" r="17684" b="657"/>
          <a:stretch/>
        </p:blipFill>
        <p:spPr>
          <a:xfrm>
            <a:off x="7447656" y="1770323"/>
            <a:ext cx="1569388" cy="1620291"/>
          </a:xfrm>
          <a:prstGeom prst="rect">
            <a:avLst/>
          </a:prstGeom>
        </p:spPr>
      </p:pic>
      <p:grpSp>
        <p:nvGrpSpPr>
          <p:cNvPr id="2" name="Group 1"/>
          <p:cNvGrpSpPr/>
          <p:nvPr/>
        </p:nvGrpSpPr>
        <p:grpSpPr>
          <a:xfrm>
            <a:off x="4140926" y="156644"/>
            <a:ext cx="4876120" cy="4847650"/>
            <a:chOff x="131533" y="159335"/>
            <a:chExt cx="7632704" cy="6539330"/>
          </a:xfrm>
        </p:grpSpPr>
        <p:pic>
          <p:nvPicPr>
            <p:cNvPr id="41" name="Picture 26">
              <a:extLst>
                <a:ext uri="{FF2B5EF4-FFF2-40B4-BE49-F238E27FC236}">
                  <a16:creationId xmlns:a16="http://schemas.microsoft.com/office/drawing/2014/main" id="{2993FEC8-E991-40C1-84D1-83B839147A24}"/>
                </a:ext>
              </a:extLst>
            </p:cNvPr>
            <p:cNvPicPr>
              <a:picLocks noChangeAspect="1"/>
            </p:cNvPicPr>
            <p:nvPr/>
          </p:nvPicPr>
          <p:blipFill>
            <a:blip r:embed="rId3" cstate="print">
              <a:extLst>
                <a:ext uri="{BEBA8EAE-BF5A-486C-A8C5-ECC9F3942E4B}">
                  <a14:imgProps xmlns:a14="http://schemas.microsoft.com/office/drawing/2010/main">
                    <a14:imgLayer r:embed="rId4">
                      <a14:imgEffect>
                        <a14:sharpenSoften amount="50000"/>
                      </a14:imgEffect>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2720985" y="2336139"/>
              <a:ext cx="2453800" cy="218572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21">
              <a:extLst>
                <a:ext uri="{FF2B5EF4-FFF2-40B4-BE49-F238E27FC236}">
                  <a16:creationId xmlns:a16="http://schemas.microsoft.com/office/drawing/2014/main" id="{46253E36-0165-47AC-8A50-6F17F7478959}"/>
                </a:ext>
              </a:extLst>
            </p:cNvPr>
            <p:cNvPicPr>
              <a:picLocks noChangeAspect="1"/>
            </p:cNvPicPr>
            <p:nvPr/>
          </p:nvPicPr>
          <p:blipFill>
            <a:blip r:embed="rId5" cstate="print">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val="0"/>
                </a:ext>
              </a:extLst>
            </a:blip>
            <a:srcRect/>
            <a:stretch>
              <a:fillRect/>
            </a:stretch>
          </p:blipFill>
          <p:spPr bwMode="auto">
            <a:xfrm>
              <a:off x="4028963" y="4654143"/>
              <a:ext cx="3735274" cy="203965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25">
              <a:extLst>
                <a:ext uri="{FF2B5EF4-FFF2-40B4-BE49-F238E27FC236}">
                  <a16:creationId xmlns:a16="http://schemas.microsoft.com/office/drawing/2014/main" id="{E7D0BE3B-0F13-40BA-AA2A-640B93C73610}"/>
                </a:ext>
              </a:extLst>
            </p:cNvPr>
            <p:cNvPicPr>
              <a:picLocks noChangeAspect="1"/>
            </p:cNvPicPr>
            <p:nvPr/>
          </p:nvPicPr>
          <p:blipFill>
            <a:blip r:embed="rId7" cstate="print">
              <a:extLst>
                <a:ext uri="{BEBA8EAE-BF5A-486C-A8C5-ECC9F3942E4B}">
                  <a14:imgProps xmlns:a14="http://schemas.microsoft.com/office/drawing/2010/main">
                    <a14:imgLayer r:embed="rId8">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4028963" y="159335"/>
              <a:ext cx="3735273" cy="204452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11">
              <a:extLst>
                <a:ext uri="{FF2B5EF4-FFF2-40B4-BE49-F238E27FC236}">
                  <a16:creationId xmlns:a16="http://schemas.microsoft.com/office/drawing/2014/main" id="{617E6495-EC4E-442F-9C30-ED286BC40244}"/>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1533" y="4654142"/>
              <a:ext cx="3740185" cy="204452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26" name="Picture 2">
            <a:extLst>
              <a:ext uri="{FF2B5EF4-FFF2-40B4-BE49-F238E27FC236}">
                <a16:creationId xmlns:a16="http://schemas.microsoft.com/office/drawing/2014/main" id="{906ABDFB-FBD3-4DD4-910D-5C7281760B3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30781" y="3488674"/>
            <a:ext cx="2386262" cy="151201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11" cstate="print">
            <a:extLst>
              <a:ext uri="{28A0092B-C50C-407E-A947-70E740481C1C}">
                <a14:useLocalDpi xmlns:a14="http://schemas.microsoft.com/office/drawing/2010/main" val="0"/>
              </a:ext>
            </a:extLst>
          </a:blip>
          <a:srcRect l="24247" r="15801"/>
          <a:stretch/>
        </p:blipFill>
        <p:spPr>
          <a:xfrm>
            <a:off x="4139137" y="1770323"/>
            <a:ext cx="1571177" cy="1620291"/>
          </a:xfrm>
          <a:prstGeom prst="rect">
            <a:avLst/>
          </a:prstGeom>
        </p:spPr>
      </p:pic>
      <p:pic>
        <p:nvPicPr>
          <p:cNvPr id="3" name="Picture 2"/>
          <p:cNvPicPr>
            <a:picLocks noChangeAspect="1"/>
          </p:cNvPicPr>
          <p:nvPr/>
        </p:nvPicPr>
        <p:blipFill rotWithShape="1">
          <a:blip r:embed="rId12" cstate="print">
            <a:extLst>
              <a:ext uri="{28A0092B-C50C-407E-A947-70E740481C1C}">
                <a14:useLocalDpi xmlns:a14="http://schemas.microsoft.com/office/drawing/2010/main" val="0"/>
              </a:ext>
            </a:extLst>
          </a:blip>
          <a:srcRect b="5574"/>
          <a:stretch/>
        </p:blipFill>
        <p:spPr>
          <a:xfrm>
            <a:off x="4139779" y="159484"/>
            <a:ext cx="2390548" cy="1512778"/>
          </a:xfrm>
          <a:prstGeom prst="rect">
            <a:avLst/>
          </a:prstGeom>
        </p:spPr>
      </p:pic>
      <p:sp>
        <p:nvSpPr>
          <p:cNvPr id="23" name="Rectangle 22">
            <a:extLst>
              <a:ext uri="{FF2B5EF4-FFF2-40B4-BE49-F238E27FC236}">
                <a16:creationId xmlns:a16="http://schemas.microsoft.com/office/drawing/2014/main" id="{C63B2F05-B9A4-42FA-9DE1-4E4B120E90EB}"/>
              </a:ext>
            </a:extLst>
          </p:cNvPr>
          <p:cNvSpPr/>
          <p:nvPr/>
        </p:nvSpPr>
        <p:spPr>
          <a:xfrm>
            <a:off x="665437" y="1418261"/>
            <a:ext cx="3388829" cy="1428596"/>
          </a:xfrm>
          <a:prstGeom prst="rect">
            <a:avLst/>
          </a:prstGeom>
        </p:spPr>
        <p:txBody>
          <a:bodyPr wrap="square" lIns="0" tIns="0" rIns="0" bIns="0">
            <a:spAutoFit/>
          </a:bodyPr>
          <a:lstStyle/>
          <a:p>
            <a:pPr marL="214313" indent="-214313">
              <a:spcBef>
                <a:spcPts val="450"/>
              </a:spcBef>
              <a:buFont typeface="Wingdings" panose="05000000000000000000" pitchFamily="2" charset="2"/>
              <a:buChar char="§"/>
              <a:defRPr/>
            </a:pPr>
            <a:r>
              <a:rPr lang="en-US" sz="1200" dirty="0">
                <a:latin typeface="Gotham Medium" panose="02000603030000020004" pitchFamily="2" charset="0"/>
              </a:rPr>
              <a:t>172 Institutes</a:t>
            </a:r>
          </a:p>
          <a:p>
            <a:pPr marL="214313" indent="-214313">
              <a:spcBef>
                <a:spcPts val="450"/>
              </a:spcBef>
              <a:buFont typeface="Wingdings" panose="05000000000000000000" pitchFamily="2" charset="2"/>
              <a:buChar char="§"/>
              <a:defRPr/>
            </a:pPr>
            <a:r>
              <a:rPr lang="en-US" sz="1200" dirty="0">
                <a:latin typeface="Gotham Medium" panose="02000603030000020004" pitchFamily="2" charset="0"/>
              </a:rPr>
              <a:t>Three Deemed Universities</a:t>
            </a:r>
          </a:p>
          <a:p>
            <a:pPr marL="214313" indent="-214313">
              <a:spcBef>
                <a:spcPts val="450"/>
              </a:spcBef>
              <a:buFont typeface="Wingdings" panose="05000000000000000000" pitchFamily="2" charset="2"/>
              <a:buChar char="§"/>
              <a:defRPr/>
            </a:pPr>
            <a:r>
              <a:rPr lang="en-US" sz="1200" dirty="0">
                <a:latin typeface="Gotham Medium" panose="02000603030000020004" pitchFamily="2" charset="0"/>
              </a:rPr>
              <a:t>Four State Private Universities</a:t>
            </a:r>
          </a:p>
          <a:p>
            <a:pPr marL="214313" indent="-214313">
              <a:spcBef>
                <a:spcPts val="450"/>
              </a:spcBef>
              <a:buFont typeface="Wingdings" panose="05000000000000000000" pitchFamily="2" charset="2"/>
              <a:buChar char="§"/>
              <a:defRPr/>
            </a:pPr>
            <a:r>
              <a:rPr lang="en-US" sz="1200" dirty="0">
                <a:latin typeface="Gotham Medium" panose="02000603030000020004" pitchFamily="2" charset="0"/>
              </a:rPr>
              <a:t>2.5 Lacs + Alumni</a:t>
            </a:r>
          </a:p>
          <a:p>
            <a:pPr marL="214313" indent="-214313">
              <a:spcBef>
                <a:spcPts val="450"/>
              </a:spcBef>
              <a:buFont typeface="Wingdings" panose="05000000000000000000" pitchFamily="2" charset="2"/>
              <a:buChar char="§"/>
              <a:defRPr/>
            </a:pPr>
            <a:r>
              <a:rPr lang="en-US" sz="1200" dirty="0">
                <a:latin typeface="Gotham Medium" panose="02000603030000020004" pitchFamily="2" charset="0"/>
              </a:rPr>
              <a:t>12,000+ Employees</a:t>
            </a:r>
          </a:p>
          <a:p>
            <a:pPr marL="214313" indent="-214313">
              <a:spcBef>
                <a:spcPts val="450"/>
              </a:spcBef>
              <a:buFont typeface="Wingdings" panose="05000000000000000000" pitchFamily="2" charset="2"/>
              <a:buChar char="§"/>
              <a:defRPr/>
            </a:pPr>
            <a:r>
              <a:rPr lang="en-US" sz="1200" dirty="0">
                <a:latin typeface="Gotham Medium" panose="02000603030000020004" pitchFamily="2" charset="0"/>
              </a:rPr>
              <a:t>3 Universities &amp; 4 Institutes in NIRF 2021</a:t>
            </a:r>
          </a:p>
        </p:txBody>
      </p:sp>
      <p:sp>
        <p:nvSpPr>
          <p:cNvPr id="14" name="Rectangle 13">
            <a:extLst>
              <a:ext uri="{FF2B5EF4-FFF2-40B4-BE49-F238E27FC236}">
                <a16:creationId xmlns:a16="http://schemas.microsoft.com/office/drawing/2014/main" id="{79FE5283-B009-4EE3-A9B2-2F7A4D62AD40}"/>
              </a:ext>
            </a:extLst>
          </p:cNvPr>
          <p:cNvSpPr/>
          <p:nvPr/>
        </p:nvSpPr>
        <p:spPr>
          <a:xfrm>
            <a:off x="284735" y="851520"/>
            <a:ext cx="3286077" cy="415498"/>
          </a:xfrm>
          <a:prstGeom prst="rect">
            <a:avLst/>
          </a:prstGeom>
        </p:spPr>
        <p:txBody>
          <a:bodyPr wrap="square" lIns="0" tIns="0" rIns="0" bIns="0">
            <a:spAutoFit/>
          </a:bodyPr>
          <a:lstStyle/>
          <a:p>
            <a:pPr lvl="0">
              <a:defRPr/>
            </a:pPr>
            <a:r>
              <a:rPr lang="en-US" sz="1350" dirty="0">
                <a:solidFill>
                  <a:srgbClr val="302F33"/>
                </a:solidFill>
                <a:latin typeface="Gotham Medium" panose="02000603030000020004" pitchFamily="2" charset="0"/>
                <a:cs typeface="Segoe UI" panose="020B0502040204020203" pitchFamily="34" charset="0"/>
              </a:rPr>
              <a:t>Largest self-financed educational group in the state of Maharashtra</a:t>
            </a:r>
          </a:p>
        </p:txBody>
      </p:sp>
      <p:sp>
        <p:nvSpPr>
          <p:cNvPr id="15" name="Google Shape;144;p23"/>
          <p:cNvSpPr/>
          <p:nvPr/>
        </p:nvSpPr>
        <p:spPr>
          <a:xfrm>
            <a:off x="1" y="434570"/>
            <a:ext cx="117566" cy="832448"/>
          </a:xfrm>
          <a:prstGeom prst="rect">
            <a:avLst/>
          </a:prstGeom>
          <a:solidFill>
            <a:srgbClr val="FF5969"/>
          </a:solidFill>
          <a:ln>
            <a:noFill/>
          </a:ln>
        </p:spPr>
        <p:txBody>
          <a:bodyPr spcFirstLastPara="1" wrap="square" lIns="91425" tIns="91425" rIns="91425" bIns="91425" anchor="ctr" anchorCtr="0">
            <a:noAutofit/>
          </a:bodyPr>
          <a:lstStyle/>
          <a:p>
            <a:pPr defTabSz="914378">
              <a:buClr>
                <a:srgbClr val="000000"/>
              </a:buClr>
            </a:pPr>
            <a:endParaRPr sz="1400" kern="0">
              <a:solidFill>
                <a:srgbClr val="000000"/>
              </a:solidFill>
              <a:latin typeface="Arial"/>
              <a:cs typeface="Arial"/>
              <a:sym typeface="Arial"/>
            </a:endParaRPr>
          </a:p>
        </p:txBody>
      </p:sp>
      <p:sp>
        <p:nvSpPr>
          <p:cNvPr id="17" name="object 2"/>
          <p:cNvSpPr txBox="1">
            <a:spLocks/>
          </p:cNvSpPr>
          <p:nvPr/>
        </p:nvSpPr>
        <p:spPr>
          <a:xfrm>
            <a:off x="284735" y="430564"/>
            <a:ext cx="4144688" cy="367087"/>
          </a:xfrm>
          <a:prstGeom prst="rect">
            <a:avLst/>
          </a:prstGeom>
        </p:spPr>
        <p:txBody>
          <a:bodyPr vert="horz" wrap="square" lIns="0" tIns="7937" rIns="0" bIns="0" rtlCol="0">
            <a:sp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marL="7937">
              <a:lnSpc>
                <a:spcPts val="2794"/>
              </a:lnSpc>
              <a:spcBef>
                <a:spcPts val="62"/>
              </a:spcBef>
            </a:pPr>
            <a:r>
              <a:rPr lang="en-US" sz="2700" spc="-131" dirty="0">
                <a:solidFill>
                  <a:srgbClr val="1C3C6B"/>
                </a:solidFill>
                <a:latin typeface="Gotham Bold" panose="02000803030000020004" pitchFamily="2" charset="0"/>
              </a:rPr>
              <a:t>D. </a:t>
            </a:r>
            <a:r>
              <a:rPr lang="en-US" sz="2700" spc="-247" dirty="0">
                <a:solidFill>
                  <a:srgbClr val="1C3C6B"/>
                </a:solidFill>
                <a:latin typeface="Gotham Bold" panose="02000803030000020004" pitchFamily="2" charset="0"/>
              </a:rPr>
              <a:t>Y.  </a:t>
            </a:r>
            <a:r>
              <a:rPr lang="en-US" sz="2700" spc="-47" dirty="0" err="1">
                <a:solidFill>
                  <a:srgbClr val="1C3C6B"/>
                </a:solidFill>
                <a:latin typeface="Gotham Bold" panose="02000803030000020004" pitchFamily="2" charset="0"/>
              </a:rPr>
              <a:t>Patil</a:t>
            </a:r>
            <a:r>
              <a:rPr lang="en-US" sz="2700" spc="-91" dirty="0">
                <a:solidFill>
                  <a:srgbClr val="1C3C6B"/>
                </a:solidFill>
                <a:latin typeface="Gotham Bold" panose="02000803030000020004" pitchFamily="2" charset="0"/>
              </a:rPr>
              <a:t> </a:t>
            </a:r>
            <a:r>
              <a:rPr lang="en-US" sz="2700" spc="-38" dirty="0">
                <a:solidFill>
                  <a:srgbClr val="1C3C6B"/>
                </a:solidFill>
                <a:latin typeface="Gotham Bold" panose="02000803030000020004" pitchFamily="2" charset="0"/>
              </a:rPr>
              <a:t>Group</a:t>
            </a:r>
            <a:endParaRPr lang="en-US" sz="2700" dirty="0">
              <a:solidFill>
                <a:srgbClr val="1C3C6B"/>
              </a:solidFill>
              <a:latin typeface="Gotham Bold" panose="02000803030000020004" pitchFamily="2" charset="0"/>
            </a:endParaRPr>
          </a:p>
        </p:txBody>
      </p:sp>
      <p:sp>
        <p:nvSpPr>
          <p:cNvPr id="5" name="Rectangle 4"/>
          <p:cNvSpPr/>
          <p:nvPr/>
        </p:nvSpPr>
        <p:spPr>
          <a:xfrm>
            <a:off x="666585" y="3070972"/>
            <a:ext cx="2850746" cy="2059538"/>
          </a:xfrm>
          <a:prstGeom prst="rect">
            <a:avLst/>
          </a:prstGeom>
        </p:spPr>
        <p:txBody>
          <a:bodyPr wrap="square">
            <a:spAutoFit/>
          </a:bodyPr>
          <a:lstStyle/>
          <a:p>
            <a:pPr marL="214313" indent="-214313">
              <a:spcBef>
                <a:spcPts val="450"/>
              </a:spcBef>
              <a:buFont typeface="Wingdings" panose="05000000000000000000" pitchFamily="2" charset="2"/>
              <a:buChar char="§"/>
              <a:defRPr/>
            </a:pPr>
            <a:r>
              <a:rPr lang="en-US" sz="1050" dirty="0" err="1">
                <a:latin typeface="Gotham Medium" panose="02000603030000020004" pitchFamily="2" charset="0"/>
              </a:rPr>
              <a:t>Navi</a:t>
            </a:r>
            <a:r>
              <a:rPr lang="en-US" sz="1050" dirty="0">
                <a:latin typeface="Gotham Medium" panose="02000603030000020004" pitchFamily="2" charset="0"/>
              </a:rPr>
              <a:t> Mumbai  </a:t>
            </a:r>
          </a:p>
          <a:p>
            <a:pPr marL="214313" indent="-214313">
              <a:spcBef>
                <a:spcPts val="450"/>
              </a:spcBef>
              <a:buFont typeface="Wingdings" panose="05000000000000000000" pitchFamily="2" charset="2"/>
              <a:buChar char="§"/>
              <a:defRPr/>
            </a:pPr>
            <a:r>
              <a:rPr lang="en-US" sz="1050" dirty="0" err="1">
                <a:latin typeface="Gotham Medium" panose="02000603030000020004" pitchFamily="2" charset="0"/>
              </a:rPr>
              <a:t>Akurdi</a:t>
            </a:r>
            <a:r>
              <a:rPr lang="en-US" sz="1050" dirty="0">
                <a:latin typeface="Gotham Medium" panose="02000603030000020004" pitchFamily="2" charset="0"/>
              </a:rPr>
              <a:t>, Pune  </a:t>
            </a:r>
          </a:p>
          <a:p>
            <a:pPr marL="214313" indent="-214313">
              <a:spcBef>
                <a:spcPts val="450"/>
              </a:spcBef>
              <a:buFont typeface="Wingdings" panose="05000000000000000000" pitchFamily="2" charset="2"/>
              <a:buChar char="§"/>
              <a:defRPr/>
            </a:pPr>
            <a:r>
              <a:rPr lang="en-US" sz="1050" dirty="0" err="1">
                <a:latin typeface="Gotham Medium" panose="02000603030000020004" pitchFamily="2" charset="0"/>
              </a:rPr>
              <a:t>Pimpri</a:t>
            </a:r>
            <a:r>
              <a:rPr lang="en-US" sz="1050" dirty="0">
                <a:latin typeface="Gotham Medium" panose="02000603030000020004" pitchFamily="2" charset="0"/>
              </a:rPr>
              <a:t>, Pune  </a:t>
            </a:r>
          </a:p>
          <a:p>
            <a:pPr marL="214313" indent="-214313">
              <a:spcBef>
                <a:spcPts val="450"/>
              </a:spcBef>
              <a:buFont typeface="Wingdings" panose="05000000000000000000" pitchFamily="2" charset="2"/>
              <a:buChar char="§"/>
              <a:defRPr/>
            </a:pPr>
            <a:r>
              <a:rPr lang="en-US" sz="1050" dirty="0" err="1">
                <a:latin typeface="Gotham Medium" panose="02000603030000020004" pitchFamily="2" charset="0"/>
              </a:rPr>
              <a:t>Lohegaon</a:t>
            </a:r>
            <a:r>
              <a:rPr lang="en-US" sz="1050" dirty="0">
                <a:latin typeface="Gotham Medium" panose="02000603030000020004" pitchFamily="2" charset="0"/>
              </a:rPr>
              <a:t>, Pune</a:t>
            </a:r>
          </a:p>
          <a:p>
            <a:pPr marL="214313" indent="-214313">
              <a:spcBef>
                <a:spcPts val="450"/>
              </a:spcBef>
              <a:buFont typeface="Wingdings" panose="05000000000000000000" pitchFamily="2" charset="2"/>
              <a:buChar char="§"/>
              <a:defRPr/>
            </a:pPr>
            <a:r>
              <a:rPr lang="en-US" sz="1050" dirty="0" err="1">
                <a:latin typeface="Gotham Medium" panose="02000603030000020004" pitchFamily="2" charset="0"/>
              </a:rPr>
              <a:t>Talegaon</a:t>
            </a:r>
            <a:r>
              <a:rPr lang="en-US" sz="1050" dirty="0">
                <a:latin typeface="Gotham Medium" panose="02000603030000020004" pitchFamily="2" charset="0"/>
              </a:rPr>
              <a:t>, Pune  </a:t>
            </a:r>
          </a:p>
          <a:p>
            <a:pPr marL="214313" indent="-214313">
              <a:spcBef>
                <a:spcPts val="450"/>
              </a:spcBef>
              <a:buFont typeface="Wingdings" panose="05000000000000000000" pitchFamily="2" charset="2"/>
              <a:buChar char="§"/>
              <a:defRPr/>
            </a:pPr>
            <a:r>
              <a:rPr lang="en-US" sz="1050" dirty="0" err="1">
                <a:latin typeface="Gotham Medium" panose="02000603030000020004" pitchFamily="2" charset="0"/>
              </a:rPr>
              <a:t>Kasaba</a:t>
            </a:r>
            <a:r>
              <a:rPr lang="en-US" sz="1050" dirty="0">
                <a:latin typeface="Gotham Medium" panose="02000603030000020004" pitchFamily="2" charset="0"/>
              </a:rPr>
              <a:t> </a:t>
            </a:r>
            <a:r>
              <a:rPr lang="en-US" sz="1050" dirty="0" err="1">
                <a:latin typeface="Gotham Medium" panose="02000603030000020004" pitchFamily="2" charset="0"/>
              </a:rPr>
              <a:t>Bawada,Kolhapur</a:t>
            </a:r>
            <a:endParaRPr lang="en-US" sz="1050" dirty="0">
              <a:latin typeface="Gotham Medium" panose="02000603030000020004" pitchFamily="2" charset="0"/>
            </a:endParaRPr>
          </a:p>
          <a:p>
            <a:pPr marL="214313" indent="-214313">
              <a:spcBef>
                <a:spcPts val="450"/>
              </a:spcBef>
              <a:buFont typeface="Wingdings" panose="05000000000000000000" pitchFamily="2" charset="2"/>
              <a:buChar char="§"/>
              <a:defRPr/>
            </a:pPr>
            <a:r>
              <a:rPr lang="en-US" sz="1050" dirty="0" err="1">
                <a:latin typeface="Gotham Medium" panose="02000603030000020004" pitchFamily="2" charset="0"/>
              </a:rPr>
              <a:t>Talsande</a:t>
            </a:r>
            <a:r>
              <a:rPr lang="en-US" sz="1050" dirty="0">
                <a:latin typeface="Gotham Medium" panose="02000603030000020004" pitchFamily="2" charset="0"/>
              </a:rPr>
              <a:t>, Kolhapur</a:t>
            </a:r>
          </a:p>
          <a:p>
            <a:pPr marL="214313" indent="-214313">
              <a:spcBef>
                <a:spcPts val="450"/>
              </a:spcBef>
              <a:buFont typeface="Wingdings" panose="05000000000000000000" pitchFamily="2" charset="2"/>
              <a:buChar char="§"/>
              <a:defRPr/>
            </a:pPr>
            <a:r>
              <a:rPr lang="en-US" sz="1050" dirty="0" err="1">
                <a:latin typeface="Gotham Medium" panose="02000603030000020004" pitchFamily="2" charset="0"/>
              </a:rPr>
              <a:t>Salokhe</a:t>
            </a:r>
            <a:r>
              <a:rPr lang="en-US" sz="1050" dirty="0">
                <a:latin typeface="Gotham Medium" panose="02000603030000020004" pitchFamily="2" charset="0"/>
              </a:rPr>
              <a:t> Nagar, Kolhapur </a:t>
            </a:r>
          </a:p>
          <a:p>
            <a:pPr marL="214313" indent="-214313">
              <a:spcBef>
                <a:spcPts val="450"/>
              </a:spcBef>
              <a:buFont typeface="Wingdings" panose="05000000000000000000" pitchFamily="2" charset="2"/>
              <a:buChar char="§"/>
              <a:defRPr/>
            </a:pPr>
            <a:r>
              <a:rPr lang="en-US" sz="1050" dirty="0" err="1">
                <a:latin typeface="Gotham Medium" panose="02000603030000020004" pitchFamily="2" charset="0"/>
              </a:rPr>
              <a:t>Gargoti</a:t>
            </a:r>
            <a:r>
              <a:rPr lang="en-US" sz="1050" dirty="0">
                <a:latin typeface="Gotham Medium" panose="02000603030000020004" pitchFamily="2" charset="0"/>
              </a:rPr>
              <a:t>, Kolhapur </a:t>
            </a:r>
          </a:p>
        </p:txBody>
      </p:sp>
      <p:sp>
        <p:nvSpPr>
          <p:cNvPr id="7" name="Rectangle 6"/>
          <p:cNvSpPr/>
          <p:nvPr/>
        </p:nvSpPr>
        <p:spPr>
          <a:xfrm>
            <a:off x="579925" y="2814796"/>
            <a:ext cx="1561646" cy="300082"/>
          </a:xfrm>
          <a:prstGeom prst="rect">
            <a:avLst/>
          </a:prstGeom>
        </p:spPr>
        <p:txBody>
          <a:bodyPr wrap="none">
            <a:spAutoFit/>
          </a:bodyPr>
          <a:lstStyle/>
          <a:p>
            <a:pPr lvl="0">
              <a:defRPr/>
            </a:pPr>
            <a:r>
              <a:rPr lang="en-US" sz="1350" b="1" dirty="0">
                <a:solidFill>
                  <a:srgbClr val="FF5969"/>
                </a:solidFill>
                <a:latin typeface="Gotham Medium" panose="02000603030000020004" pitchFamily="2" charset="0"/>
              </a:rPr>
              <a:t>Our Campuses :</a:t>
            </a:r>
          </a:p>
        </p:txBody>
      </p:sp>
      <p:pic>
        <p:nvPicPr>
          <p:cNvPr id="8" name="Picture 7"/>
          <p:cNvPicPr>
            <a:picLocks noChangeAspect="1"/>
          </p:cNvPicPr>
          <p:nvPr/>
        </p:nvPicPr>
        <p:blipFill rotWithShape="1">
          <a:blip r:embed="rId13" cstate="print">
            <a:extLst>
              <a:ext uri="{28A0092B-C50C-407E-A947-70E740481C1C}">
                <a14:useLocalDpi xmlns:a14="http://schemas.microsoft.com/office/drawing/2010/main" val="0"/>
              </a:ext>
            </a:extLst>
          </a:blip>
          <a:srcRect b="14769"/>
          <a:stretch/>
        </p:blipFill>
        <p:spPr>
          <a:xfrm>
            <a:off x="6630782" y="156644"/>
            <a:ext cx="2386263" cy="1515618"/>
          </a:xfrm>
          <a:prstGeom prst="rect">
            <a:avLst/>
          </a:prstGeom>
        </p:spPr>
      </p:pic>
    </p:spTree>
    <p:extLst>
      <p:ext uri="{BB962C8B-B14F-4D97-AF65-F5344CB8AC3E}">
        <p14:creationId xmlns:p14="http://schemas.microsoft.com/office/powerpoint/2010/main" val="43096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C41E9-0CB4-42B9-B5FB-717F9FEE22B6}"/>
              </a:ext>
            </a:extLst>
          </p:cNvPr>
          <p:cNvSpPr txBox="1">
            <a:spLocks/>
          </p:cNvSpPr>
          <p:nvPr/>
        </p:nvSpPr>
        <p:spPr>
          <a:xfrm>
            <a:off x="762001" y="310304"/>
            <a:ext cx="8025066" cy="883864"/>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2800" dirty="0">
                <a:solidFill>
                  <a:srgbClr val="FF5969"/>
                </a:solidFill>
                <a:latin typeface="Gotham Bold" panose="02000803030000020004" pitchFamily="2" charset="0"/>
              </a:rPr>
              <a:t>Which Domains Have </a:t>
            </a:r>
            <a:br>
              <a:rPr lang="en-US" sz="2800" dirty="0">
                <a:solidFill>
                  <a:srgbClr val="FF5969"/>
                </a:solidFill>
                <a:latin typeface="Gotham Bold" panose="02000803030000020004" pitchFamily="2" charset="0"/>
              </a:rPr>
            </a:br>
            <a:r>
              <a:rPr lang="en-US" sz="2800" dirty="0">
                <a:solidFill>
                  <a:srgbClr val="FF5969"/>
                </a:solidFill>
                <a:latin typeface="Gotham Bold" panose="02000803030000020004" pitchFamily="2" charset="0"/>
              </a:rPr>
              <a:t>More Employable Talent?</a:t>
            </a:r>
          </a:p>
        </p:txBody>
      </p:sp>
      <p:sp>
        <p:nvSpPr>
          <p:cNvPr id="4" name="Rectangle 3">
            <a:extLst>
              <a:ext uri="{FF2B5EF4-FFF2-40B4-BE49-F238E27FC236}">
                <a16:creationId xmlns:a16="http://schemas.microsoft.com/office/drawing/2014/main" id="{845C5EEB-5159-4629-9568-F22ED1B108D9}"/>
              </a:ext>
            </a:extLst>
          </p:cNvPr>
          <p:cNvSpPr/>
          <p:nvPr/>
        </p:nvSpPr>
        <p:spPr>
          <a:xfrm>
            <a:off x="356933" y="-2"/>
            <a:ext cx="156881" cy="5142251"/>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7" name="Rectangle 6">
            <a:extLst>
              <a:ext uri="{FF2B5EF4-FFF2-40B4-BE49-F238E27FC236}">
                <a16:creationId xmlns:a16="http://schemas.microsoft.com/office/drawing/2014/main" id="{02E9182E-0048-4220-BE33-C57F639C4F6F}"/>
              </a:ext>
            </a:extLst>
          </p:cNvPr>
          <p:cNvSpPr/>
          <p:nvPr/>
        </p:nvSpPr>
        <p:spPr>
          <a:xfrm flipH="1">
            <a:off x="455562" y="399591"/>
            <a:ext cx="116504" cy="705287"/>
          </a:xfrm>
          <a:prstGeom prst="rect">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pic>
        <p:nvPicPr>
          <p:cNvPr id="8" name="Picture 2">
            <a:extLst>
              <a:ext uri="{FF2B5EF4-FFF2-40B4-BE49-F238E27FC236}">
                <a16:creationId xmlns:a16="http://schemas.microsoft.com/office/drawing/2014/main" id="{DDB2AD9B-E560-4026-B052-5D993699739B}"/>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t="20686" b="8262"/>
          <a:stretch/>
        </p:blipFill>
        <p:spPr bwMode="auto">
          <a:xfrm>
            <a:off x="591116" y="1194168"/>
            <a:ext cx="8213795" cy="3815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493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58DCB7-2107-4AF9-92C8-E09988C0D2C4}"/>
              </a:ext>
            </a:extLst>
          </p:cNvPr>
          <p:cNvSpPr/>
          <p:nvPr/>
        </p:nvSpPr>
        <p:spPr>
          <a:xfrm>
            <a:off x="157863" y="355600"/>
            <a:ext cx="163326" cy="478155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9" name="TextBox 8">
            <a:extLst>
              <a:ext uri="{FF2B5EF4-FFF2-40B4-BE49-F238E27FC236}">
                <a16:creationId xmlns:a16="http://schemas.microsoft.com/office/drawing/2014/main" id="{99B5D18A-EC25-443C-958D-C82EC27EF3A2}"/>
              </a:ext>
            </a:extLst>
          </p:cNvPr>
          <p:cNvSpPr txBox="1"/>
          <p:nvPr/>
        </p:nvSpPr>
        <p:spPr>
          <a:xfrm>
            <a:off x="533399" y="898594"/>
            <a:ext cx="8610600" cy="2816156"/>
          </a:xfrm>
          <a:prstGeom prst="rect">
            <a:avLst/>
          </a:prstGeom>
          <a:noFill/>
        </p:spPr>
        <p:txBody>
          <a:bodyPr wrap="square" rtlCol="0">
            <a:spAutoFit/>
          </a:bodyPr>
          <a:lstStyle/>
          <a:p>
            <a:pPr marL="171450" indent="-171450">
              <a:lnSpc>
                <a:spcPct val="150000"/>
              </a:lnSpc>
              <a:spcBef>
                <a:spcPts val="600"/>
              </a:spcBef>
              <a:buFont typeface="Wingdings" panose="05000000000000000000" pitchFamily="2" charset="2"/>
              <a:buChar char="§"/>
            </a:pPr>
            <a:r>
              <a:rPr lang="en-US" sz="1400" dirty="0">
                <a:latin typeface="Gotham Medium" panose="02000603030000020004" pitchFamily="2" charset="0"/>
              </a:rPr>
              <a:t>Industry Based Curriculum Under Autonomy</a:t>
            </a:r>
          </a:p>
          <a:p>
            <a:pPr marL="171450" indent="-171450">
              <a:lnSpc>
                <a:spcPct val="150000"/>
              </a:lnSpc>
              <a:spcBef>
                <a:spcPts val="600"/>
              </a:spcBef>
              <a:buFont typeface="Wingdings" panose="05000000000000000000" pitchFamily="2" charset="2"/>
              <a:buChar char="§"/>
            </a:pPr>
            <a:r>
              <a:rPr lang="en-US" sz="1400" dirty="0">
                <a:latin typeface="Gotham Medium" panose="02000603030000020004" pitchFamily="2" charset="0"/>
              </a:rPr>
              <a:t>Foreign Language Training in Japanese, German &amp; French</a:t>
            </a:r>
          </a:p>
          <a:p>
            <a:pPr marL="171450" indent="-171450">
              <a:lnSpc>
                <a:spcPct val="150000"/>
              </a:lnSpc>
              <a:spcBef>
                <a:spcPts val="600"/>
              </a:spcBef>
              <a:buFont typeface="Wingdings" panose="05000000000000000000" pitchFamily="2" charset="2"/>
              <a:buChar char="§"/>
            </a:pPr>
            <a:r>
              <a:rPr lang="en-US" sz="1400" dirty="0">
                <a:latin typeface="Gotham Medium" panose="02000603030000020004" pitchFamily="2" charset="0"/>
              </a:rPr>
              <a:t>400 Hours Compulsory Training on Coding to Students of all Branches </a:t>
            </a:r>
          </a:p>
          <a:p>
            <a:pPr marL="171450" indent="-171450">
              <a:lnSpc>
                <a:spcPct val="150000"/>
              </a:lnSpc>
              <a:spcBef>
                <a:spcPts val="600"/>
              </a:spcBef>
              <a:buFont typeface="Wingdings" panose="05000000000000000000" pitchFamily="2" charset="2"/>
              <a:buChar char="§"/>
            </a:pPr>
            <a:r>
              <a:rPr lang="en-US" sz="1400" dirty="0">
                <a:latin typeface="Gotham Medium" panose="02000603030000020004" pitchFamily="2" charset="0"/>
              </a:rPr>
              <a:t>Mandatory Soft Skill Training for Job Enhancement in all Eight Semesters</a:t>
            </a:r>
          </a:p>
          <a:p>
            <a:pPr marL="171450" indent="-171450">
              <a:lnSpc>
                <a:spcPct val="150000"/>
              </a:lnSpc>
              <a:spcBef>
                <a:spcPts val="600"/>
              </a:spcBef>
              <a:buFont typeface="Wingdings" panose="05000000000000000000" pitchFamily="2" charset="2"/>
              <a:buChar char="§"/>
            </a:pPr>
            <a:r>
              <a:rPr lang="en-US" sz="1400" dirty="0">
                <a:latin typeface="Gotham Medium" panose="02000603030000020004" pitchFamily="2" charset="0"/>
              </a:rPr>
              <a:t>Students Clubs for Coding, Higher Education, Robotics, Photography, Arts &amp; Crafts</a:t>
            </a:r>
          </a:p>
          <a:p>
            <a:pPr marL="171450" indent="-171450">
              <a:lnSpc>
                <a:spcPct val="150000"/>
              </a:lnSpc>
              <a:spcBef>
                <a:spcPts val="600"/>
              </a:spcBef>
              <a:buFont typeface="Wingdings" panose="05000000000000000000" pitchFamily="2" charset="2"/>
              <a:buChar char="§"/>
            </a:pPr>
            <a:r>
              <a:rPr lang="en-US" sz="1400" dirty="0">
                <a:latin typeface="Gotham Medium" panose="02000603030000020004" pitchFamily="2" charset="0"/>
              </a:rPr>
              <a:t>42 Gold Medals and 252 Ranks at Shivaji University Exams Till Date</a:t>
            </a:r>
          </a:p>
          <a:p>
            <a:pPr marL="171450" indent="-171450">
              <a:lnSpc>
                <a:spcPct val="150000"/>
              </a:lnSpc>
              <a:spcBef>
                <a:spcPts val="600"/>
              </a:spcBef>
              <a:buFont typeface="Wingdings" panose="05000000000000000000" pitchFamily="2" charset="2"/>
              <a:buChar char="§"/>
            </a:pPr>
            <a:r>
              <a:rPr lang="en-US" sz="1400" dirty="0">
                <a:solidFill>
                  <a:srgbClr val="FF5969"/>
                </a:solidFill>
                <a:latin typeface="Gotham Medium" panose="02000603030000020004" pitchFamily="2" charset="0"/>
              </a:rPr>
              <a:t>Bus Facility from – </a:t>
            </a:r>
            <a:r>
              <a:rPr lang="en-US" sz="1400" dirty="0" err="1">
                <a:solidFill>
                  <a:srgbClr val="FF5969"/>
                </a:solidFill>
                <a:latin typeface="Gotham Medium" panose="02000603030000020004" pitchFamily="2" charset="0"/>
              </a:rPr>
              <a:t>Bhogavati</a:t>
            </a:r>
            <a:r>
              <a:rPr lang="en-US" sz="1400" dirty="0">
                <a:solidFill>
                  <a:srgbClr val="FF5969"/>
                </a:solidFill>
                <a:latin typeface="Gotham Medium" panose="02000603030000020004" pitchFamily="2" charset="0"/>
              </a:rPr>
              <a:t>, </a:t>
            </a:r>
            <a:r>
              <a:rPr lang="en-US" sz="1400" dirty="0" err="1">
                <a:solidFill>
                  <a:srgbClr val="FF5969"/>
                </a:solidFill>
                <a:latin typeface="Gotham Medium" panose="02000603030000020004" pitchFamily="2" charset="0"/>
              </a:rPr>
              <a:t>Sangli</a:t>
            </a:r>
            <a:r>
              <a:rPr lang="en-US" sz="1400" dirty="0">
                <a:solidFill>
                  <a:srgbClr val="FF5969"/>
                </a:solidFill>
                <a:latin typeface="Gotham Medium" panose="02000603030000020004" pitchFamily="2" charset="0"/>
              </a:rPr>
              <a:t>, </a:t>
            </a:r>
            <a:r>
              <a:rPr lang="en-US" sz="1400" dirty="0" err="1">
                <a:solidFill>
                  <a:srgbClr val="FF5969"/>
                </a:solidFill>
                <a:latin typeface="Gotham Medium" panose="02000603030000020004" pitchFamily="2" charset="0"/>
              </a:rPr>
              <a:t>Ichalkaranji</a:t>
            </a:r>
            <a:r>
              <a:rPr lang="en-US" sz="1400" dirty="0">
                <a:solidFill>
                  <a:srgbClr val="FF5969"/>
                </a:solidFill>
                <a:latin typeface="Gotham Medium" panose="02000603030000020004" pitchFamily="2" charset="0"/>
              </a:rPr>
              <a:t>, </a:t>
            </a:r>
            <a:r>
              <a:rPr lang="en-US" sz="1400" dirty="0" err="1">
                <a:solidFill>
                  <a:srgbClr val="FF5969"/>
                </a:solidFill>
                <a:latin typeface="Gotham Medium" panose="02000603030000020004" pitchFamily="2" charset="0"/>
              </a:rPr>
              <a:t>Kuditre</a:t>
            </a:r>
            <a:r>
              <a:rPr lang="en-US" sz="1400" dirty="0">
                <a:solidFill>
                  <a:srgbClr val="FF5969"/>
                </a:solidFill>
                <a:latin typeface="Gotham Medium" panose="02000603030000020004" pitchFamily="2" charset="0"/>
              </a:rPr>
              <a:t>, </a:t>
            </a:r>
            <a:r>
              <a:rPr lang="en-US" sz="1400" dirty="0" err="1">
                <a:solidFill>
                  <a:srgbClr val="FF5969"/>
                </a:solidFill>
                <a:latin typeface="Gotham Medium" panose="02000603030000020004" pitchFamily="2" charset="0"/>
              </a:rPr>
              <a:t>Kagal</a:t>
            </a:r>
            <a:r>
              <a:rPr lang="en-US" sz="1400" dirty="0">
                <a:solidFill>
                  <a:srgbClr val="FF5969"/>
                </a:solidFill>
                <a:latin typeface="Gotham Medium" panose="02000603030000020004" pitchFamily="2" charset="0"/>
              </a:rPr>
              <a:t>.</a:t>
            </a:r>
          </a:p>
        </p:txBody>
      </p:sp>
      <p:pic>
        <p:nvPicPr>
          <p:cNvPr id="10" name="Picture 9">
            <a:extLst>
              <a:ext uri="{FF2B5EF4-FFF2-40B4-BE49-F238E27FC236}">
                <a16:creationId xmlns:a16="http://schemas.microsoft.com/office/drawing/2014/main" id="{E74E8D33-D6C4-4565-8C21-BBCDF04BAA79}"/>
              </a:ext>
            </a:extLst>
          </p:cNvPr>
          <p:cNvPicPr>
            <a:picLocks noChangeAspect="1"/>
          </p:cNvPicPr>
          <p:nvPr/>
        </p:nvPicPr>
        <p:blipFill rotWithShape="1">
          <a:blip r:embed="rId2">
            <a:extLst>
              <a:ext uri="{28A0092B-C50C-407E-A947-70E740481C1C}">
                <a14:useLocalDpi xmlns:a14="http://schemas.microsoft.com/office/drawing/2010/main" val="0"/>
              </a:ext>
            </a:extLst>
          </a:blip>
          <a:srcRect l="13571" t="73825" r="13103" b="16030"/>
          <a:stretch/>
        </p:blipFill>
        <p:spPr>
          <a:xfrm>
            <a:off x="609600" y="4168472"/>
            <a:ext cx="3623887" cy="827720"/>
          </a:xfrm>
          <a:prstGeom prst="rect">
            <a:avLst/>
          </a:prstGeom>
        </p:spPr>
      </p:pic>
      <p:pic>
        <p:nvPicPr>
          <p:cNvPr id="11" name="Picture 10">
            <a:extLst>
              <a:ext uri="{FF2B5EF4-FFF2-40B4-BE49-F238E27FC236}">
                <a16:creationId xmlns:a16="http://schemas.microsoft.com/office/drawing/2014/main" id="{7B6A17AC-6CB7-47C9-84E4-454541BD3CEA}"/>
              </a:ext>
            </a:extLst>
          </p:cNvPr>
          <p:cNvPicPr>
            <a:picLocks noChangeAspect="1"/>
          </p:cNvPicPr>
          <p:nvPr/>
        </p:nvPicPr>
        <p:blipFill rotWithShape="1">
          <a:blip r:embed="rId2">
            <a:extLst>
              <a:ext uri="{28A0092B-C50C-407E-A947-70E740481C1C}">
                <a14:useLocalDpi xmlns:a14="http://schemas.microsoft.com/office/drawing/2010/main" val="0"/>
              </a:ext>
            </a:extLst>
          </a:blip>
          <a:srcRect t="84944" b="2115"/>
          <a:stretch/>
        </p:blipFill>
        <p:spPr>
          <a:xfrm>
            <a:off x="4718937" y="4168472"/>
            <a:ext cx="4019355" cy="879872"/>
          </a:xfrm>
          <a:prstGeom prst="rect">
            <a:avLst/>
          </a:prstGeom>
        </p:spPr>
      </p:pic>
      <p:sp>
        <p:nvSpPr>
          <p:cNvPr id="12" name="Title 1">
            <a:extLst>
              <a:ext uri="{FF2B5EF4-FFF2-40B4-BE49-F238E27FC236}">
                <a16:creationId xmlns:a16="http://schemas.microsoft.com/office/drawing/2014/main" id="{BAB695F5-E744-41CB-BCDD-C27046FDE302}"/>
              </a:ext>
            </a:extLst>
          </p:cNvPr>
          <p:cNvSpPr txBox="1">
            <a:spLocks/>
          </p:cNvSpPr>
          <p:nvPr/>
        </p:nvSpPr>
        <p:spPr>
          <a:xfrm>
            <a:off x="457200" y="187489"/>
            <a:ext cx="8305800"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en-US" sz="2800" dirty="0">
                <a:solidFill>
                  <a:srgbClr val="FF5969"/>
                </a:solidFill>
                <a:latin typeface="Gotham Bold" panose="02000803030000020004" pitchFamily="2" charset="0"/>
              </a:rPr>
              <a:t>Why DYPCET </a:t>
            </a:r>
            <a:r>
              <a:rPr lang="en-US" altLang="en-US" sz="2800" dirty="0">
                <a:solidFill>
                  <a:srgbClr val="52CBBE"/>
                </a:solidFill>
                <a:latin typeface="Gotham Bold" panose="02000803030000020004" pitchFamily="2" charset="0"/>
              </a:rPr>
              <a:t>(Autonomous), </a:t>
            </a:r>
            <a:r>
              <a:rPr lang="en-US" altLang="en-US" sz="1800" dirty="0" err="1">
                <a:solidFill>
                  <a:srgbClr val="FF5969"/>
                </a:solidFill>
                <a:latin typeface="Gotham Bold" panose="02000803030000020004" pitchFamily="2" charset="0"/>
              </a:rPr>
              <a:t>Kasaba</a:t>
            </a:r>
            <a:r>
              <a:rPr lang="en-US" altLang="en-US" sz="1800" dirty="0">
                <a:solidFill>
                  <a:srgbClr val="FF5969"/>
                </a:solidFill>
                <a:latin typeface="Gotham Bold" panose="02000803030000020004" pitchFamily="2" charset="0"/>
              </a:rPr>
              <a:t> </a:t>
            </a:r>
            <a:r>
              <a:rPr lang="en-US" altLang="en-US" sz="1800" dirty="0" err="1">
                <a:solidFill>
                  <a:srgbClr val="FF5969"/>
                </a:solidFill>
                <a:latin typeface="Gotham Bold" panose="02000803030000020004" pitchFamily="2" charset="0"/>
              </a:rPr>
              <a:t>Bawada</a:t>
            </a:r>
            <a:r>
              <a:rPr lang="en-US" altLang="en-US" sz="1800" dirty="0">
                <a:solidFill>
                  <a:srgbClr val="FF5969"/>
                </a:solidFill>
                <a:latin typeface="Gotham Bold" panose="02000803030000020004" pitchFamily="2" charset="0"/>
              </a:rPr>
              <a:t>?</a:t>
            </a:r>
            <a:endParaRPr lang="en-US" sz="2800" dirty="0">
              <a:solidFill>
                <a:srgbClr val="FF5969"/>
              </a:solidFill>
              <a:latin typeface="Gotham Bold" panose="02000803030000020004" pitchFamily="2" charset="0"/>
            </a:endParaRPr>
          </a:p>
        </p:txBody>
      </p:sp>
    </p:spTree>
    <p:extLst>
      <p:ext uri="{BB962C8B-B14F-4D97-AF65-F5344CB8AC3E}">
        <p14:creationId xmlns:p14="http://schemas.microsoft.com/office/powerpoint/2010/main" val="2898153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9B5D18A-EC25-443C-958D-C82EC27EF3A2}"/>
              </a:ext>
            </a:extLst>
          </p:cNvPr>
          <p:cNvSpPr txBox="1"/>
          <p:nvPr/>
        </p:nvSpPr>
        <p:spPr>
          <a:xfrm>
            <a:off x="609600" y="1183537"/>
            <a:ext cx="6480387" cy="3577903"/>
          </a:xfrm>
          <a:prstGeom prst="rect">
            <a:avLst/>
          </a:prstGeom>
          <a:noFill/>
        </p:spPr>
        <p:txBody>
          <a:bodyPr wrap="square" rtlCol="0">
            <a:spAutoFit/>
          </a:bodyPr>
          <a:lstStyle/>
          <a:p>
            <a:pPr marL="228600" indent="-228600">
              <a:lnSpc>
                <a:spcPct val="150000"/>
              </a:lnSpc>
              <a:buFont typeface="Wingdings" panose="05000000000000000000" pitchFamily="2" charset="2"/>
              <a:buChar char="§"/>
            </a:pPr>
            <a:r>
              <a:rPr lang="en-US" sz="1400" dirty="0">
                <a:latin typeface="Gotham Medium" panose="02000603030000020004" pitchFamily="2" charset="0"/>
              </a:rPr>
              <a:t>200+ Acres  lush green campus</a:t>
            </a:r>
          </a:p>
          <a:p>
            <a:pPr marL="228600" indent="-228600">
              <a:lnSpc>
                <a:spcPct val="150000"/>
              </a:lnSpc>
              <a:buFont typeface="Wingdings" panose="05000000000000000000" pitchFamily="2" charset="2"/>
              <a:buChar char="§"/>
            </a:pPr>
            <a:r>
              <a:rPr lang="en-US" sz="1400" dirty="0">
                <a:latin typeface="Gotham Medium" panose="02000603030000020004" pitchFamily="2" charset="0"/>
              </a:rPr>
              <a:t>Well Equipped Laboratories</a:t>
            </a:r>
          </a:p>
          <a:p>
            <a:pPr marL="228600" indent="-228600">
              <a:lnSpc>
                <a:spcPct val="150000"/>
              </a:lnSpc>
              <a:buFont typeface="Wingdings" panose="05000000000000000000" pitchFamily="2" charset="2"/>
              <a:buChar char="§"/>
            </a:pPr>
            <a:r>
              <a:rPr lang="en-US" sz="1400" dirty="0">
                <a:latin typeface="Gotham Medium" panose="02000603030000020004" pitchFamily="2" charset="0"/>
              </a:rPr>
              <a:t>Effective Mentoring System for Personal Development of Students</a:t>
            </a:r>
          </a:p>
          <a:p>
            <a:pPr marL="228600" indent="-228600">
              <a:lnSpc>
                <a:spcPct val="150000"/>
              </a:lnSpc>
              <a:buFont typeface="Wingdings" panose="05000000000000000000" pitchFamily="2" charset="2"/>
              <a:buChar char="§"/>
            </a:pPr>
            <a:r>
              <a:rPr lang="en-US" sz="1400" dirty="0">
                <a:latin typeface="Gotham Medium" panose="02000603030000020004" pitchFamily="2" charset="0"/>
              </a:rPr>
              <a:t>50+ Companies Visiting for placement every year</a:t>
            </a:r>
          </a:p>
          <a:p>
            <a:pPr marL="228600" indent="-228600">
              <a:lnSpc>
                <a:spcPct val="150000"/>
              </a:lnSpc>
              <a:buFont typeface="Wingdings" panose="05000000000000000000" pitchFamily="2" charset="2"/>
              <a:buChar char="§"/>
            </a:pPr>
            <a:r>
              <a:rPr lang="en-US" sz="1400" dirty="0">
                <a:latin typeface="Gotham Medium" panose="02000603030000020004" pitchFamily="2" charset="0"/>
              </a:rPr>
              <a:t>Soft skill training to students</a:t>
            </a:r>
          </a:p>
          <a:p>
            <a:pPr marL="228600" indent="-228600">
              <a:lnSpc>
                <a:spcPct val="150000"/>
              </a:lnSpc>
              <a:buFont typeface="Wingdings" panose="05000000000000000000" pitchFamily="2" charset="2"/>
              <a:buChar char="§"/>
            </a:pPr>
            <a:r>
              <a:rPr lang="en-US" sz="1400" dirty="0">
                <a:latin typeface="Gotham Medium" panose="02000603030000020004" pitchFamily="2" charset="0"/>
              </a:rPr>
              <a:t>Entrepreneurship Development Cell</a:t>
            </a:r>
          </a:p>
          <a:p>
            <a:pPr marL="228600" indent="-228600">
              <a:lnSpc>
                <a:spcPct val="150000"/>
              </a:lnSpc>
              <a:buFont typeface="Wingdings" panose="05000000000000000000" pitchFamily="2" charset="2"/>
              <a:buChar char="§"/>
            </a:pPr>
            <a:r>
              <a:rPr lang="en-US" sz="1400" dirty="0">
                <a:latin typeface="Gotham Medium" panose="02000603030000020004" pitchFamily="2" charset="0"/>
              </a:rPr>
              <a:t>Indoor and outdoor facilities for sports</a:t>
            </a:r>
          </a:p>
          <a:p>
            <a:pPr marL="228600" indent="-228600">
              <a:lnSpc>
                <a:spcPct val="150000"/>
              </a:lnSpc>
              <a:buFont typeface="Wingdings" panose="05000000000000000000" pitchFamily="2" charset="2"/>
              <a:buChar char="§"/>
            </a:pPr>
            <a:r>
              <a:rPr lang="en-US" sz="1400" dirty="0">
                <a:latin typeface="Gotham Medium" panose="02000603030000020004" pitchFamily="2" charset="0"/>
              </a:rPr>
              <a:t>Well furnished hostel for Girls &amp; Boys </a:t>
            </a:r>
          </a:p>
          <a:p>
            <a:pPr marL="228600" indent="-228600">
              <a:lnSpc>
                <a:spcPct val="150000"/>
              </a:lnSpc>
              <a:buFont typeface="Wingdings" panose="05000000000000000000" pitchFamily="2" charset="2"/>
              <a:buChar char="§"/>
            </a:pPr>
            <a:r>
              <a:rPr lang="en-US" sz="1400" dirty="0">
                <a:solidFill>
                  <a:srgbClr val="7E0015"/>
                </a:solidFill>
                <a:latin typeface="Gotham Medium" panose="02000603030000020004" pitchFamily="2" charset="0"/>
              </a:rPr>
              <a:t>Bus Facility from-</a:t>
            </a:r>
          </a:p>
          <a:p>
            <a:pPr marL="685800" lvl="1" indent="-228600">
              <a:lnSpc>
                <a:spcPct val="150000"/>
              </a:lnSpc>
              <a:buFont typeface="Wingdings" panose="05000000000000000000" pitchFamily="2" charset="2"/>
              <a:buChar char="§"/>
            </a:pPr>
            <a:r>
              <a:rPr lang="en-US" sz="1100" dirty="0">
                <a:latin typeface="Gotham Medium" panose="02000603030000020004" pitchFamily="2" charset="0"/>
              </a:rPr>
              <a:t>Kolhapur, </a:t>
            </a:r>
            <a:r>
              <a:rPr lang="en-US" sz="1100" dirty="0" err="1">
                <a:latin typeface="Gotham Medium" panose="02000603030000020004" pitchFamily="2" charset="0"/>
              </a:rPr>
              <a:t>Kagal</a:t>
            </a:r>
            <a:r>
              <a:rPr lang="en-US" sz="1100" dirty="0">
                <a:latin typeface="Gotham Medium" panose="02000603030000020004" pitchFamily="2" charset="0"/>
              </a:rPr>
              <a:t>, </a:t>
            </a:r>
            <a:r>
              <a:rPr lang="en-US" sz="1100" dirty="0" err="1">
                <a:latin typeface="Gotham Medium" panose="02000603030000020004" pitchFamily="2" charset="0"/>
              </a:rPr>
              <a:t>Sangli</a:t>
            </a:r>
            <a:r>
              <a:rPr lang="en-US" sz="1100" dirty="0">
                <a:latin typeface="Gotham Medium" panose="02000603030000020004" pitchFamily="2" charset="0"/>
              </a:rPr>
              <a:t>, </a:t>
            </a:r>
            <a:r>
              <a:rPr lang="en-US" sz="1100" dirty="0" err="1">
                <a:latin typeface="Gotham Medium" panose="02000603030000020004" pitchFamily="2" charset="0"/>
              </a:rPr>
              <a:t>Ichalkaranji</a:t>
            </a:r>
            <a:r>
              <a:rPr lang="en-US" sz="1100" dirty="0">
                <a:latin typeface="Gotham Medium" panose="02000603030000020004" pitchFamily="2" charset="0"/>
              </a:rPr>
              <a:t>, </a:t>
            </a:r>
            <a:r>
              <a:rPr lang="en-US" sz="1100" dirty="0" err="1">
                <a:latin typeface="Gotham Medium" panose="02000603030000020004" pitchFamily="2" charset="0"/>
              </a:rPr>
              <a:t>Islampur</a:t>
            </a:r>
            <a:r>
              <a:rPr lang="en-US" sz="1100" dirty="0">
                <a:latin typeface="Gotham Medium" panose="02000603030000020004" pitchFamily="2" charset="0"/>
              </a:rPr>
              <a:t>, </a:t>
            </a:r>
            <a:r>
              <a:rPr lang="en-US" sz="1100" dirty="0" err="1">
                <a:latin typeface="Gotham Medium" panose="02000603030000020004" pitchFamily="2" charset="0"/>
              </a:rPr>
              <a:t>Malakapur</a:t>
            </a:r>
            <a:endParaRPr lang="en-US" sz="1100" dirty="0">
              <a:latin typeface="Gotham Medium" panose="02000603030000020004" pitchFamily="2" charset="0"/>
            </a:endParaRPr>
          </a:p>
          <a:p>
            <a:pPr marL="685800" lvl="1" indent="-228600">
              <a:lnSpc>
                <a:spcPct val="150000"/>
              </a:lnSpc>
              <a:buFont typeface="Wingdings" panose="05000000000000000000" pitchFamily="2" charset="2"/>
              <a:buChar char="§"/>
            </a:pPr>
            <a:endParaRPr lang="en-US" sz="1400" dirty="0">
              <a:latin typeface="Gotham Medium" panose="02000603030000020004" pitchFamily="2" charset="0"/>
            </a:endParaRPr>
          </a:p>
        </p:txBody>
      </p:sp>
      <p:sp>
        <p:nvSpPr>
          <p:cNvPr id="6" name="Rectangle 5">
            <a:extLst>
              <a:ext uri="{FF2B5EF4-FFF2-40B4-BE49-F238E27FC236}">
                <a16:creationId xmlns:a16="http://schemas.microsoft.com/office/drawing/2014/main" id="{F358DCB7-2107-4AF9-92C8-E09988C0D2C4}"/>
              </a:ext>
            </a:extLst>
          </p:cNvPr>
          <p:cNvSpPr/>
          <p:nvPr/>
        </p:nvSpPr>
        <p:spPr>
          <a:xfrm>
            <a:off x="609600" y="883071"/>
            <a:ext cx="6235698" cy="45719"/>
          </a:xfrm>
          <a:prstGeom prst="rect">
            <a:avLst/>
          </a:prstGeom>
          <a:solidFill>
            <a:schemeClr val="tx1">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srgbClr val="7E0015"/>
              </a:solidFill>
            </a:endParaRPr>
          </a:p>
        </p:txBody>
      </p:sp>
      <p:sp>
        <p:nvSpPr>
          <p:cNvPr id="12" name="Title 1">
            <a:extLst>
              <a:ext uri="{FF2B5EF4-FFF2-40B4-BE49-F238E27FC236}">
                <a16:creationId xmlns:a16="http://schemas.microsoft.com/office/drawing/2014/main" id="{BAB695F5-E744-41CB-BCDD-C27046FDE302}"/>
              </a:ext>
            </a:extLst>
          </p:cNvPr>
          <p:cNvSpPr txBox="1">
            <a:spLocks/>
          </p:cNvSpPr>
          <p:nvPr/>
        </p:nvSpPr>
        <p:spPr>
          <a:xfrm>
            <a:off x="533400" y="75029"/>
            <a:ext cx="7924800" cy="769607"/>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en-US" sz="2800" dirty="0">
                <a:solidFill>
                  <a:srgbClr val="7E0015"/>
                </a:solidFill>
                <a:latin typeface="Gotham Bold" panose="02000803030000020004" pitchFamily="2" charset="0"/>
              </a:rPr>
              <a:t>Why D. Y. Patil Technical Campus, </a:t>
            </a:r>
            <a:r>
              <a:rPr lang="en-US" altLang="en-US" sz="2000" dirty="0" err="1">
                <a:solidFill>
                  <a:srgbClr val="7E0015"/>
                </a:solidFill>
                <a:latin typeface="Gotham Bold" panose="02000803030000020004" pitchFamily="2" charset="0"/>
              </a:rPr>
              <a:t>Talsande</a:t>
            </a:r>
            <a:r>
              <a:rPr lang="en-US" altLang="en-US" sz="2000" dirty="0">
                <a:solidFill>
                  <a:srgbClr val="7E0015"/>
                </a:solidFill>
                <a:latin typeface="Gotham Bold" panose="02000803030000020004" pitchFamily="2" charset="0"/>
              </a:rPr>
              <a:t> ?</a:t>
            </a:r>
          </a:p>
        </p:txBody>
      </p:sp>
      <p:sp>
        <p:nvSpPr>
          <p:cNvPr id="8" name="TextBox 7">
            <a:extLst>
              <a:ext uri="{FF2B5EF4-FFF2-40B4-BE49-F238E27FC236}">
                <a16:creationId xmlns:a16="http://schemas.microsoft.com/office/drawing/2014/main" id="{3B5F320C-F339-4D58-9C7E-0F8BB9320071}"/>
              </a:ext>
            </a:extLst>
          </p:cNvPr>
          <p:cNvSpPr txBox="1"/>
          <p:nvPr/>
        </p:nvSpPr>
        <p:spPr>
          <a:xfrm>
            <a:off x="6508749" y="2488626"/>
            <a:ext cx="2590800" cy="261610"/>
          </a:xfrm>
          <a:prstGeom prst="rect">
            <a:avLst/>
          </a:prstGeom>
          <a:noFill/>
        </p:spPr>
        <p:txBody>
          <a:bodyPr wrap="square">
            <a:spAutoFit/>
          </a:bodyPr>
          <a:lstStyle/>
          <a:p>
            <a:pPr algn="ctr"/>
            <a:r>
              <a:rPr lang="en-IN" sz="1100" dirty="0" err="1">
                <a:latin typeface="Gotham Narrow Medium" pitchFamily="50" charset="0"/>
                <a:ea typeface="Adobe Fan Heiti Std B" panose="020B0700000000000000" pitchFamily="34" charset="-128"/>
                <a:cs typeface="Times New Roman" panose="02020603050405020304" pitchFamily="18" charset="0"/>
              </a:rPr>
              <a:t>Samruddhi</a:t>
            </a:r>
            <a:r>
              <a:rPr lang="en-IN" sz="1100" dirty="0">
                <a:latin typeface="Gotham Narrow Medium" pitchFamily="50" charset="0"/>
                <a:ea typeface="Adobe Fan Heiti Std B" panose="020B0700000000000000" pitchFamily="34" charset="-128"/>
                <a:cs typeface="Times New Roman" panose="02020603050405020304" pitchFamily="18" charset="0"/>
              </a:rPr>
              <a:t> TBI Incubation </a:t>
            </a:r>
            <a:r>
              <a:rPr lang="en-IN" sz="1100" dirty="0" err="1">
                <a:latin typeface="Gotham Narrow Medium" pitchFamily="50" charset="0"/>
                <a:ea typeface="Adobe Fan Heiti Std B" panose="020B0700000000000000" pitchFamily="34" charset="-128"/>
                <a:cs typeface="Times New Roman" panose="02020603050405020304" pitchFamily="18" charset="0"/>
              </a:rPr>
              <a:t>Center</a:t>
            </a:r>
            <a:r>
              <a:rPr lang="en-IN" sz="1100" dirty="0">
                <a:latin typeface="Gotham Narrow Medium" pitchFamily="50" charset="0"/>
                <a:ea typeface="Adobe Fan Heiti Std B" panose="020B0700000000000000" pitchFamily="34" charset="-128"/>
                <a:cs typeface="Times New Roman" panose="02020603050405020304" pitchFamily="18" charset="0"/>
              </a:rPr>
              <a:t> </a:t>
            </a:r>
            <a:endParaRPr lang="en-IN" sz="1100" dirty="0">
              <a:latin typeface="Gotham Narrow Medium" pitchFamily="50" charset="0"/>
            </a:endParaRPr>
          </a:p>
        </p:txBody>
      </p:sp>
      <p:sp>
        <p:nvSpPr>
          <p:cNvPr id="13" name="TextBox 12">
            <a:extLst>
              <a:ext uri="{FF2B5EF4-FFF2-40B4-BE49-F238E27FC236}">
                <a16:creationId xmlns:a16="http://schemas.microsoft.com/office/drawing/2014/main" id="{1338569D-2627-4335-8101-CD3170A1A044}"/>
              </a:ext>
            </a:extLst>
          </p:cNvPr>
          <p:cNvSpPr txBox="1"/>
          <p:nvPr/>
        </p:nvSpPr>
        <p:spPr>
          <a:xfrm>
            <a:off x="6438900" y="3882703"/>
            <a:ext cx="2590799" cy="430887"/>
          </a:xfrm>
          <a:prstGeom prst="rect">
            <a:avLst/>
          </a:prstGeom>
          <a:noFill/>
        </p:spPr>
        <p:txBody>
          <a:bodyPr wrap="square">
            <a:spAutoFit/>
          </a:bodyPr>
          <a:lstStyle/>
          <a:p>
            <a:pPr algn="ctr"/>
            <a:r>
              <a:rPr lang="en-IN" sz="1100" dirty="0">
                <a:latin typeface="Gotham Narrow Medium" pitchFamily="50" charset="0"/>
                <a:ea typeface="Adobe Fan Heiti Std B" panose="020B0700000000000000" pitchFamily="34" charset="-128"/>
                <a:cs typeface="Times New Roman" panose="02020603050405020304" pitchFamily="18" charset="0"/>
              </a:rPr>
              <a:t>Centre of Excellence for </a:t>
            </a:r>
          </a:p>
          <a:p>
            <a:pPr algn="ctr"/>
            <a:r>
              <a:rPr lang="en-IN" sz="1100" dirty="0">
                <a:latin typeface="Gotham Narrow Medium" pitchFamily="50" charset="0"/>
                <a:ea typeface="Adobe Fan Heiti Std B" panose="020B0700000000000000" pitchFamily="34" charset="-128"/>
                <a:cs typeface="Times New Roman" panose="02020603050405020304" pitchFamily="18" charset="0"/>
              </a:rPr>
              <a:t>Ethical Hacking &amp; Information Security </a:t>
            </a:r>
            <a:endParaRPr lang="en-IN" sz="1100" dirty="0">
              <a:latin typeface="Gotham Narrow Medium" pitchFamily="50" charset="0"/>
            </a:endParaRPr>
          </a:p>
        </p:txBody>
      </p:sp>
      <p:pic>
        <p:nvPicPr>
          <p:cNvPr id="14" name="Picture 2" descr="C:\Users\lenovo\Desktop\Incubator.jpg">
            <a:extLst>
              <a:ext uri="{FF2B5EF4-FFF2-40B4-BE49-F238E27FC236}">
                <a16:creationId xmlns:a16="http://schemas.microsoft.com/office/drawing/2014/main" id="{681E07AE-76BA-4BBF-9297-41FB1D9D057D}"/>
              </a:ext>
            </a:extLst>
          </p:cNvPr>
          <p:cNvPicPr>
            <a:picLocks noChangeAspect="1" noChangeArrowheads="1"/>
          </p:cNvPicPr>
          <p:nvPr/>
        </p:nvPicPr>
        <p:blipFill>
          <a:blip r:embed="rId2" cstate="print"/>
          <a:srcRect/>
          <a:stretch>
            <a:fillRect/>
          </a:stretch>
        </p:blipFill>
        <p:spPr bwMode="auto">
          <a:xfrm>
            <a:off x="7162799" y="1356002"/>
            <a:ext cx="1143000" cy="1107068"/>
          </a:xfrm>
          <a:prstGeom prst="rect">
            <a:avLst/>
          </a:prstGeom>
          <a:noFill/>
        </p:spPr>
      </p:pic>
      <p:pic>
        <p:nvPicPr>
          <p:cNvPr id="15" name="Picture 2">
            <a:extLst>
              <a:ext uri="{FF2B5EF4-FFF2-40B4-BE49-F238E27FC236}">
                <a16:creationId xmlns:a16="http://schemas.microsoft.com/office/drawing/2014/main" id="{849C3BE3-B84C-4645-BBA1-55DC7686CB7E}"/>
              </a:ext>
            </a:extLst>
          </p:cNvPr>
          <p:cNvPicPr>
            <a:picLocks noChangeAspect="1" noChangeArrowheads="1"/>
          </p:cNvPicPr>
          <p:nvPr/>
        </p:nvPicPr>
        <p:blipFill>
          <a:blip r:embed="rId3"/>
          <a:srcRect/>
          <a:stretch>
            <a:fillRect/>
          </a:stretch>
        </p:blipFill>
        <p:spPr bwMode="auto">
          <a:xfrm>
            <a:off x="6553199" y="3196903"/>
            <a:ext cx="2362200" cy="685800"/>
          </a:xfrm>
          <a:prstGeom prst="rect">
            <a:avLst/>
          </a:prstGeom>
          <a:noFill/>
          <a:ln w="9525">
            <a:noFill/>
            <a:miter lim="800000"/>
            <a:headEnd/>
            <a:tailEnd/>
          </a:ln>
          <a:effectLst/>
        </p:spPr>
      </p:pic>
      <p:sp>
        <p:nvSpPr>
          <p:cNvPr id="18" name="Rectangle 17">
            <a:extLst>
              <a:ext uri="{FF2B5EF4-FFF2-40B4-BE49-F238E27FC236}">
                <a16:creationId xmlns:a16="http://schemas.microsoft.com/office/drawing/2014/main" id="{3D7E40E4-839B-47D4-891B-052900FD65C9}"/>
              </a:ext>
            </a:extLst>
          </p:cNvPr>
          <p:cNvSpPr/>
          <p:nvPr/>
        </p:nvSpPr>
        <p:spPr>
          <a:xfrm flipH="1">
            <a:off x="6267448" y="2532563"/>
            <a:ext cx="45719" cy="2326615"/>
          </a:xfrm>
          <a:prstGeom prst="rect">
            <a:avLst/>
          </a:prstGeom>
          <a:solidFill>
            <a:srgbClr val="7E001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srgbClr val="7E0015"/>
              </a:solidFill>
            </a:endParaRPr>
          </a:p>
        </p:txBody>
      </p:sp>
    </p:spTree>
    <p:extLst>
      <p:ext uri="{BB962C8B-B14F-4D97-AF65-F5344CB8AC3E}">
        <p14:creationId xmlns:p14="http://schemas.microsoft.com/office/powerpoint/2010/main" val="355273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9B5D18A-EC25-443C-958D-C82EC27EF3A2}"/>
              </a:ext>
            </a:extLst>
          </p:cNvPr>
          <p:cNvSpPr txBox="1"/>
          <p:nvPr/>
        </p:nvSpPr>
        <p:spPr>
          <a:xfrm>
            <a:off x="228598" y="781750"/>
            <a:ext cx="7239001" cy="3275897"/>
          </a:xfrm>
          <a:prstGeom prst="rect">
            <a:avLst/>
          </a:prstGeom>
          <a:noFill/>
        </p:spPr>
        <p:txBody>
          <a:bodyPr wrap="square" rtlCol="0">
            <a:spAutoFit/>
          </a:bodyPr>
          <a:lstStyle/>
          <a:p>
            <a:pPr marL="285750" indent="-285750">
              <a:lnSpc>
                <a:spcPct val="150000"/>
              </a:lnSpc>
              <a:buFont typeface="Wingdings" panose="05000000000000000000" pitchFamily="2" charset="2"/>
              <a:buChar char="§"/>
            </a:pPr>
            <a:r>
              <a:rPr lang="en-US" sz="1400" dirty="0">
                <a:latin typeface="Gotham Medium" panose="02000603030000020004" pitchFamily="2" charset="0"/>
              </a:rPr>
              <a:t>Eco friendly clean campus located in the heart of the city </a:t>
            </a:r>
          </a:p>
          <a:p>
            <a:pPr marL="285750" indent="-285750">
              <a:lnSpc>
                <a:spcPct val="150000"/>
              </a:lnSpc>
              <a:buFont typeface="Wingdings" panose="05000000000000000000" pitchFamily="2" charset="2"/>
              <a:buChar char="§"/>
            </a:pPr>
            <a:r>
              <a:rPr lang="en-US" sz="1400" dirty="0">
                <a:latin typeface="Gotham Medium" panose="02000603030000020004" pitchFamily="2" charset="0"/>
              </a:rPr>
              <a:t>Modern and fully equipped laboratories </a:t>
            </a:r>
          </a:p>
          <a:p>
            <a:pPr marL="285750" indent="-285750">
              <a:lnSpc>
                <a:spcPct val="150000"/>
              </a:lnSpc>
              <a:buFont typeface="Wingdings" panose="05000000000000000000" pitchFamily="2" charset="2"/>
              <a:buChar char="§"/>
            </a:pPr>
            <a:r>
              <a:rPr lang="en-US" sz="1400" dirty="0">
                <a:latin typeface="Gotham Medium" panose="02000603030000020004" pitchFamily="2" charset="0"/>
              </a:rPr>
              <a:t>Strong tie-up with most of the industries in Western Maharashtra. </a:t>
            </a:r>
          </a:p>
          <a:p>
            <a:pPr marL="285750" indent="-285750">
              <a:lnSpc>
                <a:spcPct val="150000"/>
              </a:lnSpc>
              <a:buFont typeface="Wingdings" panose="05000000000000000000" pitchFamily="2" charset="2"/>
              <a:buChar char="§"/>
            </a:pPr>
            <a:r>
              <a:rPr lang="en-US" sz="1400" dirty="0">
                <a:latin typeface="Gotham Medium" panose="02000603030000020004" pitchFamily="2" charset="0"/>
              </a:rPr>
              <a:t>Facility of value added courses like foreign language learning (German) </a:t>
            </a:r>
          </a:p>
          <a:p>
            <a:pPr marL="285750" indent="-285750">
              <a:lnSpc>
                <a:spcPct val="150000"/>
              </a:lnSpc>
              <a:buFont typeface="Wingdings" panose="05000000000000000000" pitchFamily="2" charset="2"/>
              <a:buChar char="§"/>
            </a:pPr>
            <a:r>
              <a:rPr lang="en-US" sz="1400" dirty="0">
                <a:latin typeface="Gotham Medium" panose="02000603030000020004" pitchFamily="2" charset="0"/>
              </a:rPr>
              <a:t>Preparation of GRE,TOFFEL, IELTS etc. </a:t>
            </a:r>
          </a:p>
          <a:p>
            <a:pPr marL="285750" indent="-285750">
              <a:lnSpc>
                <a:spcPct val="150000"/>
              </a:lnSpc>
              <a:buFont typeface="Wingdings" panose="05000000000000000000" pitchFamily="2" charset="2"/>
              <a:buChar char="§"/>
            </a:pPr>
            <a:r>
              <a:rPr lang="en-US" sz="1400" dirty="0" err="1">
                <a:latin typeface="Gotham Medium" panose="02000603030000020004" pitchFamily="2" charset="0"/>
              </a:rPr>
              <a:t>MoU</a:t>
            </a:r>
            <a:r>
              <a:rPr lang="en-US" sz="1400" dirty="0">
                <a:latin typeface="Gotham Medium" panose="02000603030000020004" pitchFamily="2" charset="0"/>
              </a:rPr>
              <a:t> exchange for "RPA BOT Lab: center of excellence and product development lab in association with CADSYS Pune. </a:t>
            </a:r>
          </a:p>
          <a:p>
            <a:pPr marL="285750" indent="-285750">
              <a:lnSpc>
                <a:spcPct val="150000"/>
              </a:lnSpc>
              <a:buFont typeface="Wingdings" panose="05000000000000000000" pitchFamily="2" charset="2"/>
              <a:buChar char="§"/>
            </a:pPr>
            <a:r>
              <a:rPr lang="en-US" sz="1400" dirty="0">
                <a:latin typeface="Gotham Medium" panose="02000603030000020004" pitchFamily="2" charset="0"/>
              </a:rPr>
              <a:t>3 Start Ups by our final year students through Kolhapur Incubation Center </a:t>
            </a:r>
          </a:p>
          <a:p>
            <a:pPr marL="285750" indent="-285750">
              <a:lnSpc>
                <a:spcPct val="150000"/>
              </a:lnSpc>
              <a:buFont typeface="Wingdings" panose="05000000000000000000" pitchFamily="2" charset="2"/>
              <a:buChar char="§"/>
            </a:pPr>
            <a:r>
              <a:rPr lang="en-US" sz="1400" dirty="0">
                <a:latin typeface="Gotham Medium" panose="02000603030000020004" pitchFamily="2" charset="0"/>
              </a:rPr>
              <a:t>Skill Development courses under PMKVY &amp; MSSDS</a:t>
            </a:r>
          </a:p>
          <a:p>
            <a:pPr marL="285750" indent="-285750">
              <a:lnSpc>
                <a:spcPct val="150000"/>
              </a:lnSpc>
              <a:buFont typeface="Wingdings" panose="05000000000000000000" pitchFamily="2" charset="2"/>
              <a:buChar char="§"/>
            </a:pPr>
            <a:r>
              <a:rPr lang="en-US" sz="1400" dirty="0">
                <a:latin typeface="Gotham Medium" panose="02000603030000020004" pitchFamily="2" charset="0"/>
              </a:rPr>
              <a:t>International Guest Talk Series(IGS) </a:t>
            </a:r>
          </a:p>
        </p:txBody>
      </p:sp>
      <p:sp>
        <p:nvSpPr>
          <p:cNvPr id="6" name="Rectangle 5">
            <a:extLst>
              <a:ext uri="{FF2B5EF4-FFF2-40B4-BE49-F238E27FC236}">
                <a16:creationId xmlns:a16="http://schemas.microsoft.com/office/drawing/2014/main" id="{F358DCB7-2107-4AF9-92C8-E09988C0D2C4}"/>
              </a:ext>
            </a:extLst>
          </p:cNvPr>
          <p:cNvSpPr/>
          <p:nvPr/>
        </p:nvSpPr>
        <p:spPr>
          <a:xfrm>
            <a:off x="0" y="622431"/>
            <a:ext cx="6400800" cy="45719"/>
          </a:xfrm>
          <a:prstGeom prst="rect">
            <a:avLst/>
          </a:prstGeom>
          <a:solidFill>
            <a:srgbClr val="055B2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12" name="Title 1">
            <a:extLst>
              <a:ext uri="{FF2B5EF4-FFF2-40B4-BE49-F238E27FC236}">
                <a16:creationId xmlns:a16="http://schemas.microsoft.com/office/drawing/2014/main" id="{BAB695F5-E744-41CB-BCDD-C27046FDE302}"/>
              </a:ext>
            </a:extLst>
          </p:cNvPr>
          <p:cNvSpPr txBox="1">
            <a:spLocks/>
          </p:cNvSpPr>
          <p:nvPr/>
        </p:nvSpPr>
        <p:spPr>
          <a:xfrm>
            <a:off x="0" y="-538"/>
            <a:ext cx="7848600"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en-US" sz="2800" dirty="0">
                <a:solidFill>
                  <a:srgbClr val="055B2A"/>
                </a:solidFill>
                <a:latin typeface="Gotham Bold" panose="02000803030000020004" pitchFamily="2" charset="0"/>
              </a:rPr>
              <a:t>Why DYP </a:t>
            </a:r>
            <a:r>
              <a:rPr lang="en-US" altLang="en-US" sz="2800" dirty="0" err="1">
                <a:solidFill>
                  <a:srgbClr val="055B2A"/>
                </a:solidFill>
                <a:latin typeface="Gotham Bold" panose="02000803030000020004" pitchFamily="2" charset="0"/>
              </a:rPr>
              <a:t>Salokhenagar</a:t>
            </a:r>
            <a:r>
              <a:rPr lang="en-US" altLang="en-US" sz="2800" dirty="0">
                <a:solidFill>
                  <a:srgbClr val="055B2A"/>
                </a:solidFill>
                <a:latin typeface="Gotham Bold" panose="02000803030000020004" pitchFamily="2" charset="0"/>
              </a:rPr>
              <a:t>, Kolhapur?</a:t>
            </a:r>
          </a:p>
        </p:txBody>
      </p:sp>
      <p:pic>
        <p:nvPicPr>
          <p:cNvPr id="7" name="Picture 6">
            <a:extLst>
              <a:ext uri="{FF2B5EF4-FFF2-40B4-BE49-F238E27FC236}">
                <a16:creationId xmlns:a16="http://schemas.microsoft.com/office/drawing/2014/main" id="{BB3262B0-2AA0-46AC-9862-9DCCE98F9A6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5622" t="81844" b="4161"/>
          <a:stretch/>
        </p:blipFill>
        <p:spPr>
          <a:xfrm>
            <a:off x="4853418" y="3790950"/>
            <a:ext cx="4282115" cy="1316738"/>
          </a:xfrm>
          <a:prstGeom prst="rect">
            <a:avLst/>
          </a:prstGeom>
        </p:spPr>
      </p:pic>
      <p:pic>
        <p:nvPicPr>
          <p:cNvPr id="10" name="Picture 9">
            <a:extLst>
              <a:ext uri="{FF2B5EF4-FFF2-40B4-BE49-F238E27FC236}">
                <a16:creationId xmlns:a16="http://schemas.microsoft.com/office/drawing/2014/main" id="{D780E4A7-8039-467C-98B4-B527B12AB2D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71556" b="17885"/>
          <a:stretch/>
        </p:blipFill>
        <p:spPr>
          <a:xfrm>
            <a:off x="304800" y="4305173"/>
            <a:ext cx="4361685" cy="651499"/>
          </a:xfrm>
          <a:prstGeom prst="rect">
            <a:avLst/>
          </a:prstGeom>
        </p:spPr>
      </p:pic>
      <p:pic>
        <p:nvPicPr>
          <p:cNvPr id="11" name="Picture 10">
            <a:extLst>
              <a:ext uri="{FF2B5EF4-FFF2-40B4-BE49-F238E27FC236}">
                <a16:creationId xmlns:a16="http://schemas.microsoft.com/office/drawing/2014/main" id="{D5BB91D5-E93F-44E3-B300-D6C1A10D303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81844" r="65190" b="4161"/>
          <a:stretch/>
        </p:blipFill>
        <p:spPr>
          <a:xfrm>
            <a:off x="7154333" y="1885950"/>
            <a:ext cx="1981200" cy="1126706"/>
          </a:xfrm>
          <a:prstGeom prst="rect">
            <a:avLst/>
          </a:prstGeom>
        </p:spPr>
      </p:pic>
    </p:spTree>
    <p:extLst>
      <p:ext uri="{BB962C8B-B14F-4D97-AF65-F5344CB8AC3E}">
        <p14:creationId xmlns:p14="http://schemas.microsoft.com/office/powerpoint/2010/main" val="266237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77" descr="Presentations background 3D model - TurboSquid 1163407">
            <a:extLst>
              <a:ext uri="{FF2B5EF4-FFF2-40B4-BE49-F238E27FC236}">
                <a16:creationId xmlns:a16="http://schemas.microsoft.com/office/drawing/2014/main" id="{4AC7B320-01FA-4B71-B45E-811BBD26EE48}"/>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0" y="-1"/>
            <a:ext cx="9142412" cy="51435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40926" y="156644"/>
            <a:ext cx="4876120" cy="4847650"/>
            <a:chOff x="131533" y="159335"/>
            <a:chExt cx="7632704" cy="6539330"/>
          </a:xfrm>
        </p:grpSpPr>
        <p:pic>
          <p:nvPicPr>
            <p:cNvPr id="41" name="Picture 26">
              <a:extLst>
                <a:ext uri="{FF2B5EF4-FFF2-40B4-BE49-F238E27FC236}">
                  <a16:creationId xmlns:a16="http://schemas.microsoft.com/office/drawing/2014/main" id="{2993FEC8-E991-40C1-84D1-83B839147A24}"/>
                </a:ext>
              </a:extLst>
            </p:cNvPr>
            <p:cNvPicPr>
              <a:picLocks noChangeAspect="1"/>
            </p:cNvPicPr>
            <p:nvPr/>
          </p:nvPicPr>
          <p:blipFill>
            <a:blip r:embed="rId4" cstate="print">
              <a:extLst>
                <a:ext uri="{BEBA8EAE-BF5A-486C-A8C5-ECC9F3942E4B}">
                  <a14:imgProps xmlns:a14="http://schemas.microsoft.com/office/drawing/2010/main">
                    <a14:imgLayer r:embed="rId5">
                      <a14:imgEffect>
                        <a14:sharpenSoften amount="50000"/>
                      </a14:imgEffect>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2720985" y="2336139"/>
              <a:ext cx="2453800" cy="218572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21">
              <a:extLst>
                <a:ext uri="{FF2B5EF4-FFF2-40B4-BE49-F238E27FC236}">
                  <a16:creationId xmlns:a16="http://schemas.microsoft.com/office/drawing/2014/main" id="{46253E36-0165-47AC-8A50-6F17F7478959}"/>
                </a:ext>
              </a:extLst>
            </p:cNvPr>
            <p:cNvPicPr>
              <a:picLocks noChangeAspect="1"/>
            </p:cNvPicPr>
            <p:nvPr/>
          </p:nvPicPr>
          <p:blipFill>
            <a:blip r:embed="rId6" cstate="print">
              <a:extLst>
                <a:ext uri="{BEBA8EAE-BF5A-486C-A8C5-ECC9F3942E4B}">
                  <a14:imgProps xmlns:a14="http://schemas.microsoft.com/office/drawing/2010/main">
                    <a14:imgLayer r:embed="rId7">
                      <a14:imgEffect>
                        <a14:colorTemperature colorTemp="7200"/>
                      </a14:imgEffect>
                    </a14:imgLayer>
                  </a14:imgProps>
                </a:ext>
                <a:ext uri="{28A0092B-C50C-407E-A947-70E740481C1C}">
                  <a14:useLocalDpi xmlns:a14="http://schemas.microsoft.com/office/drawing/2010/main" val="0"/>
                </a:ext>
              </a:extLst>
            </a:blip>
            <a:srcRect/>
            <a:stretch>
              <a:fillRect/>
            </a:stretch>
          </p:blipFill>
          <p:spPr bwMode="auto">
            <a:xfrm>
              <a:off x="4028963" y="4654143"/>
              <a:ext cx="3735274" cy="203965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25">
              <a:extLst>
                <a:ext uri="{FF2B5EF4-FFF2-40B4-BE49-F238E27FC236}">
                  <a16:creationId xmlns:a16="http://schemas.microsoft.com/office/drawing/2014/main" id="{E7D0BE3B-0F13-40BA-AA2A-640B93C73610}"/>
                </a:ext>
              </a:extLst>
            </p:cNvPr>
            <p:cNvPicPr>
              <a:picLocks noChangeAspect="1"/>
            </p:cNvPicPr>
            <p:nvPr/>
          </p:nvPicPr>
          <p:blipFill>
            <a:blip r:embed="rId8" cstate="print">
              <a:extLst>
                <a:ext uri="{BEBA8EAE-BF5A-486C-A8C5-ECC9F3942E4B}">
                  <a14:imgProps xmlns:a14="http://schemas.microsoft.com/office/drawing/2010/main">
                    <a14:imgLayer r:embed="rId9">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4028963" y="159335"/>
              <a:ext cx="3735273" cy="204452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11">
              <a:extLst>
                <a:ext uri="{FF2B5EF4-FFF2-40B4-BE49-F238E27FC236}">
                  <a16:creationId xmlns:a16="http://schemas.microsoft.com/office/drawing/2014/main" id="{617E6495-EC4E-442F-9C30-ED286BC40244}"/>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31533" y="4654142"/>
              <a:ext cx="3740185" cy="204452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 name="Picture 5"/>
          <p:cNvPicPr>
            <a:picLocks noChangeAspect="1"/>
          </p:cNvPicPr>
          <p:nvPr/>
        </p:nvPicPr>
        <p:blipFill rotWithShape="1">
          <a:blip r:embed="rId11" cstate="print">
            <a:extLst>
              <a:ext uri="{28A0092B-C50C-407E-A947-70E740481C1C}">
                <a14:useLocalDpi xmlns:a14="http://schemas.microsoft.com/office/drawing/2010/main" val="0"/>
              </a:ext>
            </a:extLst>
          </a:blip>
          <a:srcRect l="23833" t="-1" r="17684" b="657"/>
          <a:stretch/>
        </p:blipFill>
        <p:spPr>
          <a:xfrm>
            <a:off x="7447656" y="1770323"/>
            <a:ext cx="1569388" cy="1620291"/>
          </a:xfrm>
          <a:prstGeom prst="rect">
            <a:avLst/>
          </a:prstGeom>
        </p:spPr>
      </p:pic>
      <p:pic>
        <p:nvPicPr>
          <p:cNvPr id="1026" name="Picture 2">
            <a:extLst>
              <a:ext uri="{FF2B5EF4-FFF2-40B4-BE49-F238E27FC236}">
                <a16:creationId xmlns:a16="http://schemas.microsoft.com/office/drawing/2014/main" id="{906ABDFB-FBD3-4DD4-910D-5C7281760B3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30781" y="3488674"/>
            <a:ext cx="2386262" cy="151201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13" cstate="print">
            <a:extLst>
              <a:ext uri="{28A0092B-C50C-407E-A947-70E740481C1C}">
                <a14:useLocalDpi xmlns:a14="http://schemas.microsoft.com/office/drawing/2010/main" val="0"/>
              </a:ext>
            </a:extLst>
          </a:blip>
          <a:srcRect l="24247" r="15801"/>
          <a:stretch/>
        </p:blipFill>
        <p:spPr>
          <a:xfrm>
            <a:off x="4139137" y="1770323"/>
            <a:ext cx="1571177" cy="1620291"/>
          </a:xfrm>
          <a:prstGeom prst="rect">
            <a:avLst/>
          </a:prstGeom>
        </p:spPr>
      </p:pic>
      <p:pic>
        <p:nvPicPr>
          <p:cNvPr id="3" name="Picture 2"/>
          <p:cNvPicPr>
            <a:picLocks noChangeAspect="1"/>
          </p:cNvPicPr>
          <p:nvPr/>
        </p:nvPicPr>
        <p:blipFill rotWithShape="1">
          <a:blip r:embed="rId14" cstate="print">
            <a:extLst>
              <a:ext uri="{28A0092B-C50C-407E-A947-70E740481C1C}">
                <a14:useLocalDpi xmlns:a14="http://schemas.microsoft.com/office/drawing/2010/main" val="0"/>
              </a:ext>
            </a:extLst>
          </a:blip>
          <a:srcRect b="5574"/>
          <a:stretch/>
        </p:blipFill>
        <p:spPr>
          <a:xfrm>
            <a:off x="4139779" y="159484"/>
            <a:ext cx="2390548" cy="1512778"/>
          </a:xfrm>
          <a:prstGeom prst="rect">
            <a:avLst/>
          </a:prstGeom>
        </p:spPr>
      </p:pic>
      <p:pic>
        <p:nvPicPr>
          <p:cNvPr id="8" name="Picture 7"/>
          <p:cNvPicPr>
            <a:picLocks noChangeAspect="1"/>
          </p:cNvPicPr>
          <p:nvPr/>
        </p:nvPicPr>
        <p:blipFill rotWithShape="1">
          <a:blip r:embed="rId15" cstate="print">
            <a:extLst>
              <a:ext uri="{28A0092B-C50C-407E-A947-70E740481C1C}">
                <a14:useLocalDpi xmlns:a14="http://schemas.microsoft.com/office/drawing/2010/main" val="0"/>
              </a:ext>
            </a:extLst>
          </a:blip>
          <a:srcRect b="14769"/>
          <a:stretch/>
        </p:blipFill>
        <p:spPr>
          <a:xfrm>
            <a:off x="6630782" y="156644"/>
            <a:ext cx="2386263" cy="1515618"/>
          </a:xfrm>
          <a:prstGeom prst="rect">
            <a:avLst/>
          </a:prstGeom>
        </p:spPr>
      </p:pic>
      <p:sp>
        <p:nvSpPr>
          <p:cNvPr id="28" name="Rectangle 27">
            <a:extLst>
              <a:ext uri="{FF2B5EF4-FFF2-40B4-BE49-F238E27FC236}">
                <a16:creationId xmlns:a16="http://schemas.microsoft.com/office/drawing/2014/main" id="{9EB1EDCB-1E93-48E4-8728-171B6A6E31BD}"/>
              </a:ext>
            </a:extLst>
          </p:cNvPr>
          <p:cNvSpPr/>
          <p:nvPr/>
        </p:nvSpPr>
        <p:spPr>
          <a:xfrm>
            <a:off x="0" y="0"/>
            <a:ext cx="9142412" cy="5143499"/>
          </a:xfrm>
          <a:prstGeom prst="rect">
            <a:avLst/>
          </a:prstGeom>
          <a:solidFill>
            <a:schemeClr val="tx1">
              <a:lumMod val="95000"/>
              <a:lumOff val="5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85800">
              <a:defRPr/>
            </a:pPr>
            <a:endParaRPr lang="en-US" dirty="0">
              <a:solidFill>
                <a:prstClr val="white"/>
              </a:solidFill>
              <a:latin typeface="Calibri Light"/>
            </a:endParaRPr>
          </a:p>
        </p:txBody>
      </p:sp>
      <p:grpSp>
        <p:nvGrpSpPr>
          <p:cNvPr id="19" name="Group 18">
            <a:extLst>
              <a:ext uri="{FF2B5EF4-FFF2-40B4-BE49-F238E27FC236}">
                <a16:creationId xmlns:a16="http://schemas.microsoft.com/office/drawing/2014/main" id="{FD74C315-9FCA-46CF-973F-0926F61730AC}"/>
              </a:ext>
            </a:extLst>
          </p:cNvPr>
          <p:cNvGrpSpPr/>
          <p:nvPr/>
        </p:nvGrpSpPr>
        <p:grpSpPr>
          <a:xfrm>
            <a:off x="1066800" y="-4"/>
            <a:ext cx="2177145" cy="3390618"/>
            <a:chOff x="914400" y="-4"/>
            <a:chExt cx="2451221" cy="3714754"/>
          </a:xfrm>
        </p:grpSpPr>
        <p:sp>
          <p:nvSpPr>
            <p:cNvPr id="20" name="Rectangle 19">
              <a:extLst>
                <a:ext uri="{FF2B5EF4-FFF2-40B4-BE49-F238E27FC236}">
                  <a16:creationId xmlns:a16="http://schemas.microsoft.com/office/drawing/2014/main" id="{5332B11F-E94B-4099-BD52-0FBECA8CE575}"/>
                </a:ext>
              </a:extLst>
            </p:cNvPr>
            <p:cNvSpPr/>
            <p:nvPr/>
          </p:nvSpPr>
          <p:spPr>
            <a:xfrm>
              <a:off x="914400" y="-4"/>
              <a:ext cx="2451221" cy="3714754"/>
            </a:xfrm>
            <a:prstGeom prst="rect">
              <a:avLst/>
            </a:prstGeom>
            <a:solidFill>
              <a:srgbClr val="52CB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Montserrat ExtraBold" panose="00000900000000000000" pitchFamily="2" charset="0"/>
              </a:endParaRPr>
            </a:p>
          </p:txBody>
        </p:sp>
        <p:sp>
          <p:nvSpPr>
            <p:cNvPr id="21" name="TextBox 20">
              <a:extLst>
                <a:ext uri="{FF2B5EF4-FFF2-40B4-BE49-F238E27FC236}">
                  <a16:creationId xmlns:a16="http://schemas.microsoft.com/office/drawing/2014/main" id="{1788B473-5792-47C1-80E4-5230E40EC5F1}"/>
                </a:ext>
              </a:extLst>
            </p:cNvPr>
            <p:cNvSpPr txBox="1"/>
            <p:nvPr/>
          </p:nvSpPr>
          <p:spPr>
            <a:xfrm>
              <a:off x="914400" y="2043936"/>
              <a:ext cx="2443848" cy="1618557"/>
            </a:xfrm>
            <a:prstGeom prst="rect">
              <a:avLst/>
            </a:prstGeom>
            <a:noFill/>
          </p:spPr>
          <p:txBody>
            <a:bodyPr wrap="square" rtlCol="0" anchor="ctr">
              <a:spAutoFit/>
            </a:bodyPr>
            <a:lstStyle/>
            <a:p>
              <a:pPr algn="ctr"/>
              <a:r>
                <a:rPr lang="en-US" altLang="ko-KR" sz="4400" dirty="0">
                  <a:solidFill>
                    <a:schemeClr val="bg1"/>
                  </a:solidFill>
                  <a:latin typeface="Montserrat ExtraBold" panose="00000900000000000000" pitchFamily="2" charset="0"/>
                  <a:cs typeface="Arial" pitchFamily="34" charset="0"/>
                </a:rPr>
                <a:t>Thank You</a:t>
              </a:r>
              <a:endParaRPr lang="ko-KR" altLang="en-US" sz="4400" dirty="0">
                <a:solidFill>
                  <a:schemeClr val="bg1"/>
                </a:solidFill>
                <a:latin typeface="Montserrat ExtraBold" panose="00000900000000000000" pitchFamily="2" charset="0"/>
                <a:cs typeface="Arial" pitchFamily="34" charset="0"/>
              </a:endParaRPr>
            </a:p>
          </p:txBody>
        </p:sp>
      </p:grpSp>
      <p:sp>
        <p:nvSpPr>
          <p:cNvPr id="24" name="object 2">
            <a:extLst>
              <a:ext uri="{FF2B5EF4-FFF2-40B4-BE49-F238E27FC236}">
                <a16:creationId xmlns:a16="http://schemas.microsoft.com/office/drawing/2014/main" id="{717ECCC1-72AF-43E7-92D7-A10DE25E436E}"/>
              </a:ext>
            </a:extLst>
          </p:cNvPr>
          <p:cNvSpPr txBox="1">
            <a:spLocks/>
          </p:cNvSpPr>
          <p:nvPr/>
        </p:nvSpPr>
        <p:spPr>
          <a:xfrm>
            <a:off x="1028698" y="1304799"/>
            <a:ext cx="2215247" cy="380018"/>
          </a:xfrm>
          <a:prstGeom prst="rect">
            <a:avLst/>
          </a:prstGeom>
        </p:spPr>
        <p:txBody>
          <a:bodyPr vert="horz" wrap="square" lIns="0" tIns="10583" rIns="0" bIns="0" rtlCol="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10583"/>
            <a:r>
              <a:rPr lang="en-US" sz="1200" spc="-21" dirty="0">
                <a:solidFill>
                  <a:schemeClr val="tx1">
                    <a:lumMod val="65000"/>
                    <a:lumOff val="35000"/>
                  </a:schemeClr>
                </a:solidFill>
                <a:latin typeface="Gotham Medium" pitchFamily="2" charset="0"/>
                <a:cs typeface="Verdana"/>
              </a:rPr>
              <a:t>37 </a:t>
            </a:r>
            <a:r>
              <a:rPr lang="en-US" sz="1200" spc="-54" dirty="0">
                <a:solidFill>
                  <a:schemeClr val="tx1">
                    <a:lumMod val="65000"/>
                    <a:lumOff val="35000"/>
                  </a:schemeClr>
                </a:solidFill>
                <a:latin typeface="Gotham Medium" pitchFamily="2" charset="0"/>
                <a:cs typeface="Verdana"/>
              </a:rPr>
              <a:t>Years </a:t>
            </a:r>
            <a:r>
              <a:rPr lang="en-US" sz="1200" spc="87" dirty="0">
                <a:solidFill>
                  <a:schemeClr val="tx1">
                    <a:lumMod val="65000"/>
                    <a:lumOff val="35000"/>
                  </a:schemeClr>
                </a:solidFill>
                <a:latin typeface="Gotham Medium" pitchFamily="2" charset="0"/>
                <a:cs typeface="Verdana"/>
              </a:rPr>
              <a:t>of</a:t>
            </a:r>
            <a:r>
              <a:rPr lang="en-US" sz="1200" spc="-458" dirty="0">
                <a:solidFill>
                  <a:schemeClr val="tx1">
                    <a:lumMod val="65000"/>
                    <a:lumOff val="35000"/>
                  </a:schemeClr>
                </a:solidFill>
                <a:latin typeface="Gotham Medium" pitchFamily="2" charset="0"/>
                <a:cs typeface="Verdana"/>
              </a:rPr>
              <a:t> </a:t>
            </a:r>
            <a:r>
              <a:rPr lang="en-US" sz="1200" spc="21" dirty="0">
                <a:solidFill>
                  <a:schemeClr val="tx1">
                    <a:lumMod val="65000"/>
                    <a:lumOff val="35000"/>
                  </a:schemeClr>
                </a:solidFill>
                <a:latin typeface="Gotham Medium" pitchFamily="2" charset="0"/>
                <a:cs typeface="Verdana"/>
              </a:rPr>
              <a:t>Excellence in Technical Education </a:t>
            </a:r>
            <a:endParaRPr lang="en-US" sz="1200" dirty="0">
              <a:solidFill>
                <a:schemeClr val="tx1">
                  <a:lumMod val="65000"/>
                  <a:lumOff val="35000"/>
                </a:schemeClr>
              </a:solidFill>
              <a:latin typeface="Gotham Medium" pitchFamily="2" charset="0"/>
              <a:cs typeface="Verdana"/>
            </a:endParaRPr>
          </a:p>
        </p:txBody>
      </p:sp>
      <p:pic>
        <p:nvPicPr>
          <p:cNvPr id="22" name="Picture 21">
            <a:extLst>
              <a:ext uri="{FF2B5EF4-FFF2-40B4-BE49-F238E27FC236}">
                <a16:creationId xmlns:a16="http://schemas.microsoft.com/office/drawing/2014/main" id="{0197EB62-3591-49C5-9AB9-A4724211A6A4}"/>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538169" y="124894"/>
            <a:ext cx="1196307" cy="943739"/>
          </a:xfrm>
          <a:prstGeom prst="rect">
            <a:avLst/>
          </a:prstGeom>
        </p:spPr>
      </p:pic>
    </p:spTree>
    <p:extLst>
      <p:ext uri="{BB962C8B-B14F-4D97-AF65-F5344CB8AC3E}">
        <p14:creationId xmlns:p14="http://schemas.microsoft.com/office/powerpoint/2010/main" val="2725959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CC68766-FE99-4DB6-918B-FF61D01253E5}"/>
              </a:ext>
            </a:extLst>
          </p:cNvPr>
          <p:cNvPicPr>
            <a:picLocks noChangeAspect="1"/>
          </p:cNvPicPr>
          <p:nvPr/>
        </p:nvPicPr>
        <p:blipFill>
          <a:blip r:embed="rId2"/>
          <a:stretch>
            <a:fillRect/>
          </a:stretch>
        </p:blipFill>
        <p:spPr>
          <a:xfrm>
            <a:off x="9756" y="0"/>
            <a:ext cx="4179999" cy="5143500"/>
          </a:xfrm>
          <a:prstGeom prst="rect">
            <a:avLst/>
          </a:prstGeom>
        </p:spPr>
      </p:pic>
      <p:pic>
        <p:nvPicPr>
          <p:cNvPr id="60418" name="Picture 2" descr="Image En Gros Plan Des Mains Masculines à L&amp;#39;aide De Smartphone Avec Icône  Téléphone E-mail Téléphone Mobile Et Adresse. Contactez-nous Concept De  Connexion Et De Marketing Par E-mail | Photo Premium">
            <a:extLst>
              <a:ext uri="{FF2B5EF4-FFF2-40B4-BE49-F238E27FC236}">
                <a16:creationId xmlns:a16="http://schemas.microsoft.com/office/drawing/2014/main" id="{024ECD59-82E2-4FC9-91DC-5DE15F43CCD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8057"/>
          <a:stretch/>
        </p:blipFill>
        <p:spPr bwMode="auto">
          <a:xfrm>
            <a:off x="4177400" y="-8731"/>
            <a:ext cx="4974768" cy="5143500"/>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27F44D6D-4BC4-4050-A412-41579CB810DD}"/>
              </a:ext>
            </a:extLst>
          </p:cNvPr>
          <p:cNvSpPr/>
          <p:nvPr/>
        </p:nvSpPr>
        <p:spPr>
          <a:xfrm>
            <a:off x="4259303" y="3866172"/>
            <a:ext cx="4877906" cy="1146102"/>
          </a:xfrm>
          <a:prstGeom prst="rect">
            <a:avLst/>
          </a:prstGeom>
          <a:solidFill>
            <a:schemeClr val="tx1">
              <a:lumMod val="65000"/>
              <a:lumOff val="3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endParaRPr lang="en-US" dirty="0">
              <a:solidFill>
                <a:prstClr val="white"/>
              </a:solidFill>
              <a:latin typeface="Calibri Light"/>
            </a:endParaRPr>
          </a:p>
        </p:txBody>
      </p:sp>
      <p:sp>
        <p:nvSpPr>
          <p:cNvPr id="24" name="Rectangle 23">
            <a:extLst>
              <a:ext uri="{FF2B5EF4-FFF2-40B4-BE49-F238E27FC236}">
                <a16:creationId xmlns:a16="http://schemas.microsoft.com/office/drawing/2014/main" id="{897A53B5-EEA7-4389-AD16-F10359E774F2}"/>
              </a:ext>
            </a:extLst>
          </p:cNvPr>
          <p:cNvSpPr/>
          <p:nvPr/>
        </p:nvSpPr>
        <p:spPr>
          <a:xfrm>
            <a:off x="4256338" y="2621190"/>
            <a:ext cx="4877906" cy="1146102"/>
          </a:xfrm>
          <a:prstGeom prst="rect">
            <a:avLst/>
          </a:prstGeom>
          <a:solidFill>
            <a:schemeClr val="tx1">
              <a:lumMod val="65000"/>
              <a:lumOff val="3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endParaRPr lang="en-US" dirty="0">
              <a:solidFill>
                <a:prstClr val="white"/>
              </a:solidFill>
              <a:latin typeface="Calibri Light"/>
            </a:endParaRPr>
          </a:p>
        </p:txBody>
      </p:sp>
      <p:sp>
        <p:nvSpPr>
          <p:cNvPr id="21" name="Rectangle 20">
            <a:extLst>
              <a:ext uri="{FF2B5EF4-FFF2-40B4-BE49-F238E27FC236}">
                <a16:creationId xmlns:a16="http://schemas.microsoft.com/office/drawing/2014/main" id="{F594D5B5-64EB-4018-8C5A-2BC22277300E}"/>
              </a:ext>
            </a:extLst>
          </p:cNvPr>
          <p:cNvSpPr/>
          <p:nvPr/>
        </p:nvSpPr>
        <p:spPr>
          <a:xfrm>
            <a:off x="4253718" y="1376208"/>
            <a:ext cx="4880526" cy="1146102"/>
          </a:xfrm>
          <a:prstGeom prst="rect">
            <a:avLst/>
          </a:prstGeom>
          <a:solidFill>
            <a:schemeClr val="tx1">
              <a:lumMod val="65000"/>
              <a:lumOff val="3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endParaRPr lang="en-US" dirty="0">
              <a:solidFill>
                <a:prstClr val="white"/>
              </a:solidFill>
              <a:latin typeface="Calibri Light"/>
            </a:endParaRPr>
          </a:p>
        </p:txBody>
      </p:sp>
      <p:sp>
        <p:nvSpPr>
          <p:cNvPr id="20" name="Rectangle 19">
            <a:extLst>
              <a:ext uri="{FF2B5EF4-FFF2-40B4-BE49-F238E27FC236}">
                <a16:creationId xmlns:a16="http://schemas.microsoft.com/office/drawing/2014/main" id="{79E72468-78C9-4EE9-A971-2BE53DD3508E}"/>
              </a:ext>
            </a:extLst>
          </p:cNvPr>
          <p:cNvSpPr/>
          <p:nvPr/>
        </p:nvSpPr>
        <p:spPr>
          <a:xfrm>
            <a:off x="4259303" y="131226"/>
            <a:ext cx="4877906" cy="1146102"/>
          </a:xfrm>
          <a:prstGeom prst="rect">
            <a:avLst/>
          </a:prstGeom>
          <a:solidFill>
            <a:schemeClr val="tx1">
              <a:lumMod val="65000"/>
              <a:lumOff val="3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dirty="0">
              <a:solidFill>
                <a:prstClr val="white"/>
              </a:solidFill>
              <a:latin typeface="Calibri Light"/>
            </a:endParaRPr>
          </a:p>
        </p:txBody>
      </p:sp>
      <p:pic>
        <p:nvPicPr>
          <p:cNvPr id="22" name="Picture 21">
            <a:extLst>
              <a:ext uri="{FF2B5EF4-FFF2-40B4-BE49-F238E27FC236}">
                <a16:creationId xmlns:a16="http://schemas.microsoft.com/office/drawing/2014/main" id="{0197EB62-3591-49C5-9AB9-A4724211A6A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00200" y="60138"/>
            <a:ext cx="964249" cy="760674"/>
          </a:xfrm>
          <a:prstGeom prst="rect">
            <a:avLst/>
          </a:prstGeom>
        </p:spPr>
      </p:pic>
      <p:sp>
        <p:nvSpPr>
          <p:cNvPr id="15" name="TextBox 14">
            <a:extLst>
              <a:ext uri="{FF2B5EF4-FFF2-40B4-BE49-F238E27FC236}">
                <a16:creationId xmlns:a16="http://schemas.microsoft.com/office/drawing/2014/main" id="{F5EF0B8E-6160-4071-8F74-E9BA68334B83}"/>
              </a:ext>
            </a:extLst>
          </p:cNvPr>
          <p:cNvSpPr txBox="1"/>
          <p:nvPr/>
        </p:nvSpPr>
        <p:spPr>
          <a:xfrm>
            <a:off x="4256337" y="122496"/>
            <a:ext cx="4430463" cy="1138773"/>
          </a:xfrm>
          <a:prstGeom prst="rect">
            <a:avLst/>
          </a:prstGeom>
          <a:noFill/>
        </p:spPr>
        <p:txBody>
          <a:bodyPr wrap="square">
            <a:spAutoFit/>
          </a:bodyPr>
          <a:lstStyle/>
          <a:p>
            <a:r>
              <a:rPr lang="en-US" sz="1400" dirty="0">
                <a:solidFill>
                  <a:schemeClr val="bg1"/>
                </a:solidFill>
                <a:latin typeface="Montserrat Light" panose="00000400000000000000" pitchFamily="2" charset="0"/>
              </a:rPr>
              <a:t>D. Y. Patil College of Engineering &amp; Technology, </a:t>
            </a:r>
          </a:p>
          <a:p>
            <a:r>
              <a:rPr lang="en-US" sz="1400" dirty="0" err="1">
                <a:solidFill>
                  <a:schemeClr val="bg1"/>
                </a:solidFill>
                <a:latin typeface="Montserrat Light" panose="00000400000000000000" pitchFamily="2" charset="0"/>
              </a:rPr>
              <a:t>Kasaba</a:t>
            </a:r>
            <a:r>
              <a:rPr lang="en-US" sz="1400" dirty="0">
                <a:solidFill>
                  <a:schemeClr val="bg1"/>
                </a:solidFill>
                <a:latin typeface="Montserrat Light" panose="00000400000000000000" pitchFamily="2" charset="0"/>
              </a:rPr>
              <a:t> </a:t>
            </a:r>
            <a:r>
              <a:rPr lang="en-US" sz="1400" dirty="0" err="1">
                <a:solidFill>
                  <a:schemeClr val="bg1"/>
                </a:solidFill>
                <a:latin typeface="Montserrat Light" panose="00000400000000000000" pitchFamily="2" charset="0"/>
              </a:rPr>
              <a:t>Bawada</a:t>
            </a:r>
            <a:r>
              <a:rPr lang="en-US" sz="1400" dirty="0">
                <a:solidFill>
                  <a:schemeClr val="bg1"/>
                </a:solidFill>
                <a:latin typeface="Montserrat Light" panose="00000400000000000000" pitchFamily="2" charset="0"/>
              </a:rPr>
              <a:t>, Kolhapur.</a:t>
            </a:r>
          </a:p>
          <a:p>
            <a:r>
              <a:rPr lang="en-US" sz="1100" dirty="0">
                <a:solidFill>
                  <a:srgbClr val="FFFF00"/>
                </a:solidFill>
                <a:latin typeface="Montserrat Light" panose="00000400000000000000" pitchFamily="2" charset="0"/>
              </a:rPr>
              <a:t>(An Autonomous Institute) </a:t>
            </a:r>
          </a:p>
          <a:p>
            <a:endParaRPr lang="en-US" sz="1100" dirty="0">
              <a:solidFill>
                <a:schemeClr val="bg1"/>
              </a:solidFill>
              <a:latin typeface="Montserrat Light" panose="00000400000000000000" pitchFamily="2" charset="0"/>
            </a:endParaRPr>
          </a:p>
          <a:p>
            <a:r>
              <a:rPr lang="en-US" sz="1600" dirty="0">
                <a:solidFill>
                  <a:schemeClr val="bg1"/>
                </a:solidFill>
                <a:latin typeface="Montserrat Medium" panose="00000600000000000000" pitchFamily="2" charset="0"/>
              </a:rPr>
              <a:t>9158915999 / 9158615999</a:t>
            </a:r>
            <a:endParaRPr lang="en-IN" sz="1600" dirty="0">
              <a:solidFill>
                <a:schemeClr val="bg1"/>
              </a:solidFill>
              <a:latin typeface="Montserrat Medium" panose="00000600000000000000" pitchFamily="2" charset="0"/>
            </a:endParaRPr>
          </a:p>
        </p:txBody>
      </p:sp>
      <p:sp>
        <p:nvSpPr>
          <p:cNvPr id="16" name="TextBox 15">
            <a:extLst>
              <a:ext uri="{FF2B5EF4-FFF2-40B4-BE49-F238E27FC236}">
                <a16:creationId xmlns:a16="http://schemas.microsoft.com/office/drawing/2014/main" id="{C55FE778-00CF-4B3A-A91B-9A727B1BFDC6}"/>
              </a:ext>
            </a:extLst>
          </p:cNvPr>
          <p:cNvSpPr txBox="1"/>
          <p:nvPr/>
        </p:nvSpPr>
        <p:spPr>
          <a:xfrm>
            <a:off x="4256056" y="2639088"/>
            <a:ext cx="4659344" cy="1092607"/>
          </a:xfrm>
          <a:prstGeom prst="rect">
            <a:avLst/>
          </a:prstGeom>
          <a:noFill/>
        </p:spPr>
        <p:txBody>
          <a:bodyPr wrap="square">
            <a:spAutoFit/>
          </a:bodyPr>
          <a:lstStyle>
            <a:defPPr>
              <a:defRPr lang="en-US"/>
            </a:defPPr>
            <a:lvl1pPr>
              <a:defRPr sz="1400">
                <a:solidFill>
                  <a:schemeClr val="bg1"/>
                </a:solidFill>
                <a:latin typeface="Montserrat Light" panose="00000400000000000000" pitchFamily="2" charset="0"/>
              </a:defRPr>
            </a:lvl1pPr>
          </a:lstStyle>
          <a:p>
            <a:r>
              <a:rPr lang="en-US" dirty="0"/>
              <a:t>Dr. D Y Patil </a:t>
            </a:r>
            <a:r>
              <a:rPr lang="en-US" dirty="0" err="1"/>
              <a:t>Pratishthan's</a:t>
            </a:r>
            <a:r>
              <a:rPr lang="en-US" dirty="0"/>
              <a:t> College of Engineering, </a:t>
            </a:r>
            <a:r>
              <a:rPr lang="en-US" dirty="0" err="1"/>
              <a:t>Salokhenagar</a:t>
            </a:r>
            <a:r>
              <a:rPr lang="en-US" dirty="0"/>
              <a:t>, Kolhapur. </a:t>
            </a:r>
          </a:p>
          <a:p>
            <a:endParaRPr lang="en-US" sz="1100" dirty="0"/>
          </a:p>
          <a:p>
            <a:endParaRPr lang="en-US" sz="1000" dirty="0"/>
          </a:p>
          <a:p>
            <a:r>
              <a:rPr lang="en-US" sz="1600" dirty="0">
                <a:latin typeface="Montserrat Medium" panose="00000600000000000000" pitchFamily="2" charset="0"/>
              </a:rPr>
              <a:t>9890595083 / 7798107373</a:t>
            </a:r>
            <a:endParaRPr lang="en-IN" sz="1600" dirty="0">
              <a:latin typeface="Montserrat Medium" panose="00000600000000000000" pitchFamily="2" charset="0"/>
            </a:endParaRPr>
          </a:p>
        </p:txBody>
      </p:sp>
      <p:sp>
        <p:nvSpPr>
          <p:cNvPr id="17" name="TextBox 16">
            <a:extLst>
              <a:ext uri="{FF2B5EF4-FFF2-40B4-BE49-F238E27FC236}">
                <a16:creationId xmlns:a16="http://schemas.microsoft.com/office/drawing/2014/main" id="{882784D8-35C9-4236-A990-A030E060B8FF}"/>
              </a:ext>
            </a:extLst>
          </p:cNvPr>
          <p:cNvSpPr txBox="1"/>
          <p:nvPr/>
        </p:nvSpPr>
        <p:spPr>
          <a:xfrm>
            <a:off x="4253718" y="1384202"/>
            <a:ext cx="4661682" cy="1092607"/>
          </a:xfrm>
          <a:prstGeom prst="rect">
            <a:avLst/>
          </a:prstGeom>
          <a:noFill/>
        </p:spPr>
        <p:txBody>
          <a:bodyPr wrap="square">
            <a:spAutoFit/>
          </a:bodyPr>
          <a:lstStyle>
            <a:defPPr>
              <a:defRPr lang="en-US"/>
            </a:defPPr>
            <a:lvl1pPr>
              <a:defRPr sz="1400">
                <a:solidFill>
                  <a:schemeClr val="bg1"/>
                </a:solidFill>
                <a:latin typeface="Montserrat Light" panose="00000400000000000000" pitchFamily="2" charset="0"/>
              </a:defRPr>
            </a:lvl1pPr>
          </a:lstStyle>
          <a:p>
            <a:r>
              <a:rPr lang="en-US" dirty="0"/>
              <a:t>D. Y. Patil Technical Campus, </a:t>
            </a:r>
          </a:p>
          <a:p>
            <a:r>
              <a:rPr lang="en-US" dirty="0" err="1"/>
              <a:t>Talsande</a:t>
            </a:r>
            <a:r>
              <a:rPr lang="en-US" dirty="0"/>
              <a:t>.</a:t>
            </a:r>
          </a:p>
          <a:p>
            <a:endParaRPr lang="en-US" sz="1100" dirty="0"/>
          </a:p>
          <a:p>
            <a:endParaRPr lang="en-US" sz="1000" dirty="0"/>
          </a:p>
          <a:p>
            <a:r>
              <a:rPr lang="en-US" sz="1600" dirty="0">
                <a:latin typeface="Montserrat Medium" panose="00000600000000000000" pitchFamily="2" charset="0"/>
              </a:rPr>
              <a:t>8329798890 / 9860618828 </a:t>
            </a:r>
            <a:endParaRPr lang="en-IN" sz="1600" dirty="0">
              <a:latin typeface="Montserrat Medium" panose="00000600000000000000" pitchFamily="2" charset="0"/>
            </a:endParaRPr>
          </a:p>
        </p:txBody>
      </p:sp>
      <p:sp>
        <p:nvSpPr>
          <p:cNvPr id="26" name="TextBox 25">
            <a:extLst>
              <a:ext uri="{FF2B5EF4-FFF2-40B4-BE49-F238E27FC236}">
                <a16:creationId xmlns:a16="http://schemas.microsoft.com/office/drawing/2014/main" id="{A8A96EB4-2C92-4619-9ABB-6C332E120396}"/>
              </a:ext>
            </a:extLst>
          </p:cNvPr>
          <p:cNvSpPr txBox="1"/>
          <p:nvPr/>
        </p:nvSpPr>
        <p:spPr>
          <a:xfrm>
            <a:off x="4253718" y="3874215"/>
            <a:ext cx="4433082" cy="1107996"/>
          </a:xfrm>
          <a:prstGeom prst="rect">
            <a:avLst/>
          </a:prstGeom>
          <a:noFill/>
        </p:spPr>
        <p:txBody>
          <a:bodyPr wrap="square">
            <a:spAutoFit/>
          </a:bodyPr>
          <a:lstStyle>
            <a:defPPr>
              <a:defRPr lang="en-US"/>
            </a:defPPr>
            <a:lvl1pPr>
              <a:defRPr sz="1400">
                <a:solidFill>
                  <a:schemeClr val="bg1"/>
                </a:solidFill>
                <a:latin typeface="Montserrat Light" panose="00000400000000000000" pitchFamily="2" charset="0"/>
              </a:defRPr>
            </a:lvl1pPr>
          </a:lstStyle>
          <a:p>
            <a:r>
              <a:rPr lang="en-US" dirty="0"/>
              <a:t>D. Y. Patil Agriculture and Technical University, </a:t>
            </a:r>
          </a:p>
          <a:p>
            <a:r>
              <a:rPr lang="en-US" dirty="0" err="1"/>
              <a:t>Talsande</a:t>
            </a:r>
            <a:r>
              <a:rPr lang="en-US" dirty="0"/>
              <a:t>.</a:t>
            </a:r>
          </a:p>
          <a:p>
            <a:endParaRPr lang="en-US" sz="800" dirty="0"/>
          </a:p>
          <a:p>
            <a:endParaRPr lang="en-US" dirty="0"/>
          </a:p>
          <a:p>
            <a:r>
              <a:rPr lang="en-US" sz="1600" dirty="0">
                <a:latin typeface="Montserrat Medium" panose="00000600000000000000" pitchFamily="2" charset="0"/>
              </a:rPr>
              <a:t>9699339917 / 9699330619</a:t>
            </a:r>
            <a:endParaRPr lang="en-IN" sz="1600" dirty="0">
              <a:latin typeface="Montserrat Medium" panose="00000600000000000000" pitchFamily="2" charset="0"/>
            </a:endParaRPr>
          </a:p>
        </p:txBody>
      </p:sp>
      <p:pic>
        <p:nvPicPr>
          <p:cNvPr id="3" name="Picture 2">
            <a:extLst>
              <a:ext uri="{FF2B5EF4-FFF2-40B4-BE49-F238E27FC236}">
                <a16:creationId xmlns:a16="http://schemas.microsoft.com/office/drawing/2014/main" id="{53934A11-3F20-480B-BB9C-B6E1911302A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86867" y="1105422"/>
            <a:ext cx="897414" cy="903029"/>
          </a:xfrm>
          <a:prstGeom prst="rect">
            <a:avLst/>
          </a:prstGeom>
        </p:spPr>
      </p:pic>
    </p:spTree>
    <p:extLst>
      <p:ext uri="{BB962C8B-B14F-4D97-AF65-F5344CB8AC3E}">
        <p14:creationId xmlns:p14="http://schemas.microsoft.com/office/powerpoint/2010/main" val="2378555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95264093"/>
              </p:ext>
            </p:extLst>
          </p:nvPr>
        </p:nvGraphicFramePr>
        <p:xfrm>
          <a:off x="519853" y="971550"/>
          <a:ext cx="8090745" cy="4045650"/>
        </p:xfrm>
        <a:graphic>
          <a:graphicData uri="http://schemas.openxmlformats.org/drawingml/2006/table">
            <a:tbl>
              <a:tblPr firstRow="1" bandRow="1">
                <a:tableStyleId>{5940675A-B579-460E-94D1-54222C63F5DA}</a:tableStyleId>
              </a:tblPr>
              <a:tblGrid>
                <a:gridCol w="3063501">
                  <a:extLst>
                    <a:ext uri="{9D8B030D-6E8A-4147-A177-3AD203B41FA5}">
                      <a16:colId xmlns:a16="http://schemas.microsoft.com/office/drawing/2014/main" val="20000"/>
                    </a:ext>
                  </a:extLst>
                </a:gridCol>
                <a:gridCol w="1256811">
                  <a:extLst>
                    <a:ext uri="{9D8B030D-6E8A-4147-A177-3AD203B41FA5}">
                      <a16:colId xmlns:a16="http://schemas.microsoft.com/office/drawing/2014/main" val="20001"/>
                    </a:ext>
                  </a:extLst>
                </a:gridCol>
                <a:gridCol w="1256811">
                  <a:extLst>
                    <a:ext uri="{9D8B030D-6E8A-4147-A177-3AD203B41FA5}">
                      <a16:colId xmlns:a16="http://schemas.microsoft.com/office/drawing/2014/main" val="20002"/>
                    </a:ext>
                  </a:extLst>
                </a:gridCol>
                <a:gridCol w="1256811">
                  <a:extLst>
                    <a:ext uri="{9D8B030D-6E8A-4147-A177-3AD203B41FA5}">
                      <a16:colId xmlns:a16="http://schemas.microsoft.com/office/drawing/2014/main" val="20003"/>
                    </a:ext>
                  </a:extLst>
                </a:gridCol>
                <a:gridCol w="1256811">
                  <a:extLst>
                    <a:ext uri="{9D8B030D-6E8A-4147-A177-3AD203B41FA5}">
                      <a16:colId xmlns:a16="http://schemas.microsoft.com/office/drawing/2014/main" val="4016386147"/>
                    </a:ext>
                  </a:extLst>
                </a:gridCol>
              </a:tblGrid>
              <a:tr h="282054">
                <a:tc>
                  <a:txBody>
                    <a:bodyPr/>
                    <a:lstStyle/>
                    <a:p>
                      <a:pPr algn="ctr"/>
                      <a:endParaRPr lang="en-US" sz="1400" b="0" dirty="0">
                        <a:solidFill>
                          <a:schemeClr val="bg1"/>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en-US" sz="1400" dirty="0">
                          <a:solidFill>
                            <a:schemeClr val="bg1"/>
                          </a:solidFill>
                          <a:latin typeface="Gotham Medium" panose="02000603030000020004" pitchFamily="2" charset="0"/>
                        </a:rPr>
                        <a:t>20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en-US" sz="1400" dirty="0">
                          <a:solidFill>
                            <a:schemeClr val="bg1"/>
                          </a:solidFill>
                          <a:latin typeface="Gotham Medium" panose="02000603030000020004" pitchFamily="2" charset="0"/>
                        </a:rPr>
                        <a:t>20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en-US" sz="1400" dirty="0">
                          <a:solidFill>
                            <a:schemeClr val="bg1"/>
                          </a:solidFill>
                          <a:latin typeface="Gotham Medium" panose="02000603030000020004" pitchFamily="2" charset="0"/>
                        </a:rPr>
                        <a:t>20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en-US" sz="1400" dirty="0">
                          <a:solidFill>
                            <a:schemeClr val="bg1"/>
                          </a:solidFill>
                          <a:latin typeface="Gotham Medium" panose="02000603030000020004" pitchFamily="2" charset="0"/>
                        </a:rPr>
                        <a:t>20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10000"/>
                  </a:ext>
                </a:extLst>
              </a:tr>
              <a:tr h="333915">
                <a:tc>
                  <a:txBody>
                    <a:bodyPr/>
                    <a:lstStyle/>
                    <a:p>
                      <a:pPr algn="ctr"/>
                      <a:r>
                        <a:rPr lang="en-US" sz="1400" b="0" dirty="0">
                          <a:solidFill>
                            <a:schemeClr val="bg1"/>
                          </a:solidFill>
                          <a:latin typeface="Gotham Medium" panose="02000603030000020004" pitchFamily="2" charset="0"/>
                        </a:rPr>
                        <a:t>No. of Engineers </a:t>
                      </a:r>
                      <a:r>
                        <a:rPr lang="en-US" sz="1400" b="0" baseline="0" dirty="0">
                          <a:solidFill>
                            <a:schemeClr val="bg1"/>
                          </a:solidFill>
                          <a:latin typeface="Gotham Medium" panose="02000603030000020004" pitchFamily="2" charset="0"/>
                        </a:rPr>
                        <a:t>Graduated</a:t>
                      </a:r>
                      <a:endParaRPr lang="en-US" sz="1400" b="0" dirty="0">
                        <a:solidFill>
                          <a:schemeClr val="bg1"/>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en-US" sz="1400" dirty="0">
                          <a:latin typeface="Gotham Medium" panose="02000603030000020004" pitchFamily="2" charset="0"/>
                        </a:rPr>
                        <a:t>9,67,835</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latin typeface="Gotham Medium" panose="02000603030000020004" pitchFamily="2" charset="0"/>
                        </a:rPr>
                        <a:t>9,44,391</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solidFill>
                            <a:schemeClr val="tx1"/>
                          </a:solidFill>
                          <a:latin typeface="Gotham Medium" panose="02000603030000020004" pitchFamily="2" charset="0"/>
                        </a:rPr>
                        <a:t>8,75,234</a:t>
                      </a:r>
                      <a:endParaRPr lang="en-US" sz="1400" b="1" dirty="0">
                        <a:solidFill>
                          <a:schemeClr val="tx1"/>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solidFill>
                            <a:schemeClr val="tx1"/>
                          </a:solidFill>
                          <a:latin typeface="Gotham Medium" panose="02000603030000020004" pitchFamily="2" charset="0"/>
                        </a:rPr>
                        <a:t>10,23,43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33915">
                <a:tc>
                  <a:txBody>
                    <a:bodyPr/>
                    <a:lstStyle/>
                    <a:p>
                      <a:pPr algn="ctr"/>
                      <a:r>
                        <a:rPr lang="en-US" sz="1400" b="0" dirty="0">
                          <a:solidFill>
                            <a:schemeClr val="bg1"/>
                          </a:solidFill>
                          <a:latin typeface="Gotham Medium" panose="02000603030000020004" pitchFamily="2" charset="0"/>
                        </a:rPr>
                        <a:t>Campus Plac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en-US" sz="1400" dirty="0">
                          <a:latin typeface="Gotham Medium" panose="02000603030000020004" pitchFamily="2" charset="0"/>
                        </a:rPr>
                        <a:t>3,61,201</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latin typeface="Gotham Medium" panose="02000603030000020004" pitchFamily="2" charset="0"/>
                        </a:rPr>
                        <a:t>3,62,571</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solidFill>
                            <a:schemeClr val="tx1"/>
                          </a:solidFill>
                          <a:latin typeface="Gotham Medium" panose="02000603030000020004" pitchFamily="2" charset="0"/>
                        </a:rPr>
                        <a:t>3,65,342</a:t>
                      </a:r>
                      <a:endParaRPr lang="en-US" sz="1400" b="1" dirty="0">
                        <a:solidFill>
                          <a:schemeClr val="tx1"/>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solidFill>
                            <a:schemeClr val="tx1"/>
                          </a:solidFill>
                          <a:latin typeface="Gotham Medium" panose="02000603030000020004" pitchFamily="2" charset="0"/>
                        </a:rPr>
                        <a:t>3,54,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33915">
                <a:tc>
                  <a:txBody>
                    <a:bodyPr/>
                    <a:lstStyle/>
                    <a:p>
                      <a:pPr algn="ctr"/>
                      <a:r>
                        <a:rPr lang="en-US" sz="1400" b="0" dirty="0">
                          <a:solidFill>
                            <a:schemeClr val="bg1"/>
                          </a:solidFill>
                          <a:latin typeface="Gotham Medium" panose="02000603030000020004" pitchFamily="2" charset="0"/>
                        </a:rPr>
                        <a:t>Higher</a:t>
                      </a:r>
                      <a:r>
                        <a:rPr lang="en-US" sz="1400" b="0" baseline="0" dirty="0">
                          <a:solidFill>
                            <a:schemeClr val="bg1"/>
                          </a:solidFill>
                          <a:latin typeface="Gotham Medium" panose="02000603030000020004" pitchFamily="2" charset="0"/>
                        </a:rPr>
                        <a:t> Education outside India</a:t>
                      </a:r>
                      <a:endParaRPr lang="en-US" sz="1400" b="0" dirty="0">
                        <a:solidFill>
                          <a:schemeClr val="bg1"/>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en-US" sz="1400" dirty="0">
                          <a:latin typeface="Gotham Medium" panose="02000603030000020004" pitchFamily="2" charset="0"/>
                        </a:rPr>
                        <a:t>86,416</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latin typeface="Gotham Medium" panose="02000603030000020004" pitchFamily="2" charset="0"/>
                        </a:rPr>
                        <a:t>1,02,315</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solidFill>
                            <a:schemeClr val="tx1"/>
                          </a:solidFill>
                          <a:latin typeface="Gotham Medium" panose="02000603030000020004" pitchFamily="2" charset="0"/>
                        </a:rPr>
                        <a:t>1,08,416</a:t>
                      </a:r>
                      <a:endParaRPr lang="en-US" sz="1400" b="1" dirty="0">
                        <a:solidFill>
                          <a:schemeClr val="tx1"/>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solidFill>
                            <a:schemeClr val="tx1"/>
                          </a:solidFill>
                          <a:latin typeface="Gotham Medium" panose="02000603030000020004" pitchFamily="2" charset="0"/>
                        </a:rPr>
                        <a:t>1,50,3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33915">
                <a:tc>
                  <a:txBody>
                    <a:bodyPr/>
                    <a:lstStyle/>
                    <a:p>
                      <a:pPr algn="ctr"/>
                      <a:r>
                        <a:rPr lang="en-US" sz="1400" b="0" dirty="0">
                          <a:solidFill>
                            <a:schemeClr val="bg1"/>
                          </a:solidFill>
                          <a:latin typeface="Gotham Medium" panose="02000603030000020004" pitchFamily="2" charset="0"/>
                        </a:rPr>
                        <a:t>G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en-US" sz="1400" dirty="0">
                          <a:latin typeface="Gotham Medium" panose="02000603030000020004" pitchFamily="2" charset="0"/>
                        </a:rPr>
                        <a:t> 1,29,149</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latin typeface="Gotham Medium" panose="02000603030000020004" pitchFamily="2" charset="0"/>
                        </a:rPr>
                        <a:t>1,60,643</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solidFill>
                            <a:schemeClr val="tx1"/>
                          </a:solidFill>
                          <a:latin typeface="Gotham Medium" panose="02000603030000020004" pitchFamily="2" charset="0"/>
                        </a:rPr>
                        <a:t>1,57,830</a:t>
                      </a:r>
                      <a:endParaRPr lang="en-US" sz="1400" b="1" dirty="0">
                        <a:solidFill>
                          <a:schemeClr val="tx1"/>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0" dirty="0">
                          <a:solidFill>
                            <a:schemeClr val="tx1"/>
                          </a:solidFill>
                          <a:latin typeface="Gotham Medium" panose="02000603030000020004" pitchFamily="2" charset="0"/>
                        </a:rPr>
                        <a:t>1,28,79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33915">
                <a:tc>
                  <a:txBody>
                    <a:bodyPr/>
                    <a:lstStyle/>
                    <a:p>
                      <a:pPr algn="ctr"/>
                      <a:r>
                        <a:rPr lang="en-US" sz="1400" b="0" dirty="0">
                          <a:solidFill>
                            <a:schemeClr val="bg1"/>
                          </a:solidFill>
                          <a:latin typeface="Gotham Medium" panose="02000603030000020004" pitchFamily="2" charset="0"/>
                        </a:rPr>
                        <a:t>UPS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en-US" sz="1400" dirty="0">
                          <a:latin typeface="Gotham Medium" panose="02000603030000020004" pitchFamily="2" charset="0"/>
                        </a:rPr>
                        <a:t>313</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latin typeface="Gotham Medium" panose="02000603030000020004" pitchFamily="2" charset="0"/>
                        </a:rPr>
                        <a:t>360</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solidFill>
                            <a:schemeClr val="tx1"/>
                          </a:solidFill>
                          <a:latin typeface="Gotham Medium" panose="02000603030000020004" pitchFamily="2" charset="0"/>
                        </a:rPr>
                        <a:t>416</a:t>
                      </a:r>
                      <a:endParaRPr lang="en-US" sz="1400" b="1" dirty="0">
                        <a:solidFill>
                          <a:schemeClr val="tx1"/>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solidFill>
                            <a:schemeClr val="tx1"/>
                          </a:solidFill>
                          <a:latin typeface="Gotham Medium" panose="02000603030000020004" pitchFamily="2" charset="0"/>
                        </a:rPr>
                        <a:t>76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33915">
                <a:tc>
                  <a:txBody>
                    <a:bodyPr/>
                    <a:lstStyle/>
                    <a:p>
                      <a:pPr algn="ctr"/>
                      <a:r>
                        <a:rPr lang="en-US" sz="1400" b="0" dirty="0">
                          <a:solidFill>
                            <a:schemeClr val="bg1"/>
                          </a:solidFill>
                          <a:latin typeface="Gotham Medium" panose="02000603030000020004" pitchFamily="2" charset="0"/>
                        </a:rPr>
                        <a:t>Armed</a:t>
                      </a:r>
                      <a:r>
                        <a:rPr lang="en-US" sz="1400" b="0" baseline="0" dirty="0">
                          <a:solidFill>
                            <a:schemeClr val="bg1"/>
                          </a:solidFill>
                          <a:latin typeface="Gotham Medium" panose="02000603030000020004" pitchFamily="2" charset="0"/>
                        </a:rPr>
                        <a:t> Forces</a:t>
                      </a:r>
                      <a:endParaRPr lang="en-US" sz="1400" b="0" dirty="0">
                        <a:solidFill>
                          <a:schemeClr val="bg1"/>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en-US" sz="1400" dirty="0">
                          <a:latin typeface="Gotham Medium" panose="02000603030000020004" pitchFamily="2" charset="0"/>
                        </a:rPr>
                        <a:t>24,660</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latin typeface="Gotham Medium" panose="02000603030000020004" pitchFamily="2" charset="0"/>
                        </a:rPr>
                        <a:t>29,332</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solidFill>
                            <a:schemeClr val="tx1"/>
                          </a:solidFill>
                          <a:latin typeface="Gotham Medium" panose="02000603030000020004" pitchFamily="2" charset="0"/>
                        </a:rPr>
                        <a:t>41,766</a:t>
                      </a:r>
                      <a:endParaRPr lang="en-US" sz="1400" b="1" dirty="0">
                        <a:solidFill>
                          <a:schemeClr val="tx1"/>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solidFill>
                            <a:schemeClr val="tx1"/>
                          </a:solidFill>
                          <a:latin typeface="Gotham Medium" panose="02000603030000020004" pitchFamily="2" charset="0"/>
                        </a:rPr>
                        <a:t>45,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79491">
                <a:tc>
                  <a:txBody>
                    <a:bodyPr/>
                    <a:lstStyle/>
                    <a:p>
                      <a:pPr algn="ctr"/>
                      <a:r>
                        <a:rPr lang="en-US" sz="1400" b="0" dirty="0">
                          <a:solidFill>
                            <a:schemeClr val="bg1"/>
                          </a:solidFill>
                          <a:latin typeface="Gotham Medium" panose="02000603030000020004" pitchFamily="2" charset="0"/>
                        </a:rPr>
                        <a:t>CAT / MBA in IIMs &amp;</a:t>
                      </a:r>
                      <a:r>
                        <a:rPr lang="en-US" sz="1400" b="0" baseline="0" dirty="0">
                          <a:solidFill>
                            <a:schemeClr val="bg1"/>
                          </a:solidFill>
                          <a:latin typeface="Gotham Medium" panose="02000603030000020004" pitchFamily="2" charset="0"/>
                        </a:rPr>
                        <a:t> </a:t>
                      </a:r>
                      <a:br>
                        <a:rPr lang="en-US" sz="1400" b="0" baseline="0" dirty="0">
                          <a:solidFill>
                            <a:schemeClr val="bg1"/>
                          </a:solidFill>
                          <a:latin typeface="Gotham Medium" panose="02000603030000020004" pitchFamily="2" charset="0"/>
                        </a:rPr>
                      </a:br>
                      <a:r>
                        <a:rPr lang="en-US" sz="1400" b="0" baseline="0" dirty="0">
                          <a:solidFill>
                            <a:schemeClr val="bg1"/>
                          </a:solidFill>
                          <a:latin typeface="Gotham Medium" panose="02000603030000020004" pitchFamily="2" charset="0"/>
                        </a:rPr>
                        <a:t>Top B Schools</a:t>
                      </a:r>
                      <a:endParaRPr lang="en-US" sz="1400" b="0" dirty="0">
                        <a:solidFill>
                          <a:schemeClr val="bg1"/>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en-US" sz="1400" dirty="0">
                          <a:latin typeface="Gotham Medium" panose="02000603030000020004" pitchFamily="2" charset="0"/>
                        </a:rPr>
                        <a:t>11,313</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latin typeface="Gotham Medium" panose="02000603030000020004" pitchFamily="2" charset="0"/>
                        </a:rPr>
                        <a:t>12,440</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solidFill>
                            <a:schemeClr val="tx1"/>
                          </a:solidFill>
                          <a:latin typeface="Gotham Medium" panose="02000603030000020004" pitchFamily="2" charset="0"/>
                        </a:rPr>
                        <a:t>16,716</a:t>
                      </a:r>
                      <a:endParaRPr lang="en-US" sz="1400" b="1" dirty="0">
                        <a:solidFill>
                          <a:schemeClr val="tx1"/>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solidFill>
                            <a:schemeClr val="tx1"/>
                          </a:solidFill>
                          <a:latin typeface="Gotham Medium" panose="02000603030000020004" pitchFamily="2" charset="0"/>
                        </a:rPr>
                        <a:t>18,73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304800">
                <a:tc>
                  <a:txBody>
                    <a:bodyPr/>
                    <a:lstStyle/>
                    <a:p>
                      <a:pPr algn="ctr"/>
                      <a:r>
                        <a:rPr lang="en-US" sz="1400" b="0" dirty="0">
                          <a:solidFill>
                            <a:schemeClr val="bg1"/>
                          </a:solidFill>
                          <a:latin typeface="Gotham Medium" panose="02000603030000020004" pitchFamily="2" charset="0"/>
                        </a:rPr>
                        <a:t>Bank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en-US" sz="1400" dirty="0">
                          <a:latin typeface="Gotham Medium" panose="02000603030000020004" pitchFamily="2" charset="0"/>
                        </a:rPr>
                        <a:t>60,450</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latin typeface="Gotham Medium" panose="02000603030000020004" pitchFamily="2" charset="0"/>
                        </a:rPr>
                        <a:t>72,416</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solidFill>
                            <a:schemeClr val="tx1"/>
                          </a:solidFill>
                          <a:latin typeface="Gotham Medium" panose="02000603030000020004" pitchFamily="2" charset="0"/>
                        </a:rPr>
                        <a:t>84,913</a:t>
                      </a:r>
                      <a:endParaRPr lang="en-US" sz="1400" b="1" dirty="0">
                        <a:solidFill>
                          <a:schemeClr val="tx1"/>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solidFill>
                            <a:schemeClr val="tx1"/>
                          </a:solidFill>
                          <a:latin typeface="Gotham Medium" panose="02000603030000020004" pitchFamily="2" charset="0"/>
                        </a:rPr>
                        <a:t>1,02,4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3539957"/>
                  </a:ext>
                </a:extLst>
              </a:tr>
              <a:tr h="304800">
                <a:tc>
                  <a:txBody>
                    <a:bodyPr/>
                    <a:lstStyle/>
                    <a:p>
                      <a:pPr algn="ctr"/>
                      <a:r>
                        <a:rPr lang="en-US" sz="1400" b="0" dirty="0">
                          <a:solidFill>
                            <a:schemeClr val="bg1"/>
                          </a:solidFill>
                          <a:latin typeface="Gotham Medium" panose="02000603030000020004" pitchFamily="2" charset="0"/>
                        </a:rPr>
                        <a:t>MPS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en-US" sz="1400" dirty="0">
                          <a:latin typeface="Gotham Medium" panose="02000603030000020004" pitchFamily="2" charset="0"/>
                        </a:rPr>
                        <a:t>4,112</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latin typeface="Gotham Medium" panose="02000603030000020004" pitchFamily="2" charset="0"/>
                        </a:rPr>
                        <a:t>5,342</a:t>
                      </a:r>
                      <a:endParaRPr lang="en-US" sz="1400" b="1" dirty="0">
                        <a:solidFill>
                          <a:srgbClr val="002060"/>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solidFill>
                            <a:schemeClr val="tx1"/>
                          </a:solidFill>
                          <a:latin typeface="Gotham Medium" panose="02000603030000020004" pitchFamily="2" charset="0"/>
                        </a:rPr>
                        <a:t>6,012</a:t>
                      </a:r>
                      <a:endParaRPr lang="en-US" sz="1400" b="1" dirty="0">
                        <a:solidFill>
                          <a:schemeClr val="tx1"/>
                        </a:solidFill>
                        <a:latin typeface="Gotham Medium" panose="02000603030000020004"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solidFill>
                            <a:schemeClr val="tx1"/>
                          </a:solidFill>
                          <a:latin typeface="Gotham Medium" panose="02000603030000020004" pitchFamily="2" charset="0"/>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5784341"/>
                  </a:ext>
                </a:extLst>
              </a:tr>
              <a:tr h="304800">
                <a:tc>
                  <a:txBody>
                    <a:bodyPr/>
                    <a:lstStyle/>
                    <a:p>
                      <a:pPr algn="ctr"/>
                      <a:r>
                        <a:rPr lang="en-US" sz="1400" b="0" dirty="0">
                          <a:solidFill>
                            <a:schemeClr val="bg1"/>
                          </a:solidFill>
                          <a:latin typeface="Gotham Medium" panose="02000603030000020004" pitchFamily="2" charset="0"/>
                        </a:rPr>
                        <a:t>Total Progres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algn="ctr" defTabSz="914378" rtl="0" eaLnBrk="1" fontAlgn="b" latinLnBrk="0" hangingPunct="1"/>
                      <a:r>
                        <a:rPr lang="en-IN" sz="1400" kern="1200" dirty="0">
                          <a:latin typeface="Gotham Medium" panose="02000603030000020004" pitchFamily="2" charset="0"/>
                        </a:rPr>
                        <a:t>6,77,614</a:t>
                      </a:r>
                      <a:endParaRPr lang="en-IN" sz="1400" b="1" kern="1200" dirty="0">
                        <a:solidFill>
                          <a:srgbClr val="002060"/>
                        </a:solidFill>
                        <a:latin typeface="Gotham Medium" panose="02000603030000020004" pitchFamily="2"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8" rtl="0" eaLnBrk="1" fontAlgn="b" latinLnBrk="0" hangingPunct="1"/>
                      <a:r>
                        <a:rPr lang="en-IN" sz="1400" kern="1200" dirty="0">
                          <a:latin typeface="Gotham Medium" panose="02000603030000020004" pitchFamily="2" charset="0"/>
                        </a:rPr>
                        <a:t>7,45,419</a:t>
                      </a:r>
                      <a:endParaRPr lang="en-IN" sz="1400" b="1" kern="1200" dirty="0">
                        <a:solidFill>
                          <a:srgbClr val="002060"/>
                        </a:solidFill>
                        <a:latin typeface="Gotham Medium" panose="02000603030000020004" pitchFamily="2"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8" rtl="0" eaLnBrk="1" fontAlgn="b" latinLnBrk="0" hangingPunct="1"/>
                      <a:r>
                        <a:rPr lang="en-IN" sz="1400" kern="1200" dirty="0">
                          <a:solidFill>
                            <a:schemeClr val="tx1"/>
                          </a:solidFill>
                          <a:latin typeface="Gotham Medium" panose="02000603030000020004" pitchFamily="2" charset="0"/>
                        </a:rPr>
                        <a:t>7,81,411</a:t>
                      </a:r>
                      <a:endParaRPr lang="en-IN" sz="1400" b="1" kern="1200" dirty="0">
                        <a:solidFill>
                          <a:schemeClr val="tx1"/>
                        </a:solidFill>
                        <a:latin typeface="Gotham Medium" panose="02000603030000020004" pitchFamily="2"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8" rtl="0" eaLnBrk="1" fontAlgn="b" latinLnBrk="0" hangingPunct="1"/>
                      <a:r>
                        <a:rPr lang="en-US" sz="1400" b="1" kern="1200" dirty="0">
                          <a:solidFill>
                            <a:schemeClr val="tx1"/>
                          </a:solidFill>
                          <a:latin typeface="Gotham Medium" panose="02000603030000020004" pitchFamily="2" charset="0"/>
                          <a:ea typeface="+mn-ea"/>
                          <a:cs typeface="+mn-cs"/>
                        </a:rPr>
                        <a:t>8,00,015</a:t>
                      </a:r>
                      <a:endParaRPr lang="en-IN" sz="1400" b="1" kern="1200" dirty="0">
                        <a:solidFill>
                          <a:schemeClr val="tx1"/>
                        </a:solidFill>
                        <a:latin typeface="Gotham Medium" panose="02000603030000020004" pitchFamily="2"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33712108"/>
                  </a:ext>
                </a:extLst>
              </a:tr>
              <a:tr h="304800">
                <a:tc>
                  <a:txBody>
                    <a:bodyPr/>
                    <a:lstStyle/>
                    <a:p>
                      <a:pPr algn="ctr"/>
                      <a:r>
                        <a:rPr lang="en-US" sz="1400" b="0" dirty="0">
                          <a:solidFill>
                            <a:schemeClr val="bg1"/>
                          </a:solidFill>
                          <a:latin typeface="Gotham Medium" panose="02000603030000020004" pitchFamily="2" charset="0"/>
                        </a:rPr>
                        <a:t>% Progres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algn="ctr" defTabSz="914378" rtl="0" eaLnBrk="1" fontAlgn="b" latinLnBrk="0" hangingPunct="1"/>
                      <a:r>
                        <a:rPr lang="en-IN" sz="1400" b="1" kern="1200" dirty="0">
                          <a:solidFill>
                            <a:srgbClr val="FF5969"/>
                          </a:solidFill>
                          <a:latin typeface="Gotham Medium" panose="02000603030000020004" pitchFamily="2" charset="0"/>
                        </a:rPr>
                        <a:t>70.01</a:t>
                      </a:r>
                      <a:endParaRPr lang="en-IN" sz="1400" b="1" kern="1200" dirty="0">
                        <a:solidFill>
                          <a:srgbClr val="FF5969"/>
                        </a:solidFill>
                        <a:latin typeface="Gotham Medium" panose="02000603030000020004" pitchFamily="2"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8" rtl="0" eaLnBrk="1" fontAlgn="b" latinLnBrk="0" hangingPunct="1"/>
                      <a:r>
                        <a:rPr lang="en-IN" sz="1400" b="1" kern="1200" dirty="0">
                          <a:solidFill>
                            <a:srgbClr val="FF5969"/>
                          </a:solidFill>
                          <a:latin typeface="Gotham Medium" panose="02000603030000020004" pitchFamily="2" charset="0"/>
                        </a:rPr>
                        <a:t>78.93</a:t>
                      </a:r>
                      <a:endParaRPr lang="en-IN" sz="1400" b="1" kern="1200" dirty="0">
                        <a:solidFill>
                          <a:srgbClr val="FF5969"/>
                        </a:solidFill>
                        <a:latin typeface="Gotham Medium" panose="02000603030000020004" pitchFamily="2"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8" rtl="0" eaLnBrk="1" fontAlgn="b" latinLnBrk="0" hangingPunct="1"/>
                      <a:r>
                        <a:rPr lang="en-IN" sz="1400" b="1" kern="1200" dirty="0">
                          <a:solidFill>
                            <a:srgbClr val="FF5969"/>
                          </a:solidFill>
                          <a:latin typeface="Gotham Medium" panose="02000603030000020004" pitchFamily="2" charset="0"/>
                        </a:rPr>
                        <a:t>89.28</a:t>
                      </a:r>
                      <a:endParaRPr lang="en-IN" sz="1400" b="1" kern="1200" dirty="0">
                        <a:solidFill>
                          <a:srgbClr val="FF5969"/>
                        </a:solidFill>
                        <a:latin typeface="Gotham Medium" panose="02000603030000020004" pitchFamily="2"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8" rtl="0" eaLnBrk="1" fontAlgn="b" latinLnBrk="0" hangingPunct="1"/>
                      <a:r>
                        <a:rPr lang="en-US" sz="1400" b="1" kern="1200" dirty="0">
                          <a:solidFill>
                            <a:srgbClr val="FF5969"/>
                          </a:solidFill>
                          <a:latin typeface="Gotham Medium" panose="02000603030000020004" pitchFamily="2" charset="0"/>
                          <a:ea typeface="+mn-ea"/>
                          <a:cs typeface="+mn-cs"/>
                        </a:rPr>
                        <a:t>78.17</a:t>
                      </a:r>
                      <a:endParaRPr lang="en-IN" sz="1400" b="1" kern="1200" dirty="0">
                        <a:solidFill>
                          <a:srgbClr val="FF5969"/>
                        </a:solidFill>
                        <a:latin typeface="Gotham Medium" panose="02000603030000020004" pitchFamily="2"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2135193"/>
                  </a:ext>
                </a:extLst>
              </a:tr>
            </a:tbl>
          </a:graphicData>
        </a:graphic>
      </p:graphicFrame>
      <p:sp>
        <p:nvSpPr>
          <p:cNvPr id="7" name="Title 1">
            <a:extLst>
              <a:ext uri="{FF2B5EF4-FFF2-40B4-BE49-F238E27FC236}">
                <a16:creationId xmlns:a16="http://schemas.microsoft.com/office/drawing/2014/main" id="{4DC08F36-17F8-4385-9CAB-04D050075903}"/>
              </a:ext>
            </a:extLst>
          </p:cNvPr>
          <p:cNvSpPr txBox="1">
            <a:spLocks/>
          </p:cNvSpPr>
          <p:nvPr/>
        </p:nvSpPr>
        <p:spPr>
          <a:xfrm>
            <a:off x="533400" y="438150"/>
            <a:ext cx="6412525" cy="435858"/>
          </a:xfrm>
          <a:prstGeom prst="rect">
            <a:avLst/>
          </a:prstGeom>
          <a:effectLst/>
        </p:spPr>
        <p:txBody>
          <a:bodyPr vert="horz" lIns="91440" tIns="45720" rIns="91440" bIns="45720" rtlCol="0" anchor="ctr">
            <a:noAutofit/>
          </a:bodyPr>
          <a:lstStyle>
            <a:lvl1pPr algn="ctr" defTabSz="914378"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Facts / Reality about Engineering</a:t>
            </a:r>
          </a:p>
        </p:txBody>
      </p:sp>
      <p:sp>
        <p:nvSpPr>
          <p:cNvPr id="14" name="Rectangle 13">
            <a:extLst>
              <a:ext uri="{FF2B5EF4-FFF2-40B4-BE49-F238E27FC236}">
                <a16:creationId xmlns:a16="http://schemas.microsoft.com/office/drawing/2014/main" id="{FFF23203-A851-45CB-8CC0-96EF0A0026F3}"/>
              </a:ext>
            </a:extLst>
          </p:cNvPr>
          <p:cNvSpPr/>
          <p:nvPr/>
        </p:nvSpPr>
        <p:spPr>
          <a:xfrm>
            <a:off x="8763000" y="1047750"/>
            <a:ext cx="76200" cy="4095750"/>
          </a:xfrm>
          <a:prstGeom prst="rect">
            <a:avLst/>
          </a:prstGeom>
          <a:solidFill>
            <a:srgbClr val="FEC6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15" name="Rectangle 14">
            <a:extLst>
              <a:ext uri="{FF2B5EF4-FFF2-40B4-BE49-F238E27FC236}">
                <a16:creationId xmlns:a16="http://schemas.microsoft.com/office/drawing/2014/main" id="{D8E573E5-7C74-4A0E-9D3E-878949075E2B}"/>
              </a:ext>
            </a:extLst>
          </p:cNvPr>
          <p:cNvSpPr/>
          <p:nvPr/>
        </p:nvSpPr>
        <p:spPr>
          <a:xfrm>
            <a:off x="304800" y="0"/>
            <a:ext cx="76200" cy="470535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Tree>
    <p:extLst>
      <p:ext uri="{BB962C8B-B14F-4D97-AF65-F5344CB8AC3E}">
        <p14:creationId xmlns:p14="http://schemas.microsoft.com/office/powerpoint/2010/main" val="465444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4">
            <a:extLst>
              <a:ext uri="{FF2B5EF4-FFF2-40B4-BE49-F238E27FC236}">
                <a16:creationId xmlns:a16="http://schemas.microsoft.com/office/drawing/2014/main" id="{9FE40986-ED07-4A38-A20F-457D91556A3E}"/>
              </a:ext>
            </a:extLst>
          </p:cNvPr>
          <p:cNvSpPr/>
          <p:nvPr/>
        </p:nvSpPr>
        <p:spPr>
          <a:xfrm>
            <a:off x="685799" y="1123950"/>
            <a:ext cx="7760777" cy="3733800"/>
          </a:xfrm>
          <a:custGeom>
            <a:avLst/>
            <a:gdLst>
              <a:gd name="connsiteX0" fmla="*/ 0 w 3744416"/>
              <a:gd name="connsiteY0" fmla="*/ 0 h 1008112"/>
              <a:gd name="connsiteX1" fmla="*/ 3744416 w 3744416"/>
              <a:gd name="connsiteY1" fmla="*/ 0 h 1008112"/>
              <a:gd name="connsiteX2" fmla="*/ 3744416 w 3744416"/>
              <a:gd name="connsiteY2" fmla="*/ 1008112 h 1008112"/>
              <a:gd name="connsiteX3" fmla="*/ 0 w 3744416"/>
              <a:gd name="connsiteY3" fmla="*/ 1008112 h 1008112"/>
              <a:gd name="connsiteX4" fmla="*/ 0 w 3744416"/>
              <a:gd name="connsiteY4" fmla="*/ 0 h 1008112"/>
              <a:gd name="connsiteX0" fmla="*/ 3744416 w 3835856"/>
              <a:gd name="connsiteY0" fmla="*/ 0 h 1008112"/>
              <a:gd name="connsiteX1" fmla="*/ 3744416 w 3835856"/>
              <a:gd name="connsiteY1" fmla="*/ 1008112 h 1008112"/>
              <a:gd name="connsiteX2" fmla="*/ 0 w 3835856"/>
              <a:gd name="connsiteY2" fmla="*/ 1008112 h 1008112"/>
              <a:gd name="connsiteX3" fmla="*/ 0 w 3835856"/>
              <a:gd name="connsiteY3" fmla="*/ 0 h 1008112"/>
              <a:gd name="connsiteX4" fmla="*/ 3835856 w 3835856"/>
              <a:gd name="connsiteY4" fmla="*/ 91440 h 1008112"/>
              <a:gd name="connsiteX0" fmla="*/ 3744416 w 3835856"/>
              <a:gd name="connsiteY0" fmla="*/ 1008112 h 1008112"/>
              <a:gd name="connsiteX1" fmla="*/ 0 w 3835856"/>
              <a:gd name="connsiteY1" fmla="*/ 1008112 h 1008112"/>
              <a:gd name="connsiteX2" fmla="*/ 0 w 3835856"/>
              <a:gd name="connsiteY2" fmla="*/ 0 h 1008112"/>
              <a:gd name="connsiteX3" fmla="*/ 3835856 w 3835856"/>
              <a:gd name="connsiteY3" fmla="*/ 91440 h 1008112"/>
              <a:gd name="connsiteX0" fmla="*/ 3744416 w 3825223"/>
              <a:gd name="connsiteY0" fmla="*/ 1008112 h 1008112"/>
              <a:gd name="connsiteX1" fmla="*/ 0 w 3825223"/>
              <a:gd name="connsiteY1" fmla="*/ 1008112 h 1008112"/>
              <a:gd name="connsiteX2" fmla="*/ 0 w 3825223"/>
              <a:gd name="connsiteY2" fmla="*/ 0 h 1008112"/>
              <a:gd name="connsiteX3" fmla="*/ 3825223 w 3825223"/>
              <a:gd name="connsiteY3" fmla="*/ 17013 h 1008112"/>
              <a:gd name="connsiteX0" fmla="*/ 3744416 w 3761428"/>
              <a:gd name="connsiteY0" fmla="*/ 1008112 h 1008112"/>
              <a:gd name="connsiteX1" fmla="*/ 0 w 3761428"/>
              <a:gd name="connsiteY1" fmla="*/ 1008112 h 1008112"/>
              <a:gd name="connsiteX2" fmla="*/ 0 w 3761428"/>
              <a:gd name="connsiteY2" fmla="*/ 0 h 1008112"/>
              <a:gd name="connsiteX3" fmla="*/ 3761428 w 3761428"/>
              <a:gd name="connsiteY3" fmla="*/ 6381 h 1008112"/>
              <a:gd name="connsiteX0" fmla="*/ 3744416 w 3747714"/>
              <a:gd name="connsiteY0" fmla="*/ 1012372 h 1012372"/>
              <a:gd name="connsiteX1" fmla="*/ 0 w 3747714"/>
              <a:gd name="connsiteY1" fmla="*/ 1012372 h 1012372"/>
              <a:gd name="connsiteX2" fmla="*/ 0 w 3747714"/>
              <a:gd name="connsiteY2" fmla="*/ 4260 h 1012372"/>
              <a:gd name="connsiteX3" fmla="*/ 3747714 w 3747714"/>
              <a:gd name="connsiteY3" fmla="*/ 0 h 1012372"/>
              <a:gd name="connsiteX0" fmla="*/ 1874042 w 3747714"/>
              <a:gd name="connsiteY0" fmla="*/ 1010243 h 1012372"/>
              <a:gd name="connsiteX1" fmla="*/ 0 w 3747714"/>
              <a:gd name="connsiteY1" fmla="*/ 1012372 h 1012372"/>
              <a:gd name="connsiteX2" fmla="*/ 0 w 3747714"/>
              <a:gd name="connsiteY2" fmla="*/ 4260 h 1012372"/>
              <a:gd name="connsiteX3" fmla="*/ 3747714 w 3747714"/>
              <a:gd name="connsiteY3" fmla="*/ 0 h 1012372"/>
              <a:gd name="connsiteX0" fmla="*/ 1767261 w 3747714"/>
              <a:gd name="connsiteY0" fmla="*/ 1012372 h 1012372"/>
              <a:gd name="connsiteX1" fmla="*/ 0 w 3747714"/>
              <a:gd name="connsiteY1" fmla="*/ 1012372 h 1012372"/>
              <a:gd name="connsiteX2" fmla="*/ 0 w 3747714"/>
              <a:gd name="connsiteY2" fmla="*/ 4260 h 1012372"/>
              <a:gd name="connsiteX3" fmla="*/ 3747714 w 3747714"/>
              <a:gd name="connsiteY3" fmla="*/ 0 h 1012372"/>
              <a:gd name="connsiteX0" fmla="*/ 1770943 w 3747714"/>
              <a:gd name="connsiteY0" fmla="*/ 1005984 h 1012372"/>
              <a:gd name="connsiteX1" fmla="*/ 0 w 3747714"/>
              <a:gd name="connsiteY1" fmla="*/ 1012372 h 1012372"/>
              <a:gd name="connsiteX2" fmla="*/ 0 w 3747714"/>
              <a:gd name="connsiteY2" fmla="*/ 4260 h 1012372"/>
              <a:gd name="connsiteX3" fmla="*/ 3747714 w 3747714"/>
              <a:gd name="connsiteY3" fmla="*/ 0 h 1012372"/>
            </a:gdLst>
            <a:ahLst/>
            <a:cxnLst>
              <a:cxn ang="0">
                <a:pos x="connsiteX0" y="connsiteY0"/>
              </a:cxn>
              <a:cxn ang="0">
                <a:pos x="connsiteX1" y="connsiteY1"/>
              </a:cxn>
              <a:cxn ang="0">
                <a:pos x="connsiteX2" y="connsiteY2"/>
              </a:cxn>
              <a:cxn ang="0">
                <a:pos x="connsiteX3" y="connsiteY3"/>
              </a:cxn>
            </a:cxnLst>
            <a:rect l="l" t="t" r="r" b="b"/>
            <a:pathLst>
              <a:path w="3747714" h="1012372">
                <a:moveTo>
                  <a:pt x="1770943" y="1005984"/>
                </a:moveTo>
                <a:lnTo>
                  <a:pt x="0" y="1012372"/>
                </a:lnTo>
                <a:lnTo>
                  <a:pt x="0" y="4260"/>
                </a:lnTo>
                <a:lnTo>
                  <a:pt x="3747714" y="0"/>
                </a:lnTo>
              </a:path>
            </a:pathLst>
          </a:custGeom>
          <a:noFill/>
          <a:ln w="47625">
            <a:solidFill>
              <a:srgbClr val="52CB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25" dirty="0"/>
          </a:p>
        </p:txBody>
      </p:sp>
      <p:sp>
        <p:nvSpPr>
          <p:cNvPr id="16" name="Text Placeholder 1"/>
          <p:cNvSpPr txBox="1">
            <a:spLocks/>
          </p:cNvSpPr>
          <p:nvPr/>
        </p:nvSpPr>
        <p:spPr>
          <a:xfrm>
            <a:off x="533400" y="450830"/>
            <a:ext cx="8153400" cy="584868"/>
          </a:xfrm>
          <a:prstGeom prst="rect">
            <a:avLst/>
          </a:prstGeom>
        </p:spPr>
        <p:txBody>
          <a:bodyPr/>
          <a:lstStyle>
            <a:lvl1pPr marL="342892" indent="-342892" algn="l" defTabSz="91437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31" indent="-285743" algn="l" defTabSz="91437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72" indent="-228594" algn="l" defTabSz="91437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60"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48"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dirty="0">
                <a:solidFill>
                  <a:srgbClr val="FF5969"/>
                </a:solidFill>
                <a:latin typeface="Gotham Bold" panose="02000803030000020004" pitchFamily="2" charset="0"/>
              </a:rPr>
              <a:t>Emerging Areas in Engineering</a:t>
            </a:r>
            <a:endParaRPr lang="en-US" sz="2800" dirty="0">
              <a:solidFill>
                <a:srgbClr val="FF5969"/>
              </a:solidFill>
              <a:latin typeface="Gotham Bold" panose="02000803030000020004" pitchFamily="2" charset="0"/>
            </a:endParaRPr>
          </a:p>
        </p:txBody>
      </p:sp>
      <p:grpSp>
        <p:nvGrpSpPr>
          <p:cNvPr id="6" name="Group 5">
            <a:extLst>
              <a:ext uri="{FF2B5EF4-FFF2-40B4-BE49-F238E27FC236}">
                <a16:creationId xmlns:a16="http://schemas.microsoft.com/office/drawing/2014/main" id="{3149E2E4-ED48-487F-8136-21A2AB33791A}"/>
              </a:ext>
            </a:extLst>
          </p:cNvPr>
          <p:cNvGrpSpPr/>
          <p:nvPr/>
        </p:nvGrpSpPr>
        <p:grpSpPr>
          <a:xfrm>
            <a:off x="838200" y="1276350"/>
            <a:ext cx="8165264" cy="3416320"/>
            <a:chOff x="584289" y="1504950"/>
            <a:chExt cx="8231919" cy="3416320"/>
          </a:xfrm>
        </p:grpSpPr>
        <p:sp>
          <p:nvSpPr>
            <p:cNvPr id="7" name="Content Placeholder 2">
              <a:extLst>
                <a:ext uri="{FF2B5EF4-FFF2-40B4-BE49-F238E27FC236}">
                  <a16:creationId xmlns:a16="http://schemas.microsoft.com/office/drawing/2014/main" id="{870EDA46-CEB8-4570-8608-552481889756}"/>
                </a:ext>
              </a:extLst>
            </p:cNvPr>
            <p:cNvSpPr txBox="1">
              <a:spLocks/>
            </p:cNvSpPr>
            <p:nvPr/>
          </p:nvSpPr>
          <p:spPr>
            <a:xfrm>
              <a:off x="584289" y="1504950"/>
              <a:ext cx="4368711" cy="3092880"/>
            </a:xfrm>
            <a:prstGeom prst="rect">
              <a:avLst/>
            </a:prstGeom>
          </p:spPr>
          <p:txBody>
            <a:bodyPr>
              <a:noAutofit/>
            </a:bodyPr>
            <a:lstStyle>
              <a:lvl1pPr marL="342892" indent="-342892" algn="l" defTabSz="91437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31" indent="-285743" algn="l" defTabSz="91437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72" indent="-228594" algn="l" defTabSz="91437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60"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48"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ctr">
                <a:lnSpc>
                  <a:spcPct val="150000"/>
                </a:lnSpc>
                <a:spcBef>
                  <a:spcPts val="0"/>
                </a:spcBef>
                <a:buFont typeface="Wingdings" panose="05000000000000000000" pitchFamily="2" charset="2"/>
                <a:buChar char="§"/>
              </a:pPr>
              <a:r>
                <a:rPr lang="en-US" sz="1600" i="0" u="none" strike="noStrike" kern="1200" dirty="0">
                  <a:solidFill>
                    <a:srgbClr val="000000"/>
                  </a:solidFill>
                  <a:effectLst/>
                  <a:latin typeface="Gotham Medium" panose="02000603030000020004" pitchFamily="2" charset="0"/>
                </a:rPr>
                <a:t>Big</a:t>
              </a:r>
              <a:r>
                <a:rPr lang="en-US" sz="1600" i="0" u="none" strike="noStrike" kern="1200" baseline="0" dirty="0">
                  <a:solidFill>
                    <a:srgbClr val="000000"/>
                  </a:solidFill>
                  <a:effectLst/>
                  <a:latin typeface="Gotham Medium" panose="02000603030000020004" pitchFamily="2" charset="0"/>
                </a:rPr>
                <a:t> Data Analytics.</a:t>
              </a:r>
              <a:endParaRPr lang="en-IN" sz="1600" i="0" u="none" strike="noStrike" dirty="0">
                <a:effectLst/>
                <a:latin typeface="Gotham Medium" panose="02000603030000020004" pitchFamily="2" charset="0"/>
              </a:endParaRPr>
            </a:p>
            <a:p>
              <a:pPr fontAlgn="ctr">
                <a:lnSpc>
                  <a:spcPct val="150000"/>
                </a:lnSpc>
                <a:spcBef>
                  <a:spcPts val="0"/>
                </a:spcBef>
                <a:buFont typeface="Wingdings" panose="05000000000000000000" pitchFamily="2" charset="2"/>
                <a:buChar char="§"/>
              </a:pPr>
              <a:r>
                <a:rPr lang="en-US" sz="1600" i="0" u="none" strike="noStrike" kern="1200" dirty="0">
                  <a:solidFill>
                    <a:srgbClr val="000000"/>
                  </a:solidFill>
                  <a:effectLst/>
                  <a:latin typeface="Gotham Medium" panose="02000603030000020004" pitchFamily="2" charset="0"/>
                </a:rPr>
                <a:t>Artificial Intelligence &amp; Data</a:t>
              </a:r>
              <a:r>
                <a:rPr lang="en-US" sz="1600" i="0" u="none" strike="noStrike" kern="1200" baseline="0" dirty="0">
                  <a:solidFill>
                    <a:srgbClr val="000000"/>
                  </a:solidFill>
                  <a:effectLst/>
                  <a:latin typeface="Gotham Medium" panose="02000603030000020004" pitchFamily="2" charset="0"/>
                </a:rPr>
                <a:t> Science.</a:t>
              </a:r>
              <a:endParaRPr lang="en-IN" sz="1600" i="0" u="none" strike="noStrike" dirty="0">
                <a:effectLst/>
                <a:latin typeface="Gotham Medium" panose="02000603030000020004" pitchFamily="2" charset="0"/>
              </a:endParaRPr>
            </a:p>
            <a:p>
              <a:pPr fontAlgn="ctr">
                <a:lnSpc>
                  <a:spcPct val="150000"/>
                </a:lnSpc>
                <a:spcBef>
                  <a:spcPts val="0"/>
                </a:spcBef>
                <a:buFont typeface="Wingdings" panose="05000000000000000000" pitchFamily="2" charset="2"/>
                <a:buChar char="§"/>
              </a:pPr>
              <a:r>
                <a:rPr lang="en-US" sz="1600" i="0" u="none" strike="noStrike" kern="1200" dirty="0">
                  <a:solidFill>
                    <a:srgbClr val="000000"/>
                  </a:solidFill>
                  <a:effectLst/>
                  <a:latin typeface="Gotham Medium" panose="02000603030000020004" pitchFamily="2" charset="0"/>
                </a:rPr>
                <a:t>Internet of</a:t>
              </a:r>
              <a:r>
                <a:rPr lang="en-US" sz="1600" i="0" u="none" strike="noStrike" kern="1200" baseline="0" dirty="0">
                  <a:solidFill>
                    <a:srgbClr val="000000"/>
                  </a:solidFill>
                  <a:effectLst/>
                  <a:latin typeface="Gotham Medium" panose="02000603030000020004" pitchFamily="2" charset="0"/>
                </a:rPr>
                <a:t> Things.</a:t>
              </a:r>
              <a:endParaRPr lang="en-IN" sz="1600" i="0" u="none" strike="noStrike" dirty="0">
                <a:effectLst/>
                <a:latin typeface="Gotham Medium" panose="02000603030000020004" pitchFamily="2" charset="0"/>
              </a:endParaRPr>
            </a:p>
            <a:p>
              <a:pPr fontAlgn="ctr">
                <a:lnSpc>
                  <a:spcPct val="150000"/>
                </a:lnSpc>
                <a:spcBef>
                  <a:spcPts val="0"/>
                </a:spcBef>
                <a:buFont typeface="Wingdings" panose="05000000000000000000" pitchFamily="2" charset="2"/>
                <a:buChar char="§"/>
              </a:pPr>
              <a:r>
                <a:rPr lang="en-US" sz="1600" i="0" u="none" strike="noStrike" kern="1200" dirty="0">
                  <a:solidFill>
                    <a:srgbClr val="000000"/>
                  </a:solidFill>
                  <a:effectLst/>
                  <a:latin typeface="Gotham Medium" panose="02000603030000020004" pitchFamily="2" charset="0"/>
                </a:rPr>
                <a:t>Machine Learning. </a:t>
              </a:r>
              <a:endParaRPr lang="en-IN" sz="1600" i="0" u="none" strike="noStrike" dirty="0">
                <a:effectLst/>
                <a:latin typeface="Gotham Medium" panose="02000603030000020004" pitchFamily="2" charset="0"/>
              </a:endParaRPr>
            </a:p>
            <a:p>
              <a:pPr fontAlgn="ctr">
                <a:lnSpc>
                  <a:spcPct val="150000"/>
                </a:lnSpc>
                <a:spcBef>
                  <a:spcPts val="0"/>
                </a:spcBef>
                <a:buFont typeface="Wingdings" panose="05000000000000000000" pitchFamily="2" charset="2"/>
                <a:buChar char="§"/>
              </a:pPr>
              <a:r>
                <a:rPr lang="en-US" sz="1600" i="0" u="none" strike="noStrike" kern="1200" dirty="0">
                  <a:solidFill>
                    <a:srgbClr val="000000"/>
                  </a:solidFill>
                  <a:effectLst/>
                  <a:latin typeface="Gotham Medium" panose="02000603030000020004" pitchFamily="2" charset="0"/>
                </a:rPr>
                <a:t>Cloud Computing.</a:t>
              </a:r>
              <a:endParaRPr lang="en-IN" sz="1600" i="0" u="none" strike="noStrike" dirty="0">
                <a:effectLst/>
                <a:latin typeface="Gotham Medium" panose="02000603030000020004" pitchFamily="2" charset="0"/>
              </a:endParaRPr>
            </a:p>
            <a:p>
              <a:pPr fontAlgn="ctr">
                <a:lnSpc>
                  <a:spcPct val="150000"/>
                </a:lnSpc>
                <a:spcBef>
                  <a:spcPts val="0"/>
                </a:spcBef>
                <a:buFont typeface="Wingdings" panose="05000000000000000000" pitchFamily="2" charset="2"/>
                <a:buChar char="§"/>
              </a:pPr>
              <a:r>
                <a:rPr lang="en-US" sz="1600" i="0" u="none" strike="noStrike" kern="1200" dirty="0">
                  <a:solidFill>
                    <a:srgbClr val="000000"/>
                  </a:solidFill>
                  <a:effectLst/>
                  <a:latin typeface="Gotham Medium" panose="02000603030000020004" pitchFamily="2" charset="0"/>
                </a:rPr>
                <a:t>Virtual &amp; Augmented Reality. </a:t>
              </a:r>
              <a:endParaRPr lang="en-IN" sz="1600" i="0" u="none" strike="noStrike" dirty="0">
                <a:effectLst/>
                <a:latin typeface="Gotham Medium" panose="02000603030000020004" pitchFamily="2" charset="0"/>
              </a:endParaRPr>
            </a:p>
            <a:p>
              <a:pPr fontAlgn="ctr">
                <a:lnSpc>
                  <a:spcPct val="150000"/>
                </a:lnSpc>
                <a:spcBef>
                  <a:spcPts val="0"/>
                </a:spcBef>
                <a:buFont typeface="Wingdings" panose="05000000000000000000" pitchFamily="2" charset="2"/>
                <a:buChar char="§"/>
              </a:pPr>
              <a:r>
                <a:rPr lang="en-US" sz="1600" i="0" u="none" strike="noStrike" kern="1200" dirty="0">
                  <a:solidFill>
                    <a:srgbClr val="000000"/>
                  </a:solidFill>
                  <a:effectLst/>
                  <a:latin typeface="Gotham Medium" panose="02000603030000020004" pitchFamily="2" charset="0"/>
                </a:rPr>
                <a:t>Cyber Security.</a:t>
              </a:r>
              <a:endParaRPr lang="en-IN" sz="1600" i="0" u="none" strike="noStrike" dirty="0">
                <a:effectLst/>
                <a:latin typeface="Gotham Medium" panose="02000603030000020004" pitchFamily="2" charset="0"/>
              </a:endParaRPr>
            </a:p>
            <a:p>
              <a:pPr fontAlgn="ctr">
                <a:lnSpc>
                  <a:spcPct val="150000"/>
                </a:lnSpc>
                <a:spcBef>
                  <a:spcPts val="0"/>
                </a:spcBef>
                <a:buFont typeface="Wingdings" panose="05000000000000000000" pitchFamily="2" charset="2"/>
                <a:buChar char="§"/>
              </a:pPr>
              <a:r>
                <a:rPr lang="en-US" sz="1600" i="0" u="none" strike="noStrike" kern="1200" dirty="0">
                  <a:solidFill>
                    <a:srgbClr val="000000"/>
                  </a:solidFill>
                  <a:effectLst/>
                  <a:latin typeface="Gotham Medium" panose="02000603030000020004" pitchFamily="2" charset="0"/>
                </a:rPr>
                <a:t>Block Chain Technology.</a:t>
              </a:r>
              <a:endParaRPr lang="en-IN" sz="1600" i="0" u="none" strike="noStrike" dirty="0">
                <a:effectLst/>
                <a:latin typeface="Gotham Medium" panose="02000603030000020004" pitchFamily="2" charset="0"/>
              </a:endParaRPr>
            </a:p>
            <a:p>
              <a:pPr fontAlgn="ctr">
                <a:lnSpc>
                  <a:spcPct val="150000"/>
                </a:lnSpc>
                <a:spcBef>
                  <a:spcPts val="0"/>
                </a:spcBef>
                <a:buFont typeface="Wingdings" panose="05000000000000000000" pitchFamily="2" charset="2"/>
                <a:buChar char="§"/>
              </a:pPr>
              <a:r>
                <a:rPr lang="en-US" sz="1600" i="0" u="none" strike="noStrike" kern="1200" dirty="0">
                  <a:solidFill>
                    <a:srgbClr val="000000"/>
                  </a:solidFill>
                  <a:effectLst/>
                  <a:latin typeface="Gotham Medium" panose="02000603030000020004" pitchFamily="2" charset="0"/>
                </a:rPr>
                <a:t>Robotics. </a:t>
              </a:r>
              <a:endParaRPr lang="en-IN" sz="1600" i="0" u="none" strike="noStrike" dirty="0">
                <a:effectLst/>
                <a:latin typeface="Gotham Medium" panose="02000603030000020004" pitchFamily="2" charset="0"/>
              </a:endParaRPr>
            </a:p>
          </p:txBody>
        </p:sp>
        <p:sp>
          <p:nvSpPr>
            <p:cNvPr id="9" name="Rectangle 8">
              <a:extLst>
                <a:ext uri="{FF2B5EF4-FFF2-40B4-BE49-F238E27FC236}">
                  <a16:creationId xmlns:a16="http://schemas.microsoft.com/office/drawing/2014/main" id="{DAB76F60-482E-4F58-8483-CC701DA9D4D2}"/>
                </a:ext>
              </a:extLst>
            </p:cNvPr>
            <p:cNvSpPr/>
            <p:nvPr/>
          </p:nvSpPr>
          <p:spPr>
            <a:xfrm>
              <a:off x="5008863" y="1504950"/>
              <a:ext cx="3807345" cy="3416320"/>
            </a:xfrm>
            <a:prstGeom prst="rect">
              <a:avLst/>
            </a:prstGeom>
          </p:spPr>
          <p:txBody>
            <a:bodyPr wrap="square">
              <a:spAutoFit/>
            </a:bodyPr>
            <a:lstStyle/>
            <a:p>
              <a:pPr marL="285750" indent="-285750" fontAlgn="ctr">
                <a:lnSpc>
                  <a:spcPct val="150000"/>
                </a:lnSpc>
                <a:spcBef>
                  <a:spcPts val="0"/>
                </a:spcBef>
                <a:buFont typeface="Wingdings" panose="05000000000000000000" pitchFamily="2" charset="2"/>
                <a:buChar char="§"/>
              </a:pPr>
              <a:r>
                <a:rPr lang="en-US" sz="1600" dirty="0">
                  <a:solidFill>
                    <a:srgbClr val="000000"/>
                  </a:solidFill>
                  <a:latin typeface="Gotham Medium" panose="02000603030000020004" pitchFamily="2" charset="0"/>
                </a:rPr>
                <a:t>Medical Electronics.</a:t>
              </a:r>
              <a:endParaRPr lang="en-IN" sz="1600" dirty="0">
                <a:latin typeface="Gotham Medium" panose="02000603030000020004" pitchFamily="2" charset="0"/>
              </a:endParaRPr>
            </a:p>
            <a:p>
              <a:pPr marL="285750" indent="-285750" fontAlgn="ctr">
                <a:lnSpc>
                  <a:spcPct val="150000"/>
                </a:lnSpc>
                <a:spcBef>
                  <a:spcPts val="0"/>
                </a:spcBef>
                <a:buFont typeface="Wingdings" panose="05000000000000000000" pitchFamily="2" charset="2"/>
                <a:buChar char="§"/>
              </a:pPr>
              <a:r>
                <a:rPr lang="en-US" sz="1600" dirty="0">
                  <a:solidFill>
                    <a:srgbClr val="000000"/>
                  </a:solidFill>
                  <a:latin typeface="Gotham Medium" panose="02000603030000020004" pitchFamily="2" charset="0"/>
                </a:rPr>
                <a:t>Health Care Infrastructure.</a:t>
              </a:r>
              <a:endParaRPr lang="en-IN" sz="1600" dirty="0">
                <a:latin typeface="Gotham Medium" panose="02000603030000020004" pitchFamily="2" charset="0"/>
              </a:endParaRPr>
            </a:p>
            <a:p>
              <a:pPr marL="285750" indent="-285750" fontAlgn="ctr">
                <a:lnSpc>
                  <a:spcPct val="150000"/>
                </a:lnSpc>
                <a:spcBef>
                  <a:spcPts val="0"/>
                </a:spcBef>
                <a:buFont typeface="Wingdings" panose="05000000000000000000" pitchFamily="2" charset="2"/>
                <a:buChar char="§"/>
              </a:pPr>
              <a:r>
                <a:rPr lang="en-US" sz="1600" dirty="0">
                  <a:solidFill>
                    <a:srgbClr val="000000"/>
                  </a:solidFill>
                  <a:latin typeface="Gotham Medium" panose="02000603030000020004" pitchFamily="2" charset="0"/>
                </a:rPr>
                <a:t>Mechatronics.</a:t>
              </a:r>
              <a:endParaRPr lang="en-IN" sz="1600" dirty="0">
                <a:latin typeface="Gotham Medium" panose="02000603030000020004" pitchFamily="2" charset="0"/>
              </a:endParaRPr>
            </a:p>
            <a:p>
              <a:pPr marL="285750" indent="-285750" fontAlgn="ctr">
                <a:lnSpc>
                  <a:spcPct val="150000"/>
                </a:lnSpc>
                <a:spcBef>
                  <a:spcPts val="0"/>
                </a:spcBef>
                <a:buFont typeface="Wingdings" panose="05000000000000000000" pitchFamily="2" charset="2"/>
                <a:buChar char="§"/>
              </a:pPr>
              <a:r>
                <a:rPr lang="en-US" sz="1600" dirty="0">
                  <a:solidFill>
                    <a:srgbClr val="000000"/>
                  </a:solidFill>
                  <a:latin typeface="Gotham Medium" panose="02000603030000020004" pitchFamily="2" charset="0"/>
                </a:rPr>
                <a:t>Industrial Automation.</a:t>
              </a:r>
              <a:endParaRPr lang="en-IN" sz="1600" dirty="0">
                <a:latin typeface="Gotham Medium" panose="02000603030000020004" pitchFamily="2" charset="0"/>
              </a:endParaRPr>
            </a:p>
            <a:p>
              <a:pPr marL="285750" indent="-285750" fontAlgn="ctr">
                <a:lnSpc>
                  <a:spcPct val="150000"/>
                </a:lnSpc>
                <a:spcBef>
                  <a:spcPts val="0"/>
                </a:spcBef>
                <a:buFont typeface="Wingdings" panose="05000000000000000000" pitchFamily="2" charset="2"/>
                <a:buChar char="§"/>
              </a:pPr>
              <a:r>
                <a:rPr lang="en-US" sz="1600" dirty="0">
                  <a:solidFill>
                    <a:srgbClr val="000000"/>
                  </a:solidFill>
                  <a:latin typeface="Gotham Medium" panose="02000603030000020004" pitchFamily="2" charset="0"/>
                </a:rPr>
                <a:t>Pharmaceutical Sciences.</a:t>
              </a:r>
              <a:endParaRPr lang="en-IN" sz="1600" dirty="0">
                <a:latin typeface="Gotham Medium" panose="02000603030000020004" pitchFamily="2" charset="0"/>
              </a:endParaRPr>
            </a:p>
            <a:p>
              <a:pPr marL="285750" indent="-285750" fontAlgn="ctr">
                <a:lnSpc>
                  <a:spcPct val="150000"/>
                </a:lnSpc>
                <a:spcBef>
                  <a:spcPts val="0"/>
                </a:spcBef>
                <a:buFont typeface="Wingdings" panose="05000000000000000000" pitchFamily="2" charset="2"/>
                <a:buChar char="§"/>
              </a:pPr>
              <a:r>
                <a:rPr lang="en-US" sz="1600" dirty="0">
                  <a:solidFill>
                    <a:srgbClr val="000000"/>
                  </a:solidFill>
                  <a:latin typeface="Gotham Medium" panose="02000603030000020004" pitchFamily="2" charset="0"/>
                </a:rPr>
                <a:t>Basic Infrastructure.</a:t>
              </a:r>
            </a:p>
            <a:p>
              <a:pPr marL="285750" indent="-285750" fontAlgn="ctr">
                <a:lnSpc>
                  <a:spcPct val="150000"/>
                </a:lnSpc>
                <a:spcBef>
                  <a:spcPts val="0"/>
                </a:spcBef>
                <a:buFont typeface="Wingdings" panose="05000000000000000000" pitchFamily="2" charset="2"/>
                <a:buChar char="§"/>
              </a:pPr>
              <a:r>
                <a:rPr lang="en-US" sz="1600" dirty="0">
                  <a:solidFill>
                    <a:srgbClr val="000000"/>
                  </a:solidFill>
                  <a:latin typeface="Gotham Medium" panose="02000603030000020004" pitchFamily="2" charset="0"/>
                </a:rPr>
                <a:t>Non Conventional Energy.</a:t>
              </a:r>
            </a:p>
            <a:p>
              <a:pPr marL="285750" indent="-285750" fontAlgn="ctr">
                <a:lnSpc>
                  <a:spcPct val="150000"/>
                </a:lnSpc>
                <a:spcBef>
                  <a:spcPts val="0"/>
                </a:spcBef>
                <a:buFont typeface="Wingdings" panose="05000000000000000000" pitchFamily="2" charset="2"/>
                <a:buChar char="§"/>
              </a:pPr>
              <a:r>
                <a:rPr lang="en-US" sz="1600" dirty="0">
                  <a:solidFill>
                    <a:srgbClr val="000000"/>
                  </a:solidFill>
                  <a:latin typeface="Gotham Medium" panose="02000603030000020004" pitchFamily="2" charset="0"/>
                </a:rPr>
                <a:t>Digital Electronics &amp; Embedded System.</a:t>
              </a:r>
              <a:endParaRPr lang="en-IN" sz="1600" dirty="0">
                <a:latin typeface="Gotham Medium" panose="02000603030000020004" pitchFamily="2" charset="0"/>
              </a:endParaRPr>
            </a:p>
          </p:txBody>
        </p:sp>
      </p:grpSp>
    </p:spTree>
    <p:extLst>
      <p:ext uri="{BB962C8B-B14F-4D97-AF65-F5344CB8AC3E}">
        <p14:creationId xmlns:p14="http://schemas.microsoft.com/office/powerpoint/2010/main" val="102212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764" y="341437"/>
            <a:ext cx="7260857" cy="613965"/>
          </a:xfrm>
          <a:effectLst/>
        </p:spPr>
        <p:txBody>
          <a:bodyPr vert="horz" lIns="91440" tIns="45720" rIns="91440" bIns="45720" rtlCol="0" anchor="ctr">
            <a:noAutofit/>
          </a:bodyPr>
          <a:lstStyle/>
          <a:p>
            <a:pPr algn="l"/>
            <a:r>
              <a:rPr lang="en-US" sz="2800" dirty="0">
                <a:solidFill>
                  <a:srgbClr val="FF5969"/>
                </a:solidFill>
                <a:latin typeface="Gotham Bold" panose="02000803030000020004" pitchFamily="2" charset="0"/>
              </a:rPr>
              <a:t>Employment Opportunities for Indians</a:t>
            </a:r>
          </a:p>
        </p:txBody>
      </p:sp>
      <p:pic>
        <p:nvPicPr>
          <p:cNvPr id="3" name="Content Placeholder 2">
            <a:extLst>
              <a:ext uri="{FF2B5EF4-FFF2-40B4-BE49-F238E27FC236}">
                <a16:creationId xmlns:a16="http://schemas.microsoft.com/office/drawing/2014/main" id="{D4C3224F-1CEA-4877-BBB4-6D4EEB56AF01}"/>
              </a:ext>
            </a:extLst>
          </p:cNvPr>
          <p:cNvPicPr>
            <a:picLocks noGrp="1" noChangeAspect="1"/>
          </p:cNvPicPr>
          <p:nvPr>
            <p:ph idx="1"/>
          </p:nvPr>
        </p:nvPicPr>
        <p:blipFill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saturation sat="400000"/>
                    </a14:imgEffect>
                  </a14:imgLayer>
                </a14:imgProps>
              </a:ext>
            </a:extLst>
          </a:blip>
          <a:srcRect l="764" t="16500" r="1812" b="8333"/>
          <a:stretch/>
        </p:blipFill>
        <p:spPr>
          <a:xfrm>
            <a:off x="872338" y="987347"/>
            <a:ext cx="7260857" cy="3622802"/>
          </a:xfrm>
          <a:prstGeom prst="rect">
            <a:avLst/>
          </a:prstGeom>
        </p:spPr>
      </p:pic>
      <p:sp>
        <p:nvSpPr>
          <p:cNvPr id="6" name="Rectangle 5">
            <a:extLst>
              <a:ext uri="{FF2B5EF4-FFF2-40B4-BE49-F238E27FC236}">
                <a16:creationId xmlns:a16="http://schemas.microsoft.com/office/drawing/2014/main" id="{DC68A14F-6A4E-4D32-9AE8-671834E8BCC2}"/>
              </a:ext>
            </a:extLst>
          </p:cNvPr>
          <p:cNvSpPr/>
          <p:nvPr/>
        </p:nvSpPr>
        <p:spPr>
          <a:xfrm>
            <a:off x="831232" y="4610149"/>
            <a:ext cx="7481535" cy="369332"/>
          </a:xfrm>
          <a:prstGeom prst="rect">
            <a:avLst/>
          </a:prstGeom>
        </p:spPr>
        <p:txBody>
          <a:bodyPr wrap="none">
            <a:spAutoFit/>
          </a:bodyPr>
          <a:lstStyle/>
          <a:p>
            <a:r>
              <a:rPr lang="en-US" dirty="0">
                <a:latin typeface="Gotham Medium" panose="02000603030000020004" pitchFamily="2" charset="0"/>
              </a:rPr>
              <a:t>Potential Surplus Population in working Age Group - 2021(MN)</a:t>
            </a:r>
            <a:endParaRPr lang="en-US" dirty="0"/>
          </a:p>
        </p:txBody>
      </p:sp>
      <p:sp>
        <p:nvSpPr>
          <p:cNvPr id="7" name="Rectangle 6">
            <a:extLst>
              <a:ext uri="{FF2B5EF4-FFF2-40B4-BE49-F238E27FC236}">
                <a16:creationId xmlns:a16="http://schemas.microsoft.com/office/drawing/2014/main" id="{EF9FB1E8-C2CA-4742-B81B-E911EF8B203A}"/>
              </a:ext>
            </a:extLst>
          </p:cNvPr>
          <p:cNvSpPr/>
          <p:nvPr/>
        </p:nvSpPr>
        <p:spPr>
          <a:xfrm rot="10800000" flipV="1">
            <a:off x="55863" y="205979"/>
            <a:ext cx="108258" cy="4937522"/>
          </a:xfrm>
          <a:prstGeom prst="rect">
            <a:avLst/>
          </a:prstGeom>
          <a:solidFill>
            <a:srgbClr val="FEC63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b="1" dirty="0">
              <a:solidFill>
                <a:prstClr val="white"/>
              </a:solidFill>
              <a:latin typeface="Calibri Light"/>
            </a:endParaRPr>
          </a:p>
        </p:txBody>
      </p:sp>
      <p:sp>
        <p:nvSpPr>
          <p:cNvPr id="8" name="Rectangle 7">
            <a:extLst>
              <a:ext uri="{FF2B5EF4-FFF2-40B4-BE49-F238E27FC236}">
                <a16:creationId xmlns:a16="http://schemas.microsoft.com/office/drawing/2014/main" id="{C62E499D-8229-4241-BEA1-0520F9B2220B}"/>
              </a:ext>
            </a:extLst>
          </p:cNvPr>
          <p:cNvSpPr/>
          <p:nvPr/>
        </p:nvSpPr>
        <p:spPr>
          <a:xfrm>
            <a:off x="117388" y="302143"/>
            <a:ext cx="139376" cy="685204"/>
          </a:xfrm>
          <a:prstGeom prst="rect">
            <a:avLst/>
          </a:prstGeom>
          <a:solidFill>
            <a:schemeClr val="tx1">
              <a:lumMod val="50000"/>
              <a:lumOff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Tree>
    <p:extLst>
      <p:ext uri="{BB962C8B-B14F-4D97-AF65-F5344CB8AC3E}">
        <p14:creationId xmlns:p14="http://schemas.microsoft.com/office/powerpoint/2010/main" val="2217431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94" name="Picture 22" descr="The most common online shopping myths debunked for Kenyans">
            <a:extLst>
              <a:ext uri="{FF2B5EF4-FFF2-40B4-BE49-F238E27FC236}">
                <a16:creationId xmlns:a16="http://schemas.microsoft.com/office/drawing/2014/main" id="{92654DED-69F2-41EB-ADBA-3B74369C088C}"/>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5163" r="17140"/>
          <a:stretch/>
        </p:blipFill>
        <p:spPr bwMode="auto">
          <a:xfrm>
            <a:off x="7288123" y="3354184"/>
            <a:ext cx="1676435" cy="167166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45283" y="202700"/>
            <a:ext cx="5264867" cy="473898"/>
          </a:xfrm>
          <a:effectLst/>
        </p:spPr>
        <p:txBody>
          <a:bodyPr vert="horz" lIns="91440" tIns="45720" rIns="91440" bIns="45720" rtlCol="0" anchor="ctr">
            <a:noAutofit/>
          </a:bodyPr>
          <a:lstStyle/>
          <a:p>
            <a:pPr algn="l"/>
            <a:r>
              <a:rPr lang="en-US" sz="2800" dirty="0">
                <a:solidFill>
                  <a:srgbClr val="FF5969"/>
                </a:solidFill>
                <a:latin typeface="Gotham Bold" panose="02000803030000020004" pitchFamily="2" charset="0"/>
              </a:rPr>
              <a:t>Situation After COVID-19</a:t>
            </a:r>
          </a:p>
        </p:txBody>
      </p:sp>
      <p:sp>
        <p:nvSpPr>
          <p:cNvPr id="4" name="Rectangle 3">
            <a:extLst>
              <a:ext uri="{FF2B5EF4-FFF2-40B4-BE49-F238E27FC236}">
                <a16:creationId xmlns:a16="http://schemas.microsoft.com/office/drawing/2014/main" id="{6B262863-7039-492C-A934-B262044A86EA}"/>
              </a:ext>
            </a:extLst>
          </p:cNvPr>
          <p:cNvSpPr/>
          <p:nvPr/>
        </p:nvSpPr>
        <p:spPr>
          <a:xfrm>
            <a:off x="345283" y="808574"/>
            <a:ext cx="8785269" cy="3572516"/>
          </a:xfrm>
          <a:prstGeom prst="rect">
            <a:avLst/>
          </a:prstGeom>
        </p:spPr>
        <p:txBody>
          <a:bodyPr wrap="square">
            <a:spAutoFit/>
          </a:bodyPr>
          <a:lstStyle/>
          <a:p>
            <a:pPr>
              <a:lnSpc>
                <a:spcPct val="150000"/>
              </a:lnSpc>
            </a:pPr>
            <a:r>
              <a:rPr lang="en-US" dirty="0">
                <a:latin typeface="Gotham Bold" panose="02000803030000020004" pitchFamily="2" charset="0"/>
              </a:rPr>
              <a:t>Need of…</a:t>
            </a:r>
          </a:p>
          <a:p>
            <a:pPr marL="285750" indent="-285750">
              <a:lnSpc>
                <a:spcPct val="150000"/>
              </a:lnSpc>
              <a:buFont typeface="Wingdings" panose="05000000000000000000" pitchFamily="2" charset="2"/>
              <a:buChar char="§"/>
            </a:pPr>
            <a:r>
              <a:rPr lang="en-US" sz="1500" dirty="0">
                <a:latin typeface="Gotham Medium" panose="02000603030000020004" pitchFamily="2" charset="0"/>
              </a:rPr>
              <a:t>Building health infrastructure, India is 6</a:t>
            </a:r>
            <a:r>
              <a:rPr lang="en-US" sz="1500" baseline="30000" dirty="0">
                <a:latin typeface="Gotham Medium" panose="02000603030000020004" pitchFamily="2" charset="0"/>
              </a:rPr>
              <a:t>th</a:t>
            </a:r>
            <a:r>
              <a:rPr lang="en-US" sz="1500" dirty="0">
                <a:latin typeface="Gotham Medium" panose="02000603030000020004" pitchFamily="2" charset="0"/>
              </a:rPr>
              <a:t> from bottom in health infrastructure.</a:t>
            </a:r>
          </a:p>
          <a:p>
            <a:pPr marL="285750" indent="-285750">
              <a:lnSpc>
                <a:spcPct val="150000"/>
              </a:lnSpc>
              <a:buFont typeface="Wingdings" panose="05000000000000000000" pitchFamily="2" charset="2"/>
              <a:buChar char="§"/>
            </a:pPr>
            <a:r>
              <a:rPr lang="en-US" sz="1500" dirty="0">
                <a:latin typeface="Gotham Medium" panose="02000603030000020004" pitchFamily="2" charset="0"/>
              </a:rPr>
              <a:t>Technology interface in health field.</a:t>
            </a:r>
          </a:p>
          <a:p>
            <a:pPr marL="285750" indent="-285750">
              <a:lnSpc>
                <a:spcPct val="150000"/>
              </a:lnSpc>
              <a:buFont typeface="Wingdings" panose="05000000000000000000" pitchFamily="2" charset="2"/>
              <a:buChar char="§"/>
            </a:pPr>
            <a:r>
              <a:rPr lang="en-US" sz="1500" dirty="0">
                <a:latin typeface="Gotham Medium" panose="02000603030000020004" pitchFamily="2" charset="0"/>
              </a:rPr>
              <a:t>App based education like –</a:t>
            </a:r>
          </a:p>
          <a:p>
            <a:pPr marL="742950" lvl="1" indent="-285750">
              <a:lnSpc>
                <a:spcPct val="150000"/>
              </a:lnSpc>
              <a:buFont typeface="Wingdings" panose="05000000000000000000" pitchFamily="2" charset="2"/>
              <a:buChar char="§"/>
            </a:pPr>
            <a:r>
              <a:rPr lang="en-US" sz="1500" dirty="0">
                <a:latin typeface="Gotham Medium" panose="02000603030000020004" pitchFamily="2" charset="0"/>
              </a:rPr>
              <a:t>Byju’s, Vedantu, Vidyakul, Toppr Academy, Udemy, Unacademy, Khan Academy. </a:t>
            </a:r>
          </a:p>
          <a:p>
            <a:pPr marL="285750" indent="-285750">
              <a:lnSpc>
                <a:spcPct val="150000"/>
              </a:lnSpc>
              <a:buFont typeface="Wingdings" panose="05000000000000000000" pitchFamily="2" charset="2"/>
              <a:buChar char="§"/>
            </a:pPr>
            <a:r>
              <a:rPr lang="en-US" sz="1500" dirty="0">
                <a:latin typeface="Gotham Medium" panose="02000603030000020004" pitchFamily="2" charset="0"/>
              </a:rPr>
              <a:t>Online Education. </a:t>
            </a:r>
          </a:p>
          <a:p>
            <a:pPr marL="285750" indent="-285750">
              <a:lnSpc>
                <a:spcPct val="150000"/>
              </a:lnSpc>
              <a:buFont typeface="Wingdings" panose="05000000000000000000" pitchFamily="2" charset="2"/>
              <a:buChar char="§"/>
            </a:pPr>
            <a:r>
              <a:rPr lang="en-US" sz="1500" dirty="0">
                <a:latin typeface="Gotham Medium" panose="02000603030000020004" pitchFamily="2" charset="0"/>
              </a:rPr>
              <a:t>Virtual World.</a:t>
            </a:r>
          </a:p>
          <a:p>
            <a:pPr marL="285750" indent="-285750">
              <a:lnSpc>
                <a:spcPct val="150000"/>
              </a:lnSpc>
              <a:buFont typeface="Wingdings" panose="05000000000000000000" pitchFamily="2" charset="2"/>
              <a:buChar char="§"/>
            </a:pPr>
            <a:r>
              <a:rPr lang="en-US" sz="1500" dirty="0">
                <a:latin typeface="Gotham Medium" panose="02000603030000020004" pitchFamily="2" charset="0"/>
              </a:rPr>
              <a:t>Online Shopping.</a:t>
            </a:r>
          </a:p>
          <a:p>
            <a:pPr marL="285750" indent="-285750">
              <a:lnSpc>
                <a:spcPct val="150000"/>
              </a:lnSpc>
              <a:buFont typeface="Wingdings" panose="05000000000000000000" pitchFamily="2" charset="2"/>
              <a:buChar char="§"/>
            </a:pPr>
            <a:r>
              <a:rPr lang="en-US" sz="1500" dirty="0">
                <a:latin typeface="Gotham Medium" panose="02000603030000020004" pitchFamily="2" charset="0"/>
              </a:rPr>
              <a:t>Digital Payments.</a:t>
            </a:r>
          </a:p>
          <a:p>
            <a:pPr marL="285750" indent="-285750">
              <a:lnSpc>
                <a:spcPct val="150000"/>
              </a:lnSpc>
              <a:buFont typeface="Wingdings" panose="05000000000000000000" pitchFamily="2" charset="2"/>
              <a:buChar char="§"/>
            </a:pPr>
            <a:r>
              <a:rPr lang="en-US" sz="1500" dirty="0">
                <a:latin typeface="Gotham Medium" panose="02000603030000020004" pitchFamily="2" charset="0"/>
              </a:rPr>
              <a:t>OTT Platform.</a:t>
            </a:r>
          </a:p>
        </p:txBody>
      </p:sp>
      <p:pic>
        <p:nvPicPr>
          <p:cNvPr id="3074" name="Picture 2" descr="Byjus Logo, HD Png Download - kindpng">
            <a:extLst>
              <a:ext uri="{FF2B5EF4-FFF2-40B4-BE49-F238E27FC236}">
                <a16:creationId xmlns:a16="http://schemas.microsoft.com/office/drawing/2014/main" id="{2380734F-A62D-495A-9FA6-74516D0C391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775" t="14159" r="19101" b="15044"/>
          <a:stretch/>
        </p:blipFill>
        <p:spPr bwMode="auto">
          <a:xfrm>
            <a:off x="4401221" y="3148729"/>
            <a:ext cx="1382893" cy="36083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Vedantu - Wikipedia">
            <a:extLst>
              <a:ext uri="{FF2B5EF4-FFF2-40B4-BE49-F238E27FC236}">
                <a16:creationId xmlns:a16="http://schemas.microsoft.com/office/drawing/2014/main" id="{B7E27890-3B52-4718-8227-584D4A4DA91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20371" y="4297678"/>
            <a:ext cx="1281968" cy="533505"/>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Vidyakul : Delivering Education to Society">
            <a:extLst>
              <a:ext uri="{FF2B5EF4-FFF2-40B4-BE49-F238E27FC236}">
                <a16:creationId xmlns:a16="http://schemas.microsoft.com/office/drawing/2014/main" id="{C1BF7B31-6310-475C-9901-0AB845D1449C}"/>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8439" t="21084" r="13952" b="22816"/>
          <a:stretch/>
        </p:blipFill>
        <p:spPr bwMode="auto">
          <a:xfrm>
            <a:off x="6558906" y="4222211"/>
            <a:ext cx="790233" cy="58171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Unacademy Presents Second Edition Of Legends On Unacademy - BW Education">
            <a:extLst>
              <a:ext uri="{FF2B5EF4-FFF2-40B4-BE49-F238E27FC236}">
                <a16:creationId xmlns:a16="http://schemas.microsoft.com/office/drawing/2014/main" id="{72BFF8BF-6833-4DA2-9F28-D7DF891BCD74}"/>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4285" b="12798"/>
          <a:stretch/>
        </p:blipFill>
        <p:spPr bwMode="auto">
          <a:xfrm>
            <a:off x="6184463" y="3397492"/>
            <a:ext cx="1486581" cy="360836"/>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A54AE21A-66AB-4E0B-9F09-B1515820F8C0}"/>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34312" b="34712"/>
          <a:stretch/>
        </p:blipFill>
        <p:spPr bwMode="auto">
          <a:xfrm>
            <a:off x="5155121" y="3847585"/>
            <a:ext cx="1676435" cy="255943"/>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Online Courses - Learn Anything, On Your Schedule | Udemy">
            <a:extLst>
              <a:ext uri="{FF2B5EF4-FFF2-40B4-BE49-F238E27FC236}">
                <a16:creationId xmlns:a16="http://schemas.microsoft.com/office/drawing/2014/main" id="{2DF352D0-DBC2-4583-8057-67F126A46181}"/>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1111" t="23545" r="5556" b="23545"/>
          <a:stretch/>
        </p:blipFill>
        <p:spPr bwMode="auto">
          <a:xfrm>
            <a:off x="6629400" y="2803039"/>
            <a:ext cx="1275816" cy="37728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409F94E2-AA90-48F7-B1A1-D19E95051655}"/>
              </a:ext>
            </a:extLst>
          </p:cNvPr>
          <p:cNvSpPr/>
          <p:nvPr/>
        </p:nvSpPr>
        <p:spPr>
          <a:xfrm>
            <a:off x="1" y="0"/>
            <a:ext cx="145325" cy="5143499"/>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16" name="Rectangle 15">
            <a:extLst>
              <a:ext uri="{FF2B5EF4-FFF2-40B4-BE49-F238E27FC236}">
                <a16:creationId xmlns:a16="http://schemas.microsoft.com/office/drawing/2014/main" id="{984FA07D-EE46-4AD9-8DBB-229FAA46DCF3}"/>
              </a:ext>
            </a:extLst>
          </p:cNvPr>
          <p:cNvSpPr/>
          <p:nvPr/>
        </p:nvSpPr>
        <p:spPr>
          <a:xfrm>
            <a:off x="13448" y="4964833"/>
            <a:ext cx="2805952" cy="178666"/>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17" name="Rectangle 16">
            <a:extLst>
              <a:ext uri="{FF2B5EF4-FFF2-40B4-BE49-F238E27FC236}">
                <a16:creationId xmlns:a16="http://schemas.microsoft.com/office/drawing/2014/main" id="{35C7A1FF-FA12-4221-8956-6985FC3E54C3}"/>
              </a:ext>
            </a:extLst>
          </p:cNvPr>
          <p:cNvSpPr/>
          <p:nvPr/>
        </p:nvSpPr>
        <p:spPr>
          <a:xfrm>
            <a:off x="77312" y="269752"/>
            <a:ext cx="145325" cy="339794"/>
          </a:xfrm>
          <a:prstGeom prst="rect">
            <a:avLst/>
          </a:prstGeom>
          <a:solidFill>
            <a:schemeClr val="tx1">
              <a:lumMod val="50000"/>
              <a:lumOff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pic>
        <p:nvPicPr>
          <p:cNvPr id="5" name="Picture 4">
            <a:extLst>
              <a:ext uri="{FF2B5EF4-FFF2-40B4-BE49-F238E27FC236}">
                <a16:creationId xmlns:a16="http://schemas.microsoft.com/office/drawing/2014/main" id="{73A2E08F-8534-43B4-94F6-AC005053C69F}"/>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foregroundMark x1="26942" y1="37313" x2="26699" y2="59204"/>
                        <a14:foregroundMark x1="41505" y1="38308" x2="42961" y2="56219"/>
                        <a14:foregroundMark x1="49757" y1="36318" x2="49757" y2="51741"/>
                        <a14:foregroundMark x1="61408" y1="41294" x2="61893" y2="52736"/>
                        <a14:foregroundMark x1="73544" y1="43284" x2="73544" y2="57214"/>
                        <a14:foregroundMark x1="81796" y1="41294" x2="86408" y2="59204"/>
                      </a14:backgroundRemoval>
                    </a14:imgEffect>
                  </a14:imgLayer>
                </a14:imgProps>
              </a:ext>
            </a:extLst>
          </a:blip>
          <a:stretch>
            <a:fillRect/>
          </a:stretch>
        </p:blipFill>
        <p:spPr>
          <a:xfrm>
            <a:off x="2392401" y="4374886"/>
            <a:ext cx="1200150" cy="585510"/>
          </a:xfrm>
          <a:prstGeom prst="rect">
            <a:avLst/>
          </a:prstGeom>
        </p:spPr>
      </p:pic>
      <p:pic>
        <p:nvPicPr>
          <p:cNvPr id="60420" name="Picture 4" descr="Amazon Prime Video Review | PCMag">
            <a:extLst>
              <a:ext uri="{FF2B5EF4-FFF2-40B4-BE49-F238E27FC236}">
                <a16:creationId xmlns:a16="http://schemas.microsoft.com/office/drawing/2014/main" id="{BF8DDFCD-44A3-40D4-8B41-A13856A8A402}"/>
              </a:ext>
            </a:extLst>
          </p:cNvPr>
          <p:cNvPicPr>
            <a:picLocks noChangeAspect="1" noChangeArrowheads="1"/>
          </p:cNvPicPr>
          <p:nvPr/>
        </p:nvPicPr>
        <p:blipFill>
          <a:blip r:embed="rId11" cstate="print">
            <a:extLst>
              <a:ext uri="{BEBA8EAE-BF5A-486C-A8C5-ECC9F3942E4B}">
                <a14:imgProps xmlns:a14="http://schemas.microsoft.com/office/drawing/2010/main">
                  <a14:imgLayer r:embed="rId12">
                    <a14:imgEffect>
                      <a14:backgroundRemoval t="9028" b="90000" l="5000" r="94453">
                        <a14:foregroundMark x1="8750" y1="38333" x2="8672" y2="46528"/>
                        <a14:foregroundMark x1="18594" y1="38194" x2="18438" y2="45000"/>
                        <a14:foregroundMark x1="25703" y1="37222" x2="25703" y2="44167"/>
                        <a14:foregroundMark x1="25781" y1="28611" x2="25781" y2="29167"/>
                        <a14:foregroundMark x1="30000" y1="37361" x2="30000" y2="47083"/>
                        <a14:foregroundMark x1="43516" y1="38056" x2="43047" y2="46111"/>
                        <a14:foregroundMark x1="55078" y1="38056" x2="56484" y2="43472"/>
                        <a14:foregroundMark x1="63516" y1="39167" x2="63594" y2="43194"/>
                        <a14:foregroundMark x1="63281" y1="28472" x2="63281" y2="28472"/>
                        <a14:foregroundMark x1="67656" y1="38333" x2="67500" y2="42917"/>
                        <a14:foregroundMark x1="77344" y1="38889" x2="77500" y2="44583"/>
                        <a14:foregroundMark x1="86094" y1="37500" x2="85313" y2="46806"/>
                        <a14:foregroundMark x1="69297" y1="57222" x2="70938" y2="58056"/>
                        <a14:backgroundMark x1="45313" y1="38056" x2="47031" y2="38056"/>
                      </a14:backgroundRemoval>
                    </a14:imgEffect>
                  </a14:imgLayer>
                </a14:imgProps>
              </a:ext>
              <a:ext uri="{28A0092B-C50C-407E-A947-70E740481C1C}">
                <a14:useLocalDpi xmlns:a14="http://schemas.microsoft.com/office/drawing/2010/main" val="0"/>
              </a:ext>
            </a:extLst>
          </a:blip>
          <a:srcRect/>
          <a:stretch>
            <a:fillRect/>
          </a:stretch>
        </p:blipFill>
        <p:spPr bwMode="auto">
          <a:xfrm>
            <a:off x="3437542" y="3805943"/>
            <a:ext cx="1522193" cy="900113"/>
          </a:xfrm>
          <a:prstGeom prst="rect">
            <a:avLst/>
          </a:prstGeom>
          <a:noFill/>
          <a:extLst>
            <a:ext uri="{909E8E84-426E-40DD-AFC4-6F175D3DCCD1}">
              <a14:hiddenFill xmlns:a14="http://schemas.microsoft.com/office/drawing/2010/main">
                <a:solidFill>
                  <a:srgbClr val="FFFFFF"/>
                </a:solidFill>
              </a14:hiddenFill>
            </a:ext>
          </a:extLst>
        </p:spPr>
      </p:pic>
      <p:pic>
        <p:nvPicPr>
          <p:cNvPr id="60422" name="Picture 6" descr="Disney Plus Hotstar: New price, plans, and subscription details in India |  TechRadar">
            <a:extLst>
              <a:ext uri="{FF2B5EF4-FFF2-40B4-BE49-F238E27FC236}">
                <a16:creationId xmlns:a16="http://schemas.microsoft.com/office/drawing/2014/main" id="{1B041C1E-92D9-4D26-B0DC-523951FEFE05}"/>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34245" t="12741" r="29922" b="50482"/>
          <a:stretch/>
        </p:blipFill>
        <p:spPr bwMode="auto">
          <a:xfrm>
            <a:off x="2760797" y="3003436"/>
            <a:ext cx="1275816" cy="736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6309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F77BE39-466F-459A-8B1C-97E3461CBC30}"/>
              </a:ext>
            </a:extLst>
          </p:cNvPr>
          <p:cNvSpPr/>
          <p:nvPr/>
        </p:nvSpPr>
        <p:spPr>
          <a:xfrm>
            <a:off x="152400" y="133350"/>
            <a:ext cx="1676400" cy="4876800"/>
          </a:xfrm>
          <a:prstGeom prst="rect">
            <a:avLst/>
          </a:prstGeom>
          <a:solidFill>
            <a:srgbClr val="FF596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2" name="Title 1"/>
          <p:cNvSpPr>
            <a:spLocks noGrp="1"/>
          </p:cNvSpPr>
          <p:nvPr>
            <p:ph type="title"/>
          </p:nvPr>
        </p:nvSpPr>
        <p:spPr>
          <a:xfrm>
            <a:off x="3276599" y="371808"/>
            <a:ext cx="5334000" cy="613171"/>
          </a:xfrm>
          <a:effectLst/>
        </p:spPr>
        <p:txBody>
          <a:bodyPr vert="horz" lIns="91440" tIns="45720" rIns="91440" bIns="45720" rtlCol="0" anchor="ctr">
            <a:noAutofit/>
          </a:bodyPr>
          <a:lstStyle/>
          <a:p>
            <a:pPr algn="l"/>
            <a:r>
              <a:rPr lang="en-US" sz="2800" dirty="0">
                <a:solidFill>
                  <a:srgbClr val="FF5969"/>
                </a:solidFill>
                <a:latin typeface="Gotham Bold" panose="02000803030000020004" pitchFamily="2" charset="0"/>
              </a:rPr>
              <a:t>National Electronics Policies</a:t>
            </a:r>
            <a:endParaRPr lang="en-IN" sz="2800" dirty="0">
              <a:solidFill>
                <a:srgbClr val="FF5969"/>
              </a:solidFill>
              <a:latin typeface="Gotham Bold" panose="02000803030000020004" pitchFamily="2" charset="0"/>
            </a:endParaRPr>
          </a:p>
        </p:txBody>
      </p:sp>
      <p:sp>
        <p:nvSpPr>
          <p:cNvPr id="3" name="Content Placeholder 2"/>
          <p:cNvSpPr>
            <a:spLocks noGrp="1"/>
          </p:cNvSpPr>
          <p:nvPr>
            <p:ph idx="1"/>
          </p:nvPr>
        </p:nvSpPr>
        <p:spPr>
          <a:xfrm>
            <a:off x="3276599" y="1123950"/>
            <a:ext cx="5791200" cy="3394472"/>
          </a:xfrm>
        </p:spPr>
        <p:txBody>
          <a:bodyPr vert="horz" lIns="91440" tIns="45720" rIns="91440" bIns="45720" rtlCol="0">
            <a:normAutofit/>
          </a:bodyPr>
          <a:lstStyle/>
          <a:p>
            <a:pPr>
              <a:lnSpc>
                <a:spcPct val="150000"/>
              </a:lnSpc>
              <a:buFont typeface="Wingdings" pitchFamily="2" charset="2"/>
              <a:buChar char="§"/>
            </a:pPr>
            <a:r>
              <a:rPr lang="en-US" sz="1800" dirty="0">
                <a:latin typeface="Gotham Medium" panose="02000603030000020004" pitchFamily="2" charset="0"/>
              </a:rPr>
              <a:t>Digital India, Smart Cities and Smart Villages.</a:t>
            </a:r>
          </a:p>
          <a:p>
            <a:pPr>
              <a:lnSpc>
                <a:spcPct val="150000"/>
              </a:lnSpc>
              <a:buFont typeface="Wingdings" pitchFamily="2" charset="2"/>
              <a:buChar char="§"/>
            </a:pPr>
            <a:r>
              <a:rPr lang="en-US" sz="1800" dirty="0">
                <a:latin typeface="Gotham Medium" panose="02000603030000020004" pitchFamily="2" charset="0"/>
              </a:rPr>
              <a:t>Electronic System Design and Manufacturing.</a:t>
            </a:r>
          </a:p>
          <a:p>
            <a:pPr>
              <a:lnSpc>
                <a:spcPct val="150000"/>
              </a:lnSpc>
              <a:buFont typeface="Wingdings" pitchFamily="2" charset="2"/>
              <a:buChar char="§"/>
            </a:pPr>
            <a:r>
              <a:rPr lang="en-US" sz="1800" dirty="0">
                <a:latin typeface="Gotham Medium" panose="02000603030000020004" pitchFamily="2" charset="0"/>
              </a:rPr>
              <a:t>Domestic production of mobiles.</a:t>
            </a:r>
          </a:p>
          <a:p>
            <a:pPr>
              <a:lnSpc>
                <a:spcPct val="150000"/>
              </a:lnSpc>
              <a:buFont typeface="Wingdings" pitchFamily="2" charset="2"/>
              <a:buChar char="§"/>
            </a:pPr>
            <a:r>
              <a:rPr lang="en-US" sz="1800" dirty="0">
                <a:latin typeface="Gotham Medium" panose="02000603030000020004" pitchFamily="2" charset="0"/>
              </a:rPr>
              <a:t>Automation and Communication.</a:t>
            </a:r>
          </a:p>
          <a:p>
            <a:pPr>
              <a:lnSpc>
                <a:spcPct val="150000"/>
              </a:lnSpc>
              <a:buFont typeface="Wingdings" pitchFamily="2" charset="2"/>
              <a:buChar char="§"/>
            </a:pPr>
            <a:endParaRPr lang="en-US" sz="1800" dirty="0">
              <a:latin typeface="Gotham Medium" panose="02000603030000020004" pitchFamily="2" charset="0"/>
            </a:endParaRPr>
          </a:p>
          <a:p>
            <a:pPr>
              <a:lnSpc>
                <a:spcPct val="150000"/>
              </a:lnSpc>
              <a:buFont typeface="Wingdings" panose="05000000000000000000" pitchFamily="2" charset="2"/>
              <a:buChar char="ü"/>
            </a:pPr>
            <a:r>
              <a:rPr lang="en-US" sz="1800" dirty="0">
                <a:latin typeface="Gotham Medium" panose="02000603030000020004" pitchFamily="2" charset="0"/>
              </a:rPr>
              <a:t>Total turnover of 400 billion dollars by 2025.</a:t>
            </a:r>
          </a:p>
          <a:p>
            <a:pPr>
              <a:lnSpc>
                <a:spcPct val="150000"/>
              </a:lnSpc>
              <a:buFont typeface="Wingdings" panose="05000000000000000000" pitchFamily="2" charset="2"/>
              <a:buChar char="ü"/>
            </a:pPr>
            <a:r>
              <a:rPr lang="en-US" sz="1800" dirty="0">
                <a:latin typeface="Gotham Medium" panose="02000603030000020004" pitchFamily="2" charset="0"/>
              </a:rPr>
              <a:t>Total 1 crore jobs by 2025.</a:t>
            </a:r>
          </a:p>
          <a:p>
            <a:pPr>
              <a:lnSpc>
                <a:spcPct val="150000"/>
              </a:lnSpc>
              <a:buFont typeface="Wingdings" pitchFamily="2" charset="2"/>
              <a:buChar char="§"/>
            </a:pPr>
            <a:endParaRPr lang="en-US" sz="1800" dirty="0">
              <a:latin typeface="Gotham Medium" panose="02000603030000020004" pitchFamily="2" charset="0"/>
            </a:endParaRPr>
          </a:p>
          <a:p>
            <a:pPr>
              <a:lnSpc>
                <a:spcPct val="150000"/>
              </a:lnSpc>
              <a:buFont typeface="Wingdings" pitchFamily="2" charset="2"/>
              <a:buChar char="§"/>
            </a:pPr>
            <a:endParaRPr lang="en-US" sz="1800" dirty="0">
              <a:latin typeface="Gotham Medium" panose="02000603030000020004" pitchFamily="2" charset="0"/>
            </a:endParaRPr>
          </a:p>
        </p:txBody>
      </p:sp>
      <p:pic>
        <p:nvPicPr>
          <p:cNvPr id="10242" name="Picture 2" descr="A new &amp;#39;golden&amp;#39; age for electronics? - Engineers Ireland">
            <a:extLst>
              <a:ext uri="{FF2B5EF4-FFF2-40B4-BE49-F238E27FC236}">
                <a16:creationId xmlns:a16="http://schemas.microsoft.com/office/drawing/2014/main" id="{0636AAD1-9E64-4B6A-989D-027ADD83C0FC}"/>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2101" t="12150" r="48258"/>
          <a:stretch/>
        </p:blipFill>
        <p:spPr bwMode="auto">
          <a:xfrm>
            <a:off x="386199" y="371808"/>
            <a:ext cx="2661802" cy="437521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43A0C8D6-C013-4BE2-A8D7-DC6D253407DE}"/>
              </a:ext>
            </a:extLst>
          </p:cNvPr>
          <p:cNvSpPr/>
          <p:nvPr/>
        </p:nvSpPr>
        <p:spPr>
          <a:xfrm>
            <a:off x="380999" y="371808"/>
            <a:ext cx="2667001" cy="4375214"/>
          </a:xfrm>
          <a:prstGeom prst="rect">
            <a:avLst/>
          </a:prstGeom>
          <a:solidFill>
            <a:schemeClr val="tx1">
              <a:lumMod val="95000"/>
              <a:lumOff val="5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Tree>
    <p:extLst>
      <p:ext uri="{BB962C8B-B14F-4D97-AF65-F5344CB8AC3E}">
        <p14:creationId xmlns:p14="http://schemas.microsoft.com/office/powerpoint/2010/main" val="3682823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3A0C8D6-C013-4BE2-A8D7-DC6D253407DE}"/>
              </a:ext>
            </a:extLst>
          </p:cNvPr>
          <p:cNvSpPr/>
          <p:nvPr/>
        </p:nvSpPr>
        <p:spPr>
          <a:xfrm>
            <a:off x="0" y="1127520"/>
            <a:ext cx="9144000" cy="401597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pic>
        <p:nvPicPr>
          <p:cNvPr id="9" name="Picture 8">
            <a:extLst>
              <a:ext uri="{FF2B5EF4-FFF2-40B4-BE49-F238E27FC236}">
                <a16:creationId xmlns:a16="http://schemas.microsoft.com/office/drawing/2014/main" id="{01AF0477-96D0-48EF-8874-70116C173D1C}"/>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rcRect/>
          <a:stretch/>
        </p:blipFill>
        <p:spPr>
          <a:xfrm>
            <a:off x="111110" y="1280536"/>
            <a:ext cx="5527690" cy="3716182"/>
          </a:xfrm>
          <a:prstGeom prst="rect">
            <a:avLst/>
          </a:prstGeom>
        </p:spPr>
      </p:pic>
      <p:pic>
        <p:nvPicPr>
          <p:cNvPr id="8" name="Picture 7">
            <a:extLst>
              <a:ext uri="{FF2B5EF4-FFF2-40B4-BE49-F238E27FC236}">
                <a16:creationId xmlns:a16="http://schemas.microsoft.com/office/drawing/2014/main" id="{9C319B70-11B5-43A4-ABAB-E0DD722982F9}"/>
              </a:ext>
            </a:extLst>
          </p:cNvPr>
          <p:cNvPicPr>
            <a:picLocks noChangeAspect="1"/>
          </p:cNvPicPr>
          <p:nvPr/>
        </p:nvPicPr>
        <p:blipFill>
          <a:blip r:embed="rId4"/>
          <a:stretch>
            <a:fillRect/>
          </a:stretch>
        </p:blipFill>
        <p:spPr>
          <a:xfrm>
            <a:off x="5995284" y="1280536"/>
            <a:ext cx="3020831" cy="3736684"/>
          </a:xfrm>
          <a:prstGeom prst="rect">
            <a:avLst/>
          </a:prstGeom>
        </p:spPr>
      </p:pic>
      <p:sp>
        <p:nvSpPr>
          <p:cNvPr id="2" name="Title 1"/>
          <p:cNvSpPr>
            <a:spLocks noGrp="1"/>
          </p:cNvSpPr>
          <p:nvPr>
            <p:ph type="title"/>
          </p:nvPr>
        </p:nvSpPr>
        <p:spPr>
          <a:xfrm>
            <a:off x="55556" y="302483"/>
            <a:ext cx="6477000" cy="613171"/>
          </a:xfrm>
          <a:effectLst/>
        </p:spPr>
        <p:txBody>
          <a:bodyPr vert="horz" lIns="91440" tIns="45720" rIns="91440" bIns="45720" rtlCol="0" anchor="ctr">
            <a:noAutofit/>
          </a:bodyPr>
          <a:lstStyle/>
          <a:p>
            <a:pPr algn="l"/>
            <a:r>
              <a:rPr lang="en-US" sz="2800" dirty="0">
                <a:solidFill>
                  <a:srgbClr val="FF5969"/>
                </a:solidFill>
                <a:latin typeface="Gotham Bold" panose="02000803030000020004" pitchFamily="2" charset="0"/>
              </a:rPr>
              <a:t>National Electronics Policies 2019</a:t>
            </a:r>
            <a:endParaRPr lang="en-IN" sz="2800" dirty="0">
              <a:solidFill>
                <a:srgbClr val="FF5969"/>
              </a:solidFill>
              <a:latin typeface="Gotham Bold" panose="02000803030000020004" pitchFamily="2" charset="0"/>
            </a:endParaRPr>
          </a:p>
        </p:txBody>
      </p:sp>
      <p:sp>
        <p:nvSpPr>
          <p:cNvPr id="3" name="Rectangle 2">
            <a:extLst>
              <a:ext uri="{FF2B5EF4-FFF2-40B4-BE49-F238E27FC236}">
                <a16:creationId xmlns:a16="http://schemas.microsoft.com/office/drawing/2014/main" id="{E52B694E-9152-44A6-95EE-CDA3FA7E3F29}"/>
              </a:ext>
            </a:extLst>
          </p:cNvPr>
          <p:cNvSpPr/>
          <p:nvPr/>
        </p:nvSpPr>
        <p:spPr>
          <a:xfrm>
            <a:off x="5793411" y="1127521"/>
            <a:ext cx="73989" cy="4015980"/>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7" name="Rectangle 6">
            <a:extLst>
              <a:ext uri="{FF2B5EF4-FFF2-40B4-BE49-F238E27FC236}">
                <a16:creationId xmlns:a16="http://schemas.microsoft.com/office/drawing/2014/main" id="{5FB40829-51E5-4D7A-9B84-D17C6A863A7F}"/>
              </a:ext>
            </a:extLst>
          </p:cNvPr>
          <p:cNvSpPr/>
          <p:nvPr/>
        </p:nvSpPr>
        <p:spPr>
          <a:xfrm>
            <a:off x="1" y="439172"/>
            <a:ext cx="111110" cy="339794"/>
          </a:xfrm>
          <a:prstGeom prst="rect">
            <a:avLst/>
          </a:prstGeom>
          <a:solidFill>
            <a:schemeClr val="tx1">
              <a:lumMod val="50000"/>
              <a:lumOff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Tree>
    <p:extLst>
      <p:ext uri="{BB962C8B-B14F-4D97-AF65-F5344CB8AC3E}">
        <p14:creationId xmlns:p14="http://schemas.microsoft.com/office/powerpoint/2010/main" val="404208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77" descr="Presentations background 3D model - TurboSquid 1163407">
            <a:extLst>
              <a:ext uri="{FF2B5EF4-FFF2-40B4-BE49-F238E27FC236}">
                <a16:creationId xmlns:a16="http://schemas.microsoft.com/office/drawing/2014/main" id="{6D01B2CD-1749-427F-9E0A-4B96F66BD352}"/>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0" y="-1"/>
            <a:ext cx="9142412" cy="51435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6BAE015D-47D1-4E48-8E90-3697142C75CA}"/>
              </a:ext>
            </a:extLst>
          </p:cNvPr>
          <p:cNvSpPr/>
          <p:nvPr/>
        </p:nvSpPr>
        <p:spPr>
          <a:xfrm>
            <a:off x="2057400" y="1872476"/>
            <a:ext cx="7086600" cy="1496146"/>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grpSp>
        <p:nvGrpSpPr>
          <p:cNvPr id="2" name="Group 1">
            <a:extLst>
              <a:ext uri="{FF2B5EF4-FFF2-40B4-BE49-F238E27FC236}">
                <a16:creationId xmlns:a16="http://schemas.microsoft.com/office/drawing/2014/main" id="{54EEDD90-704E-4878-AF8D-68076816A27C}"/>
              </a:ext>
            </a:extLst>
          </p:cNvPr>
          <p:cNvGrpSpPr/>
          <p:nvPr/>
        </p:nvGrpSpPr>
        <p:grpSpPr>
          <a:xfrm>
            <a:off x="268941" y="742950"/>
            <a:ext cx="2438400" cy="3496230"/>
            <a:chOff x="457200" y="590550"/>
            <a:chExt cx="2979057" cy="4182030"/>
          </a:xfrm>
        </p:grpSpPr>
        <p:sp>
          <p:nvSpPr>
            <p:cNvPr id="12" name="Freeform: Shape 11">
              <a:extLst>
                <a:ext uri="{FF2B5EF4-FFF2-40B4-BE49-F238E27FC236}">
                  <a16:creationId xmlns:a16="http://schemas.microsoft.com/office/drawing/2014/main" id="{07097967-BC15-498E-939C-AE11970C5D94}"/>
                </a:ext>
              </a:extLst>
            </p:cNvPr>
            <p:cNvSpPr>
              <a:spLocks/>
            </p:cNvSpPr>
            <p:nvPr/>
          </p:nvSpPr>
          <p:spPr bwMode="auto">
            <a:xfrm rot="410959" flipH="1">
              <a:off x="794188" y="1474662"/>
              <a:ext cx="2305082" cy="3297918"/>
            </a:xfrm>
            <a:custGeom>
              <a:avLst/>
              <a:gdLst>
                <a:gd name="connsiteX0" fmla="*/ 1696267 w 2854049"/>
                <a:gd name="connsiteY0" fmla="*/ 3431657 h 4135471"/>
                <a:gd name="connsiteX1" fmla="*/ 1344360 w 2854049"/>
                <a:gd name="connsiteY1" fmla="*/ 3783564 h 4135471"/>
                <a:gd name="connsiteX2" fmla="*/ 1696267 w 2854049"/>
                <a:gd name="connsiteY2" fmla="*/ 4135471 h 4135471"/>
                <a:gd name="connsiteX3" fmla="*/ 2048174 w 2854049"/>
                <a:gd name="connsiteY3" fmla="*/ 3783564 h 4135471"/>
                <a:gd name="connsiteX4" fmla="*/ 1696267 w 2854049"/>
                <a:gd name="connsiteY4" fmla="*/ 3431657 h 4135471"/>
                <a:gd name="connsiteX5" fmla="*/ 1470680 w 2854049"/>
                <a:gd name="connsiteY5" fmla="*/ 0 h 4135471"/>
                <a:gd name="connsiteX6" fmla="*/ 1360088 w 2854049"/>
                <a:gd name="connsiteY6" fmla="*/ 9020 h 4135471"/>
                <a:gd name="connsiteX7" fmla="*/ 1082638 w 2854049"/>
                <a:gd name="connsiteY7" fmla="*/ 72152 h 4135471"/>
                <a:gd name="connsiteX8" fmla="*/ 1000179 w 2854049"/>
                <a:gd name="connsiteY8" fmla="*/ 103217 h 4135471"/>
                <a:gd name="connsiteX9" fmla="*/ 918691 w 2854049"/>
                <a:gd name="connsiteY9" fmla="*/ 138291 h 4135471"/>
                <a:gd name="connsiteX10" fmla="*/ 839141 w 2854049"/>
                <a:gd name="connsiteY10" fmla="*/ 180379 h 4135471"/>
                <a:gd name="connsiteX11" fmla="*/ 765414 w 2854049"/>
                <a:gd name="connsiteY11" fmla="*/ 227479 h 4135471"/>
                <a:gd name="connsiteX12" fmla="*/ 694595 w 2854049"/>
                <a:gd name="connsiteY12" fmla="*/ 280591 h 4135471"/>
                <a:gd name="connsiteX13" fmla="*/ 629599 w 2854049"/>
                <a:gd name="connsiteY13" fmla="*/ 338714 h 4135471"/>
                <a:gd name="connsiteX14" fmla="*/ 569452 w 2854049"/>
                <a:gd name="connsiteY14" fmla="*/ 401847 h 4135471"/>
                <a:gd name="connsiteX15" fmla="*/ 515126 w 2854049"/>
                <a:gd name="connsiteY15" fmla="*/ 470992 h 4135471"/>
                <a:gd name="connsiteX16" fmla="*/ 467591 w 2854049"/>
                <a:gd name="connsiteY16" fmla="*/ 544147 h 4135471"/>
                <a:gd name="connsiteX17" fmla="*/ 426847 w 2854049"/>
                <a:gd name="connsiteY17" fmla="*/ 622311 h 4135471"/>
                <a:gd name="connsiteX18" fmla="*/ 392893 w 2854049"/>
                <a:gd name="connsiteY18" fmla="*/ 706488 h 4135471"/>
                <a:gd name="connsiteX19" fmla="*/ 338568 w 2854049"/>
                <a:gd name="connsiteY19" fmla="*/ 937976 h 4135471"/>
                <a:gd name="connsiteX20" fmla="*/ 333717 w 2854049"/>
                <a:gd name="connsiteY20" fmla="*/ 994094 h 4135471"/>
                <a:gd name="connsiteX21" fmla="*/ 331776 w 2854049"/>
                <a:gd name="connsiteY21" fmla="*/ 1047206 h 4135471"/>
                <a:gd name="connsiteX22" fmla="*/ 333717 w 2854049"/>
                <a:gd name="connsiteY22" fmla="*/ 1096308 h 4135471"/>
                <a:gd name="connsiteX23" fmla="*/ 334686 w 2854049"/>
                <a:gd name="connsiteY23" fmla="*/ 1145413 h 4135471"/>
                <a:gd name="connsiteX24" fmla="*/ 334686 w 2854049"/>
                <a:gd name="connsiteY24" fmla="*/ 1191509 h 4135471"/>
                <a:gd name="connsiteX25" fmla="*/ 329836 w 2854049"/>
                <a:gd name="connsiteY25" fmla="*/ 1234599 h 4135471"/>
                <a:gd name="connsiteX26" fmla="*/ 315284 w 2854049"/>
                <a:gd name="connsiteY26" fmla="*/ 1278693 h 4135471"/>
                <a:gd name="connsiteX27" fmla="*/ 289092 w 2854049"/>
                <a:gd name="connsiteY27" fmla="*/ 1331805 h 4135471"/>
                <a:gd name="connsiteX28" fmla="*/ 257078 w 2854049"/>
                <a:gd name="connsiteY28" fmla="*/ 1380908 h 4135471"/>
                <a:gd name="connsiteX29" fmla="*/ 222155 w 2854049"/>
                <a:gd name="connsiteY29" fmla="*/ 1423998 h 4135471"/>
                <a:gd name="connsiteX30" fmla="*/ 185291 w 2854049"/>
                <a:gd name="connsiteY30" fmla="*/ 1468092 h 4135471"/>
                <a:gd name="connsiteX31" fmla="*/ 146487 w 2854049"/>
                <a:gd name="connsiteY31" fmla="*/ 1508176 h 4135471"/>
                <a:gd name="connsiteX32" fmla="*/ 107683 w 2854049"/>
                <a:gd name="connsiteY32" fmla="*/ 1548261 h 4135471"/>
                <a:gd name="connsiteX33" fmla="*/ 70819 w 2854049"/>
                <a:gd name="connsiteY33" fmla="*/ 1592354 h 4135471"/>
                <a:gd name="connsiteX34" fmla="*/ 58206 w 2854049"/>
                <a:gd name="connsiteY34" fmla="*/ 1604378 h 4135471"/>
                <a:gd name="connsiteX35" fmla="*/ 42684 w 2854049"/>
                <a:gd name="connsiteY35" fmla="*/ 1619410 h 4135471"/>
                <a:gd name="connsiteX36" fmla="*/ 26193 w 2854049"/>
                <a:gd name="connsiteY36" fmla="*/ 1637448 h 4135471"/>
                <a:gd name="connsiteX37" fmla="*/ 12611 w 2854049"/>
                <a:gd name="connsiteY37" fmla="*/ 1655486 h 4135471"/>
                <a:gd name="connsiteX38" fmla="*/ 3882 w 2854049"/>
                <a:gd name="connsiteY38" fmla="*/ 1677533 h 4135471"/>
                <a:gd name="connsiteX39" fmla="*/ 0 w 2854049"/>
                <a:gd name="connsiteY39" fmla="*/ 1701583 h 4135471"/>
                <a:gd name="connsiteX40" fmla="*/ 4851 w 2854049"/>
                <a:gd name="connsiteY40" fmla="*/ 1726636 h 4135471"/>
                <a:gd name="connsiteX41" fmla="*/ 17462 w 2854049"/>
                <a:gd name="connsiteY41" fmla="*/ 1750687 h 4135471"/>
                <a:gd name="connsiteX42" fmla="*/ 38806 w 2854049"/>
                <a:gd name="connsiteY42" fmla="*/ 1770728 h 4135471"/>
                <a:gd name="connsiteX43" fmla="*/ 63057 w 2854049"/>
                <a:gd name="connsiteY43" fmla="*/ 1784759 h 4135471"/>
                <a:gd name="connsiteX44" fmla="*/ 93130 w 2854049"/>
                <a:gd name="connsiteY44" fmla="*/ 1797786 h 4135471"/>
                <a:gd name="connsiteX45" fmla="*/ 125143 w 2854049"/>
                <a:gd name="connsiteY45" fmla="*/ 1808809 h 4135471"/>
                <a:gd name="connsiteX46" fmla="*/ 157158 w 2854049"/>
                <a:gd name="connsiteY46" fmla="*/ 1819833 h 4135471"/>
                <a:gd name="connsiteX47" fmla="*/ 188201 w 2854049"/>
                <a:gd name="connsiteY47" fmla="*/ 1830855 h 4135471"/>
                <a:gd name="connsiteX48" fmla="*/ 218273 w 2854049"/>
                <a:gd name="connsiteY48" fmla="*/ 1843883 h 4135471"/>
                <a:gd name="connsiteX49" fmla="*/ 245437 w 2854049"/>
                <a:gd name="connsiteY49" fmla="*/ 1857912 h 4135471"/>
                <a:gd name="connsiteX50" fmla="*/ 264839 w 2854049"/>
                <a:gd name="connsiteY50" fmla="*/ 1875951 h 4135471"/>
                <a:gd name="connsiteX51" fmla="*/ 259018 w 2854049"/>
                <a:gd name="connsiteY51" fmla="*/ 1900001 h 4135471"/>
                <a:gd name="connsiteX52" fmla="*/ 248347 w 2854049"/>
                <a:gd name="connsiteY52" fmla="*/ 1922047 h 4135471"/>
                <a:gd name="connsiteX53" fmla="*/ 237676 w 2854049"/>
                <a:gd name="connsiteY53" fmla="*/ 1945097 h 4135471"/>
                <a:gd name="connsiteX54" fmla="*/ 226035 w 2854049"/>
                <a:gd name="connsiteY54" fmla="*/ 1967142 h 4135471"/>
                <a:gd name="connsiteX55" fmla="*/ 215364 w 2854049"/>
                <a:gd name="connsiteY55" fmla="*/ 1989189 h 4135471"/>
                <a:gd name="connsiteX56" fmla="*/ 207602 w 2854049"/>
                <a:gd name="connsiteY56" fmla="*/ 2011236 h 4135471"/>
                <a:gd name="connsiteX57" fmla="*/ 204693 w 2854049"/>
                <a:gd name="connsiteY57" fmla="*/ 2031277 h 4135471"/>
                <a:gd name="connsiteX58" fmla="*/ 206633 w 2854049"/>
                <a:gd name="connsiteY58" fmla="*/ 2053324 h 4135471"/>
                <a:gd name="connsiteX59" fmla="*/ 217304 w 2854049"/>
                <a:gd name="connsiteY59" fmla="*/ 2073366 h 4135471"/>
                <a:gd name="connsiteX60" fmla="*/ 236706 w 2854049"/>
                <a:gd name="connsiteY60" fmla="*/ 2093409 h 4135471"/>
                <a:gd name="connsiteX61" fmla="*/ 264839 w 2854049"/>
                <a:gd name="connsiteY61" fmla="*/ 2113450 h 4135471"/>
                <a:gd name="connsiteX62" fmla="*/ 259018 w 2854049"/>
                <a:gd name="connsiteY62" fmla="*/ 2129483 h 4135471"/>
                <a:gd name="connsiteX63" fmla="*/ 250288 w 2854049"/>
                <a:gd name="connsiteY63" fmla="*/ 2145517 h 4135471"/>
                <a:gd name="connsiteX64" fmla="*/ 243497 w 2854049"/>
                <a:gd name="connsiteY64" fmla="*/ 2164557 h 4135471"/>
                <a:gd name="connsiteX65" fmla="*/ 241557 w 2854049"/>
                <a:gd name="connsiteY65" fmla="*/ 2184601 h 4135471"/>
                <a:gd name="connsiteX66" fmla="*/ 245437 w 2854049"/>
                <a:gd name="connsiteY66" fmla="*/ 2204642 h 4135471"/>
                <a:gd name="connsiteX67" fmla="*/ 256109 w 2854049"/>
                <a:gd name="connsiteY67" fmla="*/ 2222680 h 4135471"/>
                <a:gd name="connsiteX68" fmla="*/ 269690 w 2854049"/>
                <a:gd name="connsiteY68" fmla="*/ 2236709 h 4135471"/>
                <a:gd name="connsiteX69" fmla="*/ 287151 w 2854049"/>
                <a:gd name="connsiteY69" fmla="*/ 2249737 h 4135471"/>
                <a:gd name="connsiteX70" fmla="*/ 304613 w 2854049"/>
                <a:gd name="connsiteY70" fmla="*/ 2258756 h 4135471"/>
                <a:gd name="connsiteX71" fmla="*/ 321105 w 2854049"/>
                <a:gd name="connsiteY71" fmla="*/ 2269780 h 4135471"/>
                <a:gd name="connsiteX72" fmla="*/ 336627 w 2854049"/>
                <a:gd name="connsiteY72" fmla="*/ 2284810 h 4135471"/>
                <a:gd name="connsiteX73" fmla="*/ 345358 w 2854049"/>
                <a:gd name="connsiteY73" fmla="*/ 2300845 h 4135471"/>
                <a:gd name="connsiteX74" fmla="*/ 354089 w 2854049"/>
                <a:gd name="connsiteY74" fmla="*/ 2329906 h 4135471"/>
                <a:gd name="connsiteX75" fmla="*/ 354089 w 2854049"/>
                <a:gd name="connsiteY75" fmla="*/ 2362976 h 4135471"/>
                <a:gd name="connsiteX76" fmla="*/ 351179 w 2854049"/>
                <a:gd name="connsiteY76" fmla="*/ 2394041 h 4135471"/>
                <a:gd name="connsiteX77" fmla="*/ 343417 w 2854049"/>
                <a:gd name="connsiteY77" fmla="*/ 2426108 h 4135471"/>
                <a:gd name="connsiteX78" fmla="*/ 336627 w 2854049"/>
                <a:gd name="connsiteY78" fmla="*/ 2457173 h 4135471"/>
                <a:gd name="connsiteX79" fmla="*/ 331776 w 2854049"/>
                <a:gd name="connsiteY79" fmla="*/ 2485233 h 4135471"/>
                <a:gd name="connsiteX80" fmla="*/ 327896 w 2854049"/>
                <a:gd name="connsiteY80" fmla="*/ 2525318 h 4135471"/>
                <a:gd name="connsiteX81" fmla="*/ 331776 w 2854049"/>
                <a:gd name="connsiteY81" fmla="*/ 2561393 h 4135471"/>
                <a:gd name="connsiteX82" fmla="*/ 342447 w 2854049"/>
                <a:gd name="connsiteY82" fmla="*/ 2594464 h 4135471"/>
                <a:gd name="connsiteX83" fmla="*/ 356029 w 2854049"/>
                <a:gd name="connsiteY83" fmla="*/ 2623524 h 4135471"/>
                <a:gd name="connsiteX84" fmla="*/ 375432 w 2854049"/>
                <a:gd name="connsiteY84" fmla="*/ 2646572 h 4135471"/>
                <a:gd name="connsiteX85" fmla="*/ 400654 w 2854049"/>
                <a:gd name="connsiteY85" fmla="*/ 2668619 h 4135471"/>
                <a:gd name="connsiteX86" fmla="*/ 424906 w 2854049"/>
                <a:gd name="connsiteY86" fmla="*/ 2686657 h 4135471"/>
                <a:gd name="connsiteX87" fmla="*/ 453040 w 2854049"/>
                <a:gd name="connsiteY87" fmla="*/ 2701688 h 4135471"/>
                <a:gd name="connsiteX88" fmla="*/ 481173 w 2854049"/>
                <a:gd name="connsiteY88" fmla="*/ 2714717 h 4135471"/>
                <a:gd name="connsiteX89" fmla="*/ 509306 w 2854049"/>
                <a:gd name="connsiteY89" fmla="*/ 2721731 h 4135471"/>
                <a:gd name="connsiteX90" fmla="*/ 560721 w 2854049"/>
                <a:gd name="connsiteY90" fmla="*/ 2730751 h 4135471"/>
                <a:gd name="connsiteX91" fmla="*/ 615047 w 2854049"/>
                <a:gd name="connsiteY91" fmla="*/ 2734758 h 4135471"/>
                <a:gd name="connsiteX92" fmla="*/ 672284 w 2854049"/>
                <a:gd name="connsiteY92" fmla="*/ 2732755 h 4135471"/>
                <a:gd name="connsiteX93" fmla="*/ 728550 w 2854049"/>
                <a:gd name="connsiteY93" fmla="*/ 2726742 h 4135471"/>
                <a:gd name="connsiteX94" fmla="*/ 784816 w 2854049"/>
                <a:gd name="connsiteY94" fmla="*/ 2719726 h 4135471"/>
                <a:gd name="connsiteX95" fmla="*/ 838171 w 2854049"/>
                <a:gd name="connsiteY95" fmla="*/ 2708704 h 4135471"/>
                <a:gd name="connsiteX96" fmla="*/ 885706 w 2854049"/>
                <a:gd name="connsiteY96" fmla="*/ 2695677 h 4135471"/>
                <a:gd name="connsiteX97" fmla="*/ 927421 w 2854049"/>
                <a:gd name="connsiteY97" fmla="*/ 2681646 h 4135471"/>
                <a:gd name="connsiteX98" fmla="*/ 944882 w 2854049"/>
                <a:gd name="connsiteY98" fmla="*/ 2675633 h 4135471"/>
                <a:gd name="connsiteX99" fmla="*/ 968165 w 2854049"/>
                <a:gd name="connsiteY99" fmla="*/ 2668619 h 4135471"/>
                <a:gd name="connsiteX100" fmla="*/ 993388 w 2854049"/>
                <a:gd name="connsiteY100" fmla="*/ 2661605 h 4135471"/>
                <a:gd name="connsiteX101" fmla="*/ 1019581 w 2854049"/>
                <a:gd name="connsiteY101" fmla="*/ 2654590 h 4135471"/>
                <a:gd name="connsiteX102" fmla="*/ 1047714 w 2854049"/>
                <a:gd name="connsiteY102" fmla="*/ 2650582 h 4135471"/>
                <a:gd name="connsiteX103" fmla="*/ 1075847 w 2854049"/>
                <a:gd name="connsiteY103" fmla="*/ 2648577 h 4135471"/>
                <a:gd name="connsiteX104" fmla="*/ 1100100 w 2854049"/>
                <a:gd name="connsiteY104" fmla="*/ 2652585 h 4135471"/>
                <a:gd name="connsiteX105" fmla="*/ 1121442 w 2854049"/>
                <a:gd name="connsiteY105" fmla="*/ 2661605 h 4135471"/>
                <a:gd name="connsiteX106" fmla="*/ 1140844 w 2854049"/>
                <a:gd name="connsiteY106" fmla="*/ 2679643 h 4135471"/>
                <a:gd name="connsiteX107" fmla="*/ 1158306 w 2854049"/>
                <a:gd name="connsiteY107" fmla="*/ 2708704 h 4135471"/>
                <a:gd name="connsiteX108" fmla="*/ 1174797 w 2854049"/>
                <a:gd name="connsiteY108" fmla="*/ 2745782 h 4135471"/>
                <a:gd name="connsiteX109" fmla="*/ 1190319 w 2854049"/>
                <a:gd name="connsiteY109" fmla="*/ 2788872 h 4135471"/>
                <a:gd name="connsiteX110" fmla="*/ 1202931 w 2854049"/>
                <a:gd name="connsiteY110" fmla="*/ 2837975 h 4135471"/>
                <a:gd name="connsiteX111" fmla="*/ 1215541 w 2854049"/>
                <a:gd name="connsiteY111" fmla="*/ 2889083 h 4135471"/>
                <a:gd name="connsiteX112" fmla="*/ 1226212 w 2854049"/>
                <a:gd name="connsiteY112" fmla="*/ 2942195 h 4135471"/>
                <a:gd name="connsiteX113" fmla="*/ 1235914 w 2854049"/>
                <a:gd name="connsiteY113" fmla="*/ 2996309 h 4135471"/>
                <a:gd name="connsiteX114" fmla="*/ 1245616 w 2854049"/>
                <a:gd name="connsiteY114" fmla="*/ 3049421 h 4135471"/>
                <a:gd name="connsiteX115" fmla="*/ 1252407 w 2854049"/>
                <a:gd name="connsiteY115" fmla="*/ 3098524 h 4135471"/>
                <a:gd name="connsiteX116" fmla="*/ 1261138 w 2854049"/>
                <a:gd name="connsiteY116" fmla="*/ 3144621 h 4135471"/>
                <a:gd name="connsiteX117" fmla="*/ 1267927 w 2854049"/>
                <a:gd name="connsiteY117" fmla="*/ 3182701 h 4135471"/>
                <a:gd name="connsiteX118" fmla="*/ 1273749 w 2854049"/>
                <a:gd name="connsiteY118" fmla="*/ 3215771 h 4135471"/>
                <a:gd name="connsiteX119" fmla="*/ 1405683 w 2854049"/>
                <a:gd name="connsiteY119" fmla="*/ 3238820 h 4135471"/>
                <a:gd name="connsiteX120" fmla="*/ 1539558 w 2854049"/>
                <a:gd name="connsiteY120" fmla="*/ 3251847 h 4135471"/>
                <a:gd name="connsiteX121" fmla="*/ 1677312 w 2854049"/>
                <a:gd name="connsiteY121" fmla="*/ 3253851 h 4135471"/>
                <a:gd name="connsiteX122" fmla="*/ 1817977 w 2854049"/>
                <a:gd name="connsiteY122" fmla="*/ 3246837 h 4135471"/>
                <a:gd name="connsiteX123" fmla="*/ 1963493 w 2854049"/>
                <a:gd name="connsiteY123" fmla="*/ 3226793 h 4135471"/>
                <a:gd name="connsiteX124" fmla="*/ 1998071 w 2854049"/>
                <a:gd name="connsiteY124" fmla="*/ 3220300 h 4135471"/>
                <a:gd name="connsiteX125" fmla="*/ 1972544 w 2854049"/>
                <a:gd name="connsiteY125" fmla="*/ 2990832 h 4135471"/>
                <a:gd name="connsiteX126" fmla="*/ 1866104 w 2854049"/>
                <a:gd name="connsiteY126" fmla="*/ 2529483 h 4135471"/>
                <a:gd name="connsiteX127" fmla="*/ 1085631 w 2854049"/>
                <a:gd name="connsiteY127" fmla="*/ 1773024 h 4135471"/>
                <a:gd name="connsiteX128" fmla="*/ 1277747 w 2854049"/>
                <a:gd name="connsiteY128" fmla="*/ 968535 h 4135471"/>
                <a:gd name="connsiteX129" fmla="*/ 1914134 w 2854049"/>
                <a:gd name="connsiteY129" fmla="*/ 872477 h 4135471"/>
                <a:gd name="connsiteX130" fmla="*/ 2334389 w 2854049"/>
                <a:gd name="connsiteY130" fmla="*/ 1316747 h 4135471"/>
                <a:gd name="connsiteX131" fmla="*/ 2850702 w 2854049"/>
                <a:gd name="connsiteY131" fmla="*/ 1256710 h 4135471"/>
                <a:gd name="connsiteX132" fmla="*/ 2851858 w 2854049"/>
                <a:gd name="connsiteY132" fmla="*/ 1288484 h 4135471"/>
                <a:gd name="connsiteX133" fmla="*/ 2854049 w 2854049"/>
                <a:gd name="connsiteY133" fmla="*/ 1252639 h 4135471"/>
                <a:gd name="connsiteX134" fmla="*/ 2852109 w 2854049"/>
                <a:gd name="connsiteY134" fmla="*/ 1156435 h 4135471"/>
                <a:gd name="connsiteX135" fmla="*/ 2845318 w 2854049"/>
                <a:gd name="connsiteY135" fmla="*/ 1062236 h 4135471"/>
                <a:gd name="connsiteX136" fmla="*/ 2830767 w 2854049"/>
                <a:gd name="connsiteY136" fmla="*/ 971045 h 4135471"/>
                <a:gd name="connsiteX137" fmla="*/ 2811365 w 2854049"/>
                <a:gd name="connsiteY137" fmla="*/ 881857 h 4135471"/>
                <a:gd name="connsiteX138" fmla="*/ 2787112 w 2854049"/>
                <a:gd name="connsiteY138" fmla="*/ 799684 h 4135471"/>
                <a:gd name="connsiteX139" fmla="*/ 2759950 w 2854049"/>
                <a:gd name="connsiteY139" fmla="*/ 724526 h 4135471"/>
                <a:gd name="connsiteX140" fmla="*/ 2728906 w 2854049"/>
                <a:gd name="connsiteY140" fmla="*/ 657385 h 4135471"/>
                <a:gd name="connsiteX141" fmla="*/ 2682340 w 2854049"/>
                <a:gd name="connsiteY141" fmla="*/ 577215 h 4135471"/>
                <a:gd name="connsiteX142" fmla="*/ 2631895 w 2854049"/>
                <a:gd name="connsiteY142" fmla="*/ 501055 h 4135471"/>
                <a:gd name="connsiteX143" fmla="*/ 2574659 w 2854049"/>
                <a:gd name="connsiteY143" fmla="*/ 429907 h 4135471"/>
                <a:gd name="connsiteX144" fmla="*/ 2513543 w 2854049"/>
                <a:gd name="connsiteY144" fmla="*/ 361762 h 4135471"/>
                <a:gd name="connsiteX145" fmla="*/ 2446606 w 2854049"/>
                <a:gd name="connsiteY145" fmla="*/ 300634 h 4135471"/>
                <a:gd name="connsiteX146" fmla="*/ 2371907 w 2854049"/>
                <a:gd name="connsiteY146" fmla="*/ 243513 h 4135471"/>
                <a:gd name="connsiteX147" fmla="*/ 2294299 w 2854049"/>
                <a:gd name="connsiteY147" fmla="*/ 192406 h 4135471"/>
                <a:gd name="connsiteX148" fmla="*/ 2211840 w 2854049"/>
                <a:gd name="connsiteY148" fmla="*/ 147311 h 4135471"/>
                <a:gd name="connsiteX149" fmla="*/ 2121620 w 2854049"/>
                <a:gd name="connsiteY149" fmla="*/ 109230 h 4135471"/>
                <a:gd name="connsiteX150" fmla="*/ 2028490 w 2854049"/>
                <a:gd name="connsiteY150" fmla="*/ 74157 h 4135471"/>
                <a:gd name="connsiteX151" fmla="*/ 1927599 w 2854049"/>
                <a:gd name="connsiteY151" fmla="*/ 47099 h 4135471"/>
                <a:gd name="connsiteX152" fmla="*/ 1821858 w 2854049"/>
                <a:gd name="connsiteY152" fmla="*/ 25053 h 4135471"/>
                <a:gd name="connsiteX153" fmla="*/ 1711265 w 2854049"/>
                <a:gd name="connsiteY153" fmla="*/ 10021 h 4135471"/>
                <a:gd name="connsiteX154" fmla="*/ 1594853 w 2854049"/>
                <a:gd name="connsiteY154" fmla="*/ 1002 h 413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854049" h="4135471">
                  <a:moveTo>
                    <a:pt x="1696267" y="3431657"/>
                  </a:moveTo>
                  <a:cubicBezTo>
                    <a:pt x="1501914" y="3431657"/>
                    <a:pt x="1344360" y="3589211"/>
                    <a:pt x="1344360" y="3783564"/>
                  </a:cubicBezTo>
                  <a:cubicBezTo>
                    <a:pt x="1344360" y="3977917"/>
                    <a:pt x="1501914" y="4135471"/>
                    <a:pt x="1696267" y="4135471"/>
                  </a:cubicBezTo>
                  <a:cubicBezTo>
                    <a:pt x="1890620" y="4135471"/>
                    <a:pt x="2048174" y="3977917"/>
                    <a:pt x="2048174" y="3783564"/>
                  </a:cubicBezTo>
                  <a:cubicBezTo>
                    <a:pt x="2048174" y="3589211"/>
                    <a:pt x="1890620" y="3431657"/>
                    <a:pt x="1696267" y="3431657"/>
                  </a:cubicBezTo>
                  <a:close/>
                  <a:moveTo>
                    <a:pt x="1470680" y="0"/>
                  </a:moveTo>
                  <a:lnTo>
                    <a:pt x="1360088" y="9020"/>
                  </a:lnTo>
                  <a:lnTo>
                    <a:pt x="1082638" y="72152"/>
                  </a:lnTo>
                  <a:lnTo>
                    <a:pt x="1000179" y="103217"/>
                  </a:lnTo>
                  <a:lnTo>
                    <a:pt x="918691" y="138291"/>
                  </a:lnTo>
                  <a:lnTo>
                    <a:pt x="839141" y="180379"/>
                  </a:lnTo>
                  <a:lnTo>
                    <a:pt x="765414" y="227479"/>
                  </a:lnTo>
                  <a:lnTo>
                    <a:pt x="694595" y="280591"/>
                  </a:lnTo>
                  <a:lnTo>
                    <a:pt x="629599" y="338714"/>
                  </a:lnTo>
                  <a:lnTo>
                    <a:pt x="569452" y="401847"/>
                  </a:lnTo>
                  <a:lnTo>
                    <a:pt x="515126" y="470992"/>
                  </a:lnTo>
                  <a:lnTo>
                    <a:pt x="467591" y="544147"/>
                  </a:lnTo>
                  <a:lnTo>
                    <a:pt x="426847" y="622311"/>
                  </a:lnTo>
                  <a:lnTo>
                    <a:pt x="392893" y="706488"/>
                  </a:lnTo>
                  <a:lnTo>
                    <a:pt x="338568" y="937976"/>
                  </a:lnTo>
                  <a:lnTo>
                    <a:pt x="333717" y="994094"/>
                  </a:lnTo>
                  <a:lnTo>
                    <a:pt x="331776" y="1047206"/>
                  </a:lnTo>
                  <a:lnTo>
                    <a:pt x="333717" y="1096308"/>
                  </a:lnTo>
                  <a:lnTo>
                    <a:pt x="334686" y="1145413"/>
                  </a:lnTo>
                  <a:lnTo>
                    <a:pt x="334686" y="1191509"/>
                  </a:lnTo>
                  <a:lnTo>
                    <a:pt x="329836" y="1234599"/>
                  </a:lnTo>
                  <a:lnTo>
                    <a:pt x="315284" y="1278693"/>
                  </a:lnTo>
                  <a:lnTo>
                    <a:pt x="289092" y="1331805"/>
                  </a:lnTo>
                  <a:lnTo>
                    <a:pt x="257078" y="1380908"/>
                  </a:lnTo>
                  <a:lnTo>
                    <a:pt x="222155" y="1423998"/>
                  </a:lnTo>
                  <a:lnTo>
                    <a:pt x="185291" y="1468092"/>
                  </a:lnTo>
                  <a:lnTo>
                    <a:pt x="146487" y="1508176"/>
                  </a:lnTo>
                  <a:lnTo>
                    <a:pt x="107683" y="1548261"/>
                  </a:lnTo>
                  <a:lnTo>
                    <a:pt x="70819" y="1592354"/>
                  </a:lnTo>
                  <a:lnTo>
                    <a:pt x="58206" y="1604378"/>
                  </a:lnTo>
                  <a:lnTo>
                    <a:pt x="42684" y="1619410"/>
                  </a:lnTo>
                  <a:lnTo>
                    <a:pt x="26193" y="1637448"/>
                  </a:lnTo>
                  <a:lnTo>
                    <a:pt x="12611" y="1655486"/>
                  </a:lnTo>
                  <a:lnTo>
                    <a:pt x="3882" y="1677533"/>
                  </a:lnTo>
                  <a:lnTo>
                    <a:pt x="0" y="1701583"/>
                  </a:lnTo>
                  <a:lnTo>
                    <a:pt x="4851" y="1726636"/>
                  </a:lnTo>
                  <a:lnTo>
                    <a:pt x="17462" y="1750687"/>
                  </a:lnTo>
                  <a:lnTo>
                    <a:pt x="38806" y="1770728"/>
                  </a:lnTo>
                  <a:lnTo>
                    <a:pt x="63057" y="1784759"/>
                  </a:lnTo>
                  <a:lnTo>
                    <a:pt x="93130" y="1797786"/>
                  </a:lnTo>
                  <a:lnTo>
                    <a:pt x="125143" y="1808809"/>
                  </a:lnTo>
                  <a:lnTo>
                    <a:pt x="157158" y="1819833"/>
                  </a:lnTo>
                  <a:lnTo>
                    <a:pt x="188201" y="1830855"/>
                  </a:lnTo>
                  <a:lnTo>
                    <a:pt x="218273" y="1843883"/>
                  </a:lnTo>
                  <a:lnTo>
                    <a:pt x="245437" y="1857912"/>
                  </a:lnTo>
                  <a:lnTo>
                    <a:pt x="264839" y="1875951"/>
                  </a:lnTo>
                  <a:lnTo>
                    <a:pt x="259018" y="1900001"/>
                  </a:lnTo>
                  <a:lnTo>
                    <a:pt x="248347" y="1922047"/>
                  </a:lnTo>
                  <a:lnTo>
                    <a:pt x="237676" y="1945097"/>
                  </a:lnTo>
                  <a:lnTo>
                    <a:pt x="226035" y="1967142"/>
                  </a:lnTo>
                  <a:lnTo>
                    <a:pt x="215364" y="1989189"/>
                  </a:lnTo>
                  <a:lnTo>
                    <a:pt x="207602" y="2011236"/>
                  </a:lnTo>
                  <a:lnTo>
                    <a:pt x="204693" y="2031277"/>
                  </a:lnTo>
                  <a:lnTo>
                    <a:pt x="206633" y="2053324"/>
                  </a:lnTo>
                  <a:lnTo>
                    <a:pt x="217304" y="2073366"/>
                  </a:lnTo>
                  <a:lnTo>
                    <a:pt x="236706" y="2093409"/>
                  </a:lnTo>
                  <a:lnTo>
                    <a:pt x="264839" y="2113450"/>
                  </a:lnTo>
                  <a:lnTo>
                    <a:pt x="259018" y="2129483"/>
                  </a:lnTo>
                  <a:lnTo>
                    <a:pt x="250288" y="2145517"/>
                  </a:lnTo>
                  <a:lnTo>
                    <a:pt x="243497" y="2164557"/>
                  </a:lnTo>
                  <a:lnTo>
                    <a:pt x="241557" y="2184601"/>
                  </a:lnTo>
                  <a:lnTo>
                    <a:pt x="245437" y="2204642"/>
                  </a:lnTo>
                  <a:lnTo>
                    <a:pt x="256109" y="2222680"/>
                  </a:lnTo>
                  <a:lnTo>
                    <a:pt x="269690" y="2236709"/>
                  </a:lnTo>
                  <a:lnTo>
                    <a:pt x="287151" y="2249737"/>
                  </a:lnTo>
                  <a:lnTo>
                    <a:pt x="304613" y="2258756"/>
                  </a:lnTo>
                  <a:lnTo>
                    <a:pt x="321105" y="2269780"/>
                  </a:lnTo>
                  <a:lnTo>
                    <a:pt x="336627" y="2284810"/>
                  </a:lnTo>
                  <a:lnTo>
                    <a:pt x="345358" y="2300845"/>
                  </a:lnTo>
                  <a:lnTo>
                    <a:pt x="354089" y="2329906"/>
                  </a:lnTo>
                  <a:lnTo>
                    <a:pt x="354089" y="2362976"/>
                  </a:lnTo>
                  <a:lnTo>
                    <a:pt x="351179" y="2394041"/>
                  </a:lnTo>
                  <a:lnTo>
                    <a:pt x="343417" y="2426108"/>
                  </a:lnTo>
                  <a:lnTo>
                    <a:pt x="336627" y="2457173"/>
                  </a:lnTo>
                  <a:lnTo>
                    <a:pt x="331776" y="2485233"/>
                  </a:lnTo>
                  <a:lnTo>
                    <a:pt x="327896" y="2525318"/>
                  </a:lnTo>
                  <a:lnTo>
                    <a:pt x="331776" y="2561393"/>
                  </a:lnTo>
                  <a:lnTo>
                    <a:pt x="342447" y="2594464"/>
                  </a:lnTo>
                  <a:lnTo>
                    <a:pt x="356029" y="2623524"/>
                  </a:lnTo>
                  <a:lnTo>
                    <a:pt x="375432" y="2646572"/>
                  </a:lnTo>
                  <a:lnTo>
                    <a:pt x="400654" y="2668619"/>
                  </a:lnTo>
                  <a:lnTo>
                    <a:pt x="424906" y="2686657"/>
                  </a:lnTo>
                  <a:lnTo>
                    <a:pt x="453040" y="2701688"/>
                  </a:lnTo>
                  <a:lnTo>
                    <a:pt x="481173" y="2714717"/>
                  </a:lnTo>
                  <a:lnTo>
                    <a:pt x="509306" y="2721731"/>
                  </a:lnTo>
                  <a:lnTo>
                    <a:pt x="560721" y="2730751"/>
                  </a:lnTo>
                  <a:lnTo>
                    <a:pt x="615047" y="2734758"/>
                  </a:lnTo>
                  <a:lnTo>
                    <a:pt x="672284" y="2732755"/>
                  </a:lnTo>
                  <a:lnTo>
                    <a:pt x="728550" y="2726742"/>
                  </a:lnTo>
                  <a:lnTo>
                    <a:pt x="784816" y="2719726"/>
                  </a:lnTo>
                  <a:lnTo>
                    <a:pt x="838171" y="2708704"/>
                  </a:lnTo>
                  <a:lnTo>
                    <a:pt x="885706" y="2695677"/>
                  </a:lnTo>
                  <a:lnTo>
                    <a:pt x="927421" y="2681646"/>
                  </a:lnTo>
                  <a:lnTo>
                    <a:pt x="944882" y="2675633"/>
                  </a:lnTo>
                  <a:lnTo>
                    <a:pt x="968165" y="2668619"/>
                  </a:lnTo>
                  <a:lnTo>
                    <a:pt x="993388" y="2661605"/>
                  </a:lnTo>
                  <a:lnTo>
                    <a:pt x="1019581" y="2654590"/>
                  </a:lnTo>
                  <a:lnTo>
                    <a:pt x="1047714" y="2650582"/>
                  </a:lnTo>
                  <a:lnTo>
                    <a:pt x="1075847" y="2648577"/>
                  </a:lnTo>
                  <a:lnTo>
                    <a:pt x="1100100" y="2652585"/>
                  </a:lnTo>
                  <a:lnTo>
                    <a:pt x="1121442" y="2661605"/>
                  </a:lnTo>
                  <a:lnTo>
                    <a:pt x="1140844" y="2679643"/>
                  </a:lnTo>
                  <a:lnTo>
                    <a:pt x="1158306" y="2708704"/>
                  </a:lnTo>
                  <a:lnTo>
                    <a:pt x="1174797" y="2745782"/>
                  </a:lnTo>
                  <a:lnTo>
                    <a:pt x="1190319" y="2788872"/>
                  </a:lnTo>
                  <a:lnTo>
                    <a:pt x="1202931" y="2837975"/>
                  </a:lnTo>
                  <a:lnTo>
                    <a:pt x="1215541" y="2889083"/>
                  </a:lnTo>
                  <a:lnTo>
                    <a:pt x="1226212" y="2942195"/>
                  </a:lnTo>
                  <a:lnTo>
                    <a:pt x="1235914" y="2996309"/>
                  </a:lnTo>
                  <a:lnTo>
                    <a:pt x="1245616" y="3049421"/>
                  </a:lnTo>
                  <a:lnTo>
                    <a:pt x="1252407" y="3098524"/>
                  </a:lnTo>
                  <a:lnTo>
                    <a:pt x="1261138" y="3144621"/>
                  </a:lnTo>
                  <a:lnTo>
                    <a:pt x="1267927" y="3182701"/>
                  </a:lnTo>
                  <a:lnTo>
                    <a:pt x="1273749" y="3215771"/>
                  </a:lnTo>
                  <a:lnTo>
                    <a:pt x="1405683" y="3238820"/>
                  </a:lnTo>
                  <a:lnTo>
                    <a:pt x="1539558" y="3251847"/>
                  </a:lnTo>
                  <a:lnTo>
                    <a:pt x="1677312" y="3253851"/>
                  </a:lnTo>
                  <a:lnTo>
                    <a:pt x="1817977" y="3246837"/>
                  </a:lnTo>
                  <a:lnTo>
                    <a:pt x="1963493" y="3226793"/>
                  </a:lnTo>
                  <a:lnTo>
                    <a:pt x="1998071" y="3220300"/>
                  </a:lnTo>
                  <a:lnTo>
                    <a:pt x="1972544" y="2990832"/>
                  </a:lnTo>
                  <a:cubicBezTo>
                    <a:pt x="1951990" y="2824419"/>
                    <a:pt x="1923973" y="2664322"/>
                    <a:pt x="1866104" y="2529483"/>
                  </a:cubicBezTo>
                  <a:cubicBezTo>
                    <a:pt x="1798827" y="2378364"/>
                    <a:pt x="1318234" y="2057324"/>
                    <a:pt x="1085631" y="1773024"/>
                  </a:cubicBezTo>
                  <a:cubicBezTo>
                    <a:pt x="1039452" y="1683967"/>
                    <a:pt x="924385" y="1218329"/>
                    <a:pt x="1277747" y="968535"/>
                  </a:cubicBezTo>
                  <a:cubicBezTo>
                    <a:pt x="1430175" y="835482"/>
                    <a:pt x="1702005" y="831017"/>
                    <a:pt x="1914134" y="872477"/>
                  </a:cubicBezTo>
                  <a:cubicBezTo>
                    <a:pt x="2031257" y="905756"/>
                    <a:pt x="2240228" y="1053847"/>
                    <a:pt x="2334389" y="1316747"/>
                  </a:cubicBezTo>
                  <a:lnTo>
                    <a:pt x="2850702" y="1256710"/>
                  </a:lnTo>
                  <a:lnTo>
                    <a:pt x="2851858" y="1288484"/>
                  </a:lnTo>
                  <a:lnTo>
                    <a:pt x="2854049" y="1252639"/>
                  </a:lnTo>
                  <a:lnTo>
                    <a:pt x="2852109" y="1156435"/>
                  </a:lnTo>
                  <a:lnTo>
                    <a:pt x="2845318" y="1062236"/>
                  </a:lnTo>
                  <a:lnTo>
                    <a:pt x="2830767" y="971045"/>
                  </a:lnTo>
                  <a:lnTo>
                    <a:pt x="2811365" y="881857"/>
                  </a:lnTo>
                  <a:lnTo>
                    <a:pt x="2787112" y="799684"/>
                  </a:lnTo>
                  <a:lnTo>
                    <a:pt x="2759950" y="724526"/>
                  </a:lnTo>
                  <a:lnTo>
                    <a:pt x="2728906" y="657385"/>
                  </a:lnTo>
                  <a:lnTo>
                    <a:pt x="2682340" y="577215"/>
                  </a:lnTo>
                  <a:lnTo>
                    <a:pt x="2631895" y="501055"/>
                  </a:lnTo>
                  <a:lnTo>
                    <a:pt x="2574659" y="429907"/>
                  </a:lnTo>
                  <a:lnTo>
                    <a:pt x="2513543" y="361762"/>
                  </a:lnTo>
                  <a:lnTo>
                    <a:pt x="2446606" y="300634"/>
                  </a:lnTo>
                  <a:lnTo>
                    <a:pt x="2371907" y="243513"/>
                  </a:lnTo>
                  <a:lnTo>
                    <a:pt x="2294299" y="192406"/>
                  </a:lnTo>
                  <a:lnTo>
                    <a:pt x="2211840" y="147311"/>
                  </a:lnTo>
                  <a:lnTo>
                    <a:pt x="2121620" y="109230"/>
                  </a:lnTo>
                  <a:lnTo>
                    <a:pt x="2028490" y="74157"/>
                  </a:lnTo>
                  <a:lnTo>
                    <a:pt x="1927599" y="47099"/>
                  </a:lnTo>
                  <a:lnTo>
                    <a:pt x="1821858" y="25053"/>
                  </a:lnTo>
                  <a:lnTo>
                    <a:pt x="1711265" y="10021"/>
                  </a:lnTo>
                  <a:lnTo>
                    <a:pt x="1594853" y="1002"/>
                  </a:lnTo>
                  <a:close/>
                </a:path>
              </a:pathLst>
            </a:custGeom>
            <a:solidFill>
              <a:schemeClr val="tx1">
                <a:lumMod val="75000"/>
                <a:lumOff val="25000"/>
              </a:schemeClr>
            </a:solidFill>
            <a:ln>
              <a:solidFill>
                <a:srgbClr val="163F74"/>
              </a:solid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anchor="t" anchorCtr="0" compatLnSpc="1">
              <a:prstTxWarp prst="textNoShape">
                <a:avLst/>
              </a:prstTxWarp>
              <a:noAutofit/>
            </a:bodyPr>
            <a:lstStyle/>
            <a:p>
              <a:endParaRPr lang="ko-KR" altLang="en-US" sz="2026" dirty="0"/>
            </a:p>
          </p:txBody>
        </p:sp>
        <p:sp>
          <p:nvSpPr>
            <p:cNvPr id="16" name="Freeform: Shape 15">
              <a:extLst>
                <a:ext uri="{FF2B5EF4-FFF2-40B4-BE49-F238E27FC236}">
                  <a16:creationId xmlns:a16="http://schemas.microsoft.com/office/drawing/2014/main" id="{68C7E696-0B18-41D8-BADC-63197E0C7B5D}"/>
                </a:ext>
              </a:extLst>
            </p:cNvPr>
            <p:cNvSpPr/>
            <p:nvPr/>
          </p:nvSpPr>
          <p:spPr>
            <a:xfrm flipH="1">
              <a:off x="457200" y="590550"/>
              <a:ext cx="2979057" cy="1921717"/>
            </a:xfrm>
            <a:custGeom>
              <a:avLst/>
              <a:gdLst>
                <a:gd name="connsiteX0" fmla="*/ 1547519 w 3095038"/>
                <a:gd name="connsiteY0" fmla="*/ 0 h 2022026"/>
                <a:gd name="connsiteX1" fmla="*/ 3095038 w 3095038"/>
                <a:gd name="connsiteY1" fmla="*/ 627509 h 2022026"/>
                <a:gd name="connsiteX2" fmla="*/ 2825277 w 3095038"/>
                <a:gd name="connsiteY2" fmla="*/ 736897 h 2022026"/>
                <a:gd name="connsiteX3" fmla="*/ 2825277 w 3095038"/>
                <a:gd name="connsiteY3" fmla="*/ 1583608 h 2022026"/>
                <a:gd name="connsiteX4" fmla="*/ 2829142 w 3095038"/>
                <a:gd name="connsiteY4" fmla="*/ 1585209 h 2022026"/>
                <a:gd name="connsiteX5" fmla="*/ 2841509 w 3095038"/>
                <a:gd name="connsiteY5" fmla="*/ 1615067 h 2022026"/>
                <a:gd name="connsiteX6" fmla="*/ 2829142 w 3095038"/>
                <a:gd name="connsiteY6" fmla="*/ 1644926 h 2022026"/>
                <a:gd name="connsiteX7" fmla="*/ 2826092 w 3095038"/>
                <a:gd name="connsiteY7" fmla="*/ 1646189 h 2022026"/>
                <a:gd name="connsiteX8" fmla="*/ 2876626 w 3095038"/>
                <a:gd name="connsiteY8" fmla="*/ 2022026 h 2022026"/>
                <a:gd name="connsiteX9" fmla="*/ 2721940 w 3095038"/>
                <a:gd name="connsiteY9" fmla="*/ 2022026 h 2022026"/>
                <a:gd name="connsiteX10" fmla="*/ 2772475 w 3095038"/>
                <a:gd name="connsiteY10" fmla="*/ 1646189 h 2022026"/>
                <a:gd name="connsiteX11" fmla="*/ 2769425 w 3095038"/>
                <a:gd name="connsiteY11" fmla="*/ 1644926 h 2022026"/>
                <a:gd name="connsiteX12" fmla="*/ 2757057 w 3095038"/>
                <a:gd name="connsiteY12" fmla="*/ 1615067 h 2022026"/>
                <a:gd name="connsiteX13" fmla="*/ 2769425 w 3095038"/>
                <a:gd name="connsiteY13" fmla="*/ 1585209 h 2022026"/>
                <a:gd name="connsiteX14" fmla="*/ 2773289 w 3095038"/>
                <a:gd name="connsiteY14" fmla="*/ 1583608 h 2022026"/>
                <a:gd name="connsiteX15" fmla="*/ 2773289 w 3095038"/>
                <a:gd name="connsiteY15" fmla="*/ 757978 h 2022026"/>
                <a:gd name="connsiteX16" fmla="*/ 2747752 w 3095038"/>
                <a:gd name="connsiteY16" fmla="*/ 768333 h 2022026"/>
                <a:gd name="connsiteX17" fmla="*/ 2473970 w 3095038"/>
                <a:gd name="connsiteY17" fmla="*/ 981499 h 2022026"/>
                <a:gd name="connsiteX18" fmla="*/ 2473970 w 3095038"/>
                <a:gd name="connsiteY18" fmla="*/ 1333096 h 2022026"/>
                <a:gd name="connsiteX19" fmla="*/ 1442377 w 3095038"/>
                <a:gd name="connsiteY19" fmla="*/ 1553521 h 2022026"/>
                <a:gd name="connsiteX20" fmla="*/ 628675 w 3095038"/>
                <a:gd name="connsiteY20" fmla="*/ 1422110 h 2022026"/>
                <a:gd name="connsiteX21" fmla="*/ 635755 w 3095038"/>
                <a:gd name="connsiteY21" fmla="*/ 1406334 h 2022026"/>
                <a:gd name="connsiteX22" fmla="*/ 621068 w 3095038"/>
                <a:gd name="connsiteY22" fmla="*/ 1402746 h 2022026"/>
                <a:gd name="connsiteX23" fmla="*/ 621068 w 3095038"/>
                <a:gd name="connsiteY23" fmla="*/ 981499 h 2022026"/>
                <a:gd name="connsiteX24" fmla="*/ 0 w 3095038"/>
                <a:gd name="connsiteY24" fmla="*/ 627509 h 202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95038" h="2022026">
                  <a:moveTo>
                    <a:pt x="1547519" y="0"/>
                  </a:moveTo>
                  <a:lnTo>
                    <a:pt x="3095038" y="627509"/>
                  </a:lnTo>
                  <a:lnTo>
                    <a:pt x="2825277" y="736897"/>
                  </a:lnTo>
                  <a:lnTo>
                    <a:pt x="2825277" y="1583608"/>
                  </a:lnTo>
                  <a:lnTo>
                    <a:pt x="2829142" y="1585209"/>
                  </a:lnTo>
                  <a:cubicBezTo>
                    <a:pt x="2836783" y="1592850"/>
                    <a:pt x="2841509" y="1603406"/>
                    <a:pt x="2841509" y="1615067"/>
                  </a:cubicBezTo>
                  <a:cubicBezTo>
                    <a:pt x="2841509" y="1626728"/>
                    <a:pt x="2836783" y="1637284"/>
                    <a:pt x="2829142" y="1644926"/>
                  </a:cubicBezTo>
                  <a:lnTo>
                    <a:pt x="2826092" y="1646189"/>
                  </a:lnTo>
                  <a:lnTo>
                    <a:pt x="2876626" y="2022026"/>
                  </a:lnTo>
                  <a:lnTo>
                    <a:pt x="2721940" y="2022026"/>
                  </a:lnTo>
                  <a:lnTo>
                    <a:pt x="2772475" y="1646189"/>
                  </a:lnTo>
                  <a:lnTo>
                    <a:pt x="2769425" y="1644926"/>
                  </a:lnTo>
                  <a:cubicBezTo>
                    <a:pt x="2761784" y="1637284"/>
                    <a:pt x="2757057" y="1626728"/>
                    <a:pt x="2757057" y="1615067"/>
                  </a:cubicBezTo>
                  <a:cubicBezTo>
                    <a:pt x="2757057" y="1603406"/>
                    <a:pt x="2761784" y="1592850"/>
                    <a:pt x="2769425" y="1585209"/>
                  </a:cubicBezTo>
                  <a:lnTo>
                    <a:pt x="2773289" y="1583608"/>
                  </a:lnTo>
                  <a:lnTo>
                    <a:pt x="2773289" y="757978"/>
                  </a:lnTo>
                  <a:lnTo>
                    <a:pt x="2747752" y="768333"/>
                  </a:lnTo>
                  <a:lnTo>
                    <a:pt x="2473970" y="981499"/>
                  </a:lnTo>
                  <a:lnTo>
                    <a:pt x="2473970" y="1333096"/>
                  </a:lnTo>
                  <a:cubicBezTo>
                    <a:pt x="2176456" y="1474039"/>
                    <a:pt x="1822001" y="1553521"/>
                    <a:pt x="1442377" y="1553521"/>
                  </a:cubicBezTo>
                  <a:cubicBezTo>
                    <a:pt x="1151810" y="1553521"/>
                    <a:pt x="875988" y="1506956"/>
                    <a:pt x="628675" y="1422110"/>
                  </a:cubicBezTo>
                  <a:cubicBezTo>
                    <a:pt x="630298" y="1416654"/>
                    <a:pt x="632987" y="1411486"/>
                    <a:pt x="635755" y="1406334"/>
                  </a:cubicBezTo>
                  <a:cubicBezTo>
                    <a:pt x="631035" y="1404608"/>
                    <a:pt x="626049" y="1403669"/>
                    <a:pt x="621068" y="1402746"/>
                  </a:cubicBezTo>
                  <a:lnTo>
                    <a:pt x="621068" y="981499"/>
                  </a:lnTo>
                  <a:lnTo>
                    <a:pt x="0" y="62750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sz="2026" dirty="0"/>
            </a:p>
          </p:txBody>
        </p:sp>
      </p:grpSp>
      <p:graphicFrame>
        <p:nvGraphicFramePr>
          <p:cNvPr id="5" name="Object 4" hidden="1">
            <a:extLst>
              <a:ext uri="{FF2B5EF4-FFF2-40B4-BE49-F238E27FC236}">
                <a16:creationId xmlns:a16="http://schemas.microsoft.com/office/drawing/2014/main" id="{A9E43DCD-F115-4EC7-90AE-5F5E6C473889}"/>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703" name="think-cell Slide" r:id="rId8" imgW="383" imgH="384" progId="TCLayout.ActiveDocument.1">
                  <p:embed/>
                </p:oleObj>
              </mc:Choice>
              <mc:Fallback>
                <p:oleObj name="think-cell Slide" r:id="rId8" imgW="383" imgH="384" progId="TCLayout.ActiveDocument.1">
                  <p:embed/>
                  <p:pic>
                    <p:nvPicPr>
                      <p:cNvPr id="5" name="Object 4" hidden="1">
                        <a:extLst>
                          <a:ext uri="{FF2B5EF4-FFF2-40B4-BE49-F238E27FC236}">
                            <a16:creationId xmlns:a16="http://schemas.microsoft.com/office/drawing/2014/main" id="{A9E43DCD-F115-4EC7-90AE-5F5E6C473889}"/>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140B3F-4BDA-4FDA-A9EE-3C673CDF2373}"/>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b="1" dirty="0">
              <a:latin typeface="Segoe UI" panose="020B0502040204020203" pitchFamily="34" charset="0"/>
              <a:ea typeface="+mj-ea"/>
              <a:cs typeface="Segoe UI" panose="020B0502040204020203" pitchFamily="34" charset="0"/>
              <a:sym typeface="Segoe UI" panose="020B0502040204020203" pitchFamily="34" charset="0"/>
            </a:endParaRPr>
          </a:p>
        </p:txBody>
      </p:sp>
      <p:cxnSp>
        <p:nvCxnSpPr>
          <p:cNvPr id="8" name="Straight Connector 7">
            <a:extLst>
              <a:ext uri="{FF2B5EF4-FFF2-40B4-BE49-F238E27FC236}">
                <a16:creationId xmlns:a16="http://schemas.microsoft.com/office/drawing/2014/main" id="{FDDCB1DF-AB7E-4220-9C07-5A95CD99AED5}"/>
              </a:ext>
            </a:extLst>
          </p:cNvPr>
          <p:cNvCxnSpPr>
            <a:cxnSpLocks/>
          </p:cNvCxnSpPr>
          <p:nvPr/>
        </p:nvCxnSpPr>
        <p:spPr>
          <a:xfrm flipH="1">
            <a:off x="264252" y="4162255"/>
            <a:ext cx="712513" cy="9885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544301-48A2-4C9C-9CBF-01A720F732C0}"/>
              </a:ext>
            </a:extLst>
          </p:cNvPr>
          <p:cNvCxnSpPr>
            <a:cxnSpLocks/>
          </p:cNvCxnSpPr>
          <p:nvPr/>
        </p:nvCxnSpPr>
        <p:spPr>
          <a:xfrm flipH="1">
            <a:off x="725918" y="1"/>
            <a:ext cx="501694" cy="69604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E0D0D9FA-3DBB-4185-910C-1F200143EFAC}"/>
              </a:ext>
            </a:extLst>
          </p:cNvPr>
          <p:cNvSpPr>
            <a:spLocks noGrp="1"/>
          </p:cNvSpPr>
          <p:nvPr>
            <p:ph type="title"/>
          </p:nvPr>
        </p:nvSpPr>
        <p:spPr>
          <a:xfrm>
            <a:off x="2707341" y="2248584"/>
            <a:ext cx="6281451" cy="646331"/>
          </a:xfrm>
        </p:spPr>
        <p:txBody>
          <a:bodyPr vert="horz" wrap="square" lIns="91440" tIns="45720" rIns="91440" bIns="45720" rtlCol="0" anchor="t">
            <a:spAutoFit/>
          </a:bodyPr>
          <a:lstStyle/>
          <a:p>
            <a:pPr marL="11545" algn="l">
              <a:spcBef>
                <a:spcPts val="72"/>
              </a:spcBef>
            </a:pPr>
            <a:r>
              <a:rPr lang="en-US" sz="3600"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rPr>
              <a:t>What is Engineering?</a:t>
            </a:r>
          </a:p>
        </p:txBody>
      </p:sp>
      <p:sp>
        <p:nvSpPr>
          <p:cNvPr id="17" name="Rectangle 16">
            <a:extLst>
              <a:ext uri="{FF2B5EF4-FFF2-40B4-BE49-F238E27FC236}">
                <a16:creationId xmlns:a16="http://schemas.microsoft.com/office/drawing/2014/main" id="{E481DB9C-92EC-43E7-B4B1-F15D6B9CE47D}"/>
              </a:ext>
            </a:extLst>
          </p:cNvPr>
          <p:cNvSpPr/>
          <p:nvPr/>
        </p:nvSpPr>
        <p:spPr>
          <a:xfrm>
            <a:off x="2707341" y="3430160"/>
            <a:ext cx="6436659" cy="48896"/>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pic>
        <p:nvPicPr>
          <p:cNvPr id="18" name="Picture 17">
            <a:extLst>
              <a:ext uri="{FF2B5EF4-FFF2-40B4-BE49-F238E27FC236}">
                <a16:creationId xmlns:a16="http://schemas.microsoft.com/office/drawing/2014/main" id="{FF6374B9-A793-41C0-9923-82D6759D0533}"/>
              </a:ext>
            </a:extLst>
          </p:cNvPr>
          <p:cNvPicPr>
            <a:picLocks noChangeAspect="1"/>
          </p:cNvPicPr>
          <p:nvPr/>
        </p:nvPicPr>
        <p:blipFill rotWithShape="1">
          <a:blip r:embed="rId10"/>
          <a:srcRect l="86667" b="81138"/>
          <a:stretch/>
        </p:blipFill>
        <p:spPr>
          <a:xfrm>
            <a:off x="7924800" y="-1"/>
            <a:ext cx="1219200" cy="971551"/>
          </a:xfrm>
          <a:prstGeom prst="rect">
            <a:avLst/>
          </a:prstGeom>
        </p:spPr>
      </p:pic>
    </p:spTree>
    <p:extLst>
      <p:ext uri="{BB962C8B-B14F-4D97-AF65-F5344CB8AC3E}">
        <p14:creationId xmlns:p14="http://schemas.microsoft.com/office/powerpoint/2010/main" val="492512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20" name="Picture 4" descr="Robotics Hub | Blue Yonder">
            <a:extLst>
              <a:ext uri="{FF2B5EF4-FFF2-40B4-BE49-F238E27FC236}">
                <a16:creationId xmlns:a16="http://schemas.microsoft.com/office/drawing/2014/main" id="{EA0240F7-4052-4DB7-81D0-B744CC78217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0424" r="27169"/>
          <a:stretch/>
        </p:blipFill>
        <p:spPr bwMode="auto">
          <a:xfrm>
            <a:off x="137836" y="488828"/>
            <a:ext cx="2609773" cy="4649156"/>
          </a:xfrm>
          <a:prstGeom prst="rect">
            <a:avLst/>
          </a:prstGeom>
          <a:noFill/>
          <a:extLst>
            <a:ext uri="{909E8E84-426E-40DD-AFC4-6F175D3DCCD1}">
              <a14:hiddenFill xmlns:a14="http://schemas.microsoft.com/office/drawing/2010/main">
                <a:solidFill>
                  <a:srgbClr val="FFFFFF"/>
                </a:solidFill>
              </a14:hiddenFill>
            </a:ext>
          </a:extLst>
        </p:spPr>
      </p:pic>
      <p:sp>
        <p:nvSpPr>
          <p:cNvPr id="33" name="object 42">
            <a:extLst>
              <a:ext uri="{FF2B5EF4-FFF2-40B4-BE49-F238E27FC236}">
                <a16:creationId xmlns:a16="http://schemas.microsoft.com/office/drawing/2014/main" id="{B416019D-DA1D-4F1D-AF51-9BA46A7B9A36}"/>
              </a:ext>
            </a:extLst>
          </p:cNvPr>
          <p:cNvSpPr/>
          <p:nvPr/>
        </p:nvSpPr>
        <p:spPr>
          <a:xfrm>
            <a:off x="139406" y="488828"/>
            <a:ext cx="2608203" cy="4649156"/>
          </a:xfrm>
          <a:custGeom>
            <a:avLst/>
            <a:gdLst/>
            <a:ahLst/>
            <a:cxnLst/>
            <a:rect l="l" t="t" r="r" b="b"/>
            <a:pathLst>
              <a:path w="1476375" h="1476375">
                <a:moveTo>
                  <a:pt x="1475905" y="0"/>
                </a:moveTo>
                <a:lnTo>
                  <a:pt x="0" y="0"/>
                </a:lnTo>
                <a:lnTo>
                  <a:pt x="0" y="1475892"/>
                </a:lnTo>
                <a:lnTo>
                  <a:pt x="1475905" y="1475892"/>
                </a:lnTo>
                <a:lnTo>
                  <a:pt x="1475905" y="0"/>
                </a:lnTo>
                <a:close/>
              </a:path>
            </a:pathLst>
          </a:custGeom>
          <a:solidFill>
            <a:schemeClr val="tx1">
              <a:lumMod val="95000"/>
              <a:lumOff val="5000"/>
              <a:alpha val="50000"/>
            </a:schemeClr>
          </a:solidFill>
          <a:ln>
            <a:noFill/>
          </a:ln>
        </p:spPr>
        <p:style>
          <a:lnRef idx="0">
            <a:scrgbClr r="0" g="0" b="0"/>
          </a:lnRef>
          <a:fillRef idx="0">
            <a:scrgbClr r="0" g="0" b="0"/>
          </a:fillRef>
          <a:effectRef idx="0">
            <a:scrgbClr r="0" g="0" b="0"/>
          </a:effectRef>
          <a:fontRef idx="minor">
            <a:schemeClr val="lt1"/>
          </a:fontRef>
        </p:style>
        <p:txBody>
          <a:bodyPr wrap="square" lIns="0" tIns="0" rIns="0" bIns="0" rtlCol="0"/>
          <a:lstStyle/>
          <a:p>
            <a:endParaRPr sz="1125" dirty="0"/>
          </a:p>
        </p:txBody>
      </p:sp>
      <p:sp>
        <p:nvSpPr>
          <p:cNvPr id="2" name="Title 1"/>
          <p:cNvSpPr>
            <a:spLocks noGrp="1"/>
          </p:cNvSpPr>
          <p:nvPr>
            <p:ph type="title"/>
          </p:nvPr>
        </p:nvSpPr>
        <p:spPr>
          <a:xfrm>
            <a:off x="2900461" y="494344"/>
            <a:ext cx="6172200" cy="486212"/>
          </a:xfrm>
          <a:effectLst/>
        </p:spPr>
        <p:txBody>
          <a:bodyPr vert="horz" lIns="91440" tIns="45720" rIns="91440" bIns="45720" rtlCol="0" anchor="ctr">
            <a:noAutofit/>
          </a:bodyPr>
          <a:lstStyle/>
          <a:p>
            <a:pPr algn="l"/>
            <a:r>
              <a:rPr lang="en-US" sz="2800" dirty="0">
                <a:solidFill>
                  <a:srgbClr val="FF5969"/>
                </a:solidFill>
                <a:latin typeface="Gotham Bold" panose="02000803030000020004" pitchFamily="2" charset="0"/>
              </a:rPr>
              <a:t>What is Engineering?</a:t>
            </a:r>
          </a:p>
        </p:txBody>
      </p:sp>
      <p:sp>
        <p:nvSpPr>
          <p:cNvPr id="3" name="Content Placeholder 2"/>
          <p:cNvSpPr>
            <a:spLocks noGrp="1"/>
          </p:cNvSpPr>
          <p:nvPr>
            <p:ph idx="1"/>
          </p:nvPr>
        </p:nvSpPr>
        <p:spPr>
          <a:xfrm>
            <a:off x="2895599" y="963780"/>
            <a:ext cx="6181925" cy="678895"/>
          </a:xfrm>
        </p:spPr>
        <p:txBody>
          <a:bodyPr>
            <a:normAutofit/>
          </a:bodyPr>
          <a:lstStyle/>
          <a:p>
            <a:pPr marL="0" lvl="1" indent="0">
              <a:lnSpc>
                <a:spcPct val="120000"/>
              </a:lnSpc>
              <a:spcBef>
                <a:spcPts val="0"/>
              </a:spcBef>
              <a:buNone/>
            </a:pPr>
            <a:r>
              <a:rPr lang="en-US" sz="1600" dirty="0">
                <a:latin typeface="Gotham Medium" panose="02000603030000020004" pitchFamily="2" charset="0"/>
              </a:rPr>
              <a:t>Engineering is the application of science and math to solve problems for the benefit of society. </a:t>
            </a:r>
          </a:p>
        </p:txBody>
      </p:sp>
      <p:sp>
        <p:nvSpPr>
          <p:cNvPr id="4" name="Rectangle 3">
            <a:extLst>
              <a:ext uri="{FF2B5EF4-FFF2-40B4-BE49-F238E27FC236}">
                <a16:creationId xmlns:a16="http://schemas.microsoft.com/office/drawing/2014/main" id="{372DF44F-2D93-4077-A1A8-9F31CAE31AC4}"/>
              </a:ext>
            </a:extLst>
          </p:cNvPr>
          <p:cNvSpPr/>
          <p:nvPr/>
        </p:nvSpPr>
        <p:spPr>
          <a:xfrm>
            <a:off x="5628129" y="3114202"/>
            <a:ext cx="716864" cy="258532"/>
          </a:xfrm>
          <a:prstGeom prst="rect">
            <a:avLst/>
          </a:prstGeom>
        </p:spPr>
        <p:txBody>
          <a:bodyPr wrap="none">
            <a:spAutoFit/>
          </a:bodyPr>
          <a:lstStyle/>
          <a:p>
            <a:pPr lvl="0" algn="ctr" defTabSz="533400">
              <a:lnSpc>
                <a:spcPct val="90000"/>
              </a:lnSpc>
              <a:spcBef>
                <a:spcPct val="0"/>
              </a:spcBef>
              <a:spcAft>
                <a:spcPct val="35000"/>
              </a:spcAft>
            </a:pPr>
            <a:r>
              <a:rPr lang="en-US" sz="1200" dirty="0">
                <a:latin typeface="Gotham Medium" panose="02000603030000020004" pitchFamily="2" charset="0"/>
                <a:cs typeface="Arial" pitchFamily="34" charset="0"/>
              </a:rPr>
              <a:t>Design</a:t>
            </a:r>
          </a:p>
        </p:txBody>
      </p:sp>
      <p:pic>
        <p:nvPicPr>
          <p:cNvPr id="7174" name="Picture 6" descr="Advanced Manufacturing and Sustainable Manufacturing Design - Department of  Industrial and Systems Engineering - University at Buffalo">
            <a:extLst>
              <a:ext uri="{FF2B5EF4-FFF2-40B4-BE49-F238E27FC236}">
                <a16:creationId xmlns:a16="http://schemas.microsoft.com/office/drawing/2014/main" id="{EA4728FC-0F81-4AF3-A614-76863AFA261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1208" r="24549"/>
          <a:stretch/>
        </p:blipFill>
        <p:spPr bwMode="auto">
          <a:xfrm>
            <a:off x="5000650" y="3407649"/>
            <a:ext cx="1980622" cy="127954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C2B2DFBC-F0FD-41AE-AB89-21177C1D2BB2}"/>
              </a:ext>
            </a:extLst>
          </p:cNvPr>
          <p:cNvSpPr/>
          <p:nvPr/>
        </p:nvSpPr>
        <p:spPr>
          <a:xfrm>
            <a:off x="5336383" y="4767106"/>
            <a:ext cx="1300356" cy="258532"/>
          </a:xfrm>
          <a:prstGeom prst="rect">
            <a:avLst/>
          </a:prstGeom>
        </p:spPr>
        <p:txBody>
          <a:bodyPr wrap="none">
            <a:spAutoFit/>
          </a:bodyPr>
          <a:lstStyle/>
          <a:p>
            <a:pPr lvl="0" algn="ctr" defTabSz="533400">
              <a:lnSpc>
                <a:spcPct val="90000"/>
              </a:lnSpc>
              <a:spcBef>
                <a:spcPct val="0"/>
              </a:spcBef>
              <a:spcAft>
                <a:spcPct val="35000"/>
              </a:spcAft>
            </a:pPr>
            <a:r>
              <a:rPr lang="en-US" sz="1200" dirty="0">
                <a:latin typeface="Gotham Medium" panose="02000603030000020004" pitchFamily="2" charset="0"/>
                <a:cs typeface="Arial" pitchFamily="34" charset="0"/>
              </a:rPr>
              <a:t>Manufacturing</a:t>
            </a:r>
          </a:p>
        </p:txBody>
      </p:sp>
      <p:sp>
        <p:nvSpPr>
          <p:cNvPr id="6" name="Rectangle 5">
            <a:extLst>
              <a:ext uri="{FF2B5EF4-FFF2-40B4-BE49-F238E27FC236}">
                <a16:creationId xmlns:a16="http://schemas.microsoft.com/office/drawing/2014/main" id="{857FA9B5-1E69-417B-98D0-1AC9B0B704A2}"/>
              </a:ext>
            </a:extLst>
          </p:cNvPr>
          <p:cNvSpPr/>
          <p:nvPr/>
        </p:nvSpPr>
        <p:spPr>
          <a:xfrm>
            <a:off x="3628657" y="3114202"/>
            <a:ext cx="615873" cy="258532"/>
          </a:xfrm>
          <a:prstGeom prst="rect">
            <a:avLst/>
          </a:prstGeom>
        </p:spPr>
        <p:txBody>
          <a:bodyPr wrap="none">
            <a:spAutoFit/>
          </a:bodyPr>
          <a:lstStyle/>
          <a:p>
            <a:pPr lvl="0" algn="ctr" defTabSz="533400">
              <a:lnSpc>
                <a:spcPct val="90000"/>
              </a:lnSpc>
              <a:spcBef>
                <a:spcPct val="0"/>
              </a:spcBef>
              <a:spcAft>
                <a:spcPct val="35000"/>
              </a:spcAft>
            </a:pPr>
            <a:r>
              <a:rPr lang="en-US" sz="1200" dirty="0">
                <a:latin typeface="Gotham Medium" panose="02000603030000020004" pitchFamily="2" charset="0"/>
                <a:cs typeface="Arial" pitchFamily="34" charset="0"/>
              </a:rPr>
              <a:t>R &amp; D</a:t>
            </a:r>
          </a:p>
        </p:txBody>
      </p:sp>
      <p:sp>
        <p:nvSpPr>
          <p:cNvPr id="19" name="Rectangle 18">
            <a:extLst>
              <a:ext uri="{FF2B5EF4-FFF2-40B4-BE49-F238E27FC236}">
                <a16:creationId xmlns:a16="http://schemas.microsoft.com/office/drawing/2014/main" id="{983BF209-15A6-424C-90E7-A484D77DC86A}"/>
              </a:ext>
            </a:extLst>
          </p:cNvPr>
          <p:cNvSpPr/>
          <p:nvPr/>
        </p:nvSpPr>
        <p:spPr>
          <a:xfrm>
            <a:off x="7649988" y="4767106"/>
            <a:ext cx="873957" cy="258532"/>
          </a:xfrm>
          <a:prstGeom prst="rect">
            <a:avLst/>
          </a:prstGeom>
        </p:spPr>
        <p:txBody>
          <a:bodyPr wrap="none">
            <a:spAutoFit/>
          </a:bodyPr>
          <a:lstStyle/>
          <a:p>
            <a:pPr lvl="0" algn="ctr" defTabSz="533400">
              <a:lnSpc>
                <a:spcPct val="90000"/>
              </a:lnSpc>
              <a:spcBef>
                <a:spcPct val="0"/>
              </a:spcBef>
              <a:spcAft>
                <a:spcPct val="35000"/>
              </a:spcAft>
            </a:pPr>
            <a:r>
              <a:rPr lang="en-US" sz="1200" dirty="0">
                <a:latin typeface="Gotham Medium" panose="02000603030000020004" pitchFamily="2" charset="0"/>
                <a:cs typeface="Arial" pitchFamily="34" charset="0"/>
              </a:rPr>
              <a:t>Logistics</a:t>
            </a:r>
          </a:p>
        </p:txBody>
      </p:sp>
      <p:sp>
        <p:nvSpPr>
          <p:cNvPr id="20" name="Rectangle 19">
            <a:extLst>
              <a:ext uri="{FF2B5EF4-FFF2-40B4-BE49-F238E27FC236}">
                <a16:creationId xmlns:a16="http://schemas.microsoft.com/office/drawing/2014/main" id="{7D1B9AB6-7F5A-4F68-8DED-2E2B7B9C9058}"/>
              </a:ext>
            </a:extLst>
          </p:cNvPr>
          <p:cNvSpPr/>
          <p:nvPr/>
        </p:nvSpPr>
        <p:spPr>
          <a:xfrm>
            <a:off x="7020209" y="3114202"/>
            <a:ext cx="2133517" cy="258532"/>
          </a:xfrm>
          <a:prstGeom prst="rect">
            <a:avLst/>
          </a:prstGeom>
        </p:spPr>
        <p:txBody>
          <a:bodyPr wrap="square">
            <a:spAutoFit/>
          </a:bodyPr>
          <a:lstStyle/>
          <a:p>
            <a:pPr lvl="0" algn="ctr" defTabSz="533400">
              <a:lnSpc>
                <a:spcPct val="90000"/>
              </a:lnSpc>
              <a:spcBef>
                <a:spcPct val="0"/>
              </a:spcBef>
              <a:spcAft>
                <a:spcPct val="35000"/>
              </a:spcAft>
            </a:pPr>
            <a:r>
              <a:rPr lang="en-US" sz="1200" dirty="0">
                <a:latin typeface="Gotham Medium" panose="02000603030000020004" pitchFamily="2" charset="0"/>
                <a:cs typeface="Arial" pitchFamily="34" charset="0"/>
              </a:rPr>
              <a:t>Continual Improvement</a:t>
            </a:r>
          </a:p>
        </p:txBody>
      </p:sp>
      <p:pic>
        <p:nvPicPr>
          <p:cNvPr id="7170" name="Picture 2" descr="Engineering Design courses | UC San Diego Extension">
            <a:extLst>
              <a:ext uri="{FF2B5EF4-FFF2-40B4-BE49-F238E27FC236}">
                <a16:creationId xmlns:a16="http://schemas.microsoft.com/office/drawing/2014/main" id="{FB8F98B1-662C-40CD-8DCA-EDAE32A330A9}"/>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15455"/>
          <a:stretch/>
        </p:blipFill>
        <p:spPr bwMode="auto">
          <a:xfrm>
            <a:off x="5000083" y="1781936"/>
            <a:ext cx="1981113" cy="1276677"/>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Research and Development (R&amp;D) Definition">
            <a:extLst>
              <a:ext uri="{FF2B5EF4-FFF2-40B4-BE49-F238E27FC236}">
                <a16:creationId xmlns:a16="http://schemas.microsoft.com/office/drawing/2014/main" id="{3DD6F9DD-25B0-43F6-BCE4-93A1BC83896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95600" y="1786659"/>
            <a:ext cx="1981113" cy="1281897"/>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Transportation and Logistics">
            <a:extLst>
              <a:ext uri="{FF2B5EF4-FFF2-40B4-BE49-F238E27FC236}">
                <a16:creationId xmlns:a16="http://schemas.microsoft.com/office/drawing/2014/main" id="{EFAF1BF7-14B4-407D-945A-4038CC48DB18}"/>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3788" r="2373"/>
          <a:stretch/>
        </p:blipFill>
        <p:spPr bwMode="auto">
          <a:xfrm>
            <a:off x="7096412" y="3414825"/>
            <a:ext cx="1981113" cy="1276677"/>
          </a:xfrm>
          <a:prstGeom prst="rect">
            <a:avLst/>
          </a:prstGeom>
          <a:noFill/>
          <a:extLst>
            <a:ext uri="{909E8E84-426E-40DD-AFC4-6F175D3DCCD1}">
              <a14:hiddenFill xmlns:a14="http://schemas.microsoft.com/office/drawing/2010/main">
                <a:solidFill>
                  <a:srgbClr val="FFFFFF"/>
                </a:solidFill>
              </a14:hiddenFill>
            </a:ext>
          </a:extLst>
        </p:spPr>
      </p:pic>
      <p:pic>
        <p:nvPicPr>
          <p:cNvPr id="7180" name="Picture 12" descr="Continuous Improvement">
            <a:extLst>
              <a:ext uri="{FF2B5EF4-FFF2-40B4-BE49-F238E27FC236}">
                <a16:creationId xmlns:a16="http://schemas.microsoft.com/office/drawing/2014/main" id="{28D14552-F53C-45FA-AFD9-3C136A1D18F9}"/>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6898" r="5603"/>
          <a:stretch/>
        </p:blipFill>
        <p:spPr bwMode="auto">
          <a:xfrm>
            <a:off x="7099161" y="1781331"/>
            <a:ext cx="1978364" cy="1277282"/>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9DE55BF3-46B2-4819-AFEB-203E3EEA73FE}"/>
              </a:ext>
            </a:extLst>
          </p:cNvPr>
          <p:cNvSpPr/>
          <p:nvPr/>
        </p:nvSpPr>
        <p:spPr>
          <a:xfrm>
            <a:off x="3343321" y="4767106"/>
            <a:ext cx="1186543" cy="258532"/>
          </a:xfrm>
          <a:prstGeom prst="rect">
            <a:avLst/>
          </a:prstGeom>
        </p:spPr>
        <p:txBody>
          <a:bodyPr wrap="none">
            <a:spAutoFit/>
          </a:bodyPr>
          <a:lstStyle/>
          <a:p>
            <a:pPr lvl="0" algn="ctr" defTabSz="533400">
              <a:lnSpc>
                <a:spcPct val="90000"/>
              </a:lnSpc>
              <a:spcBef>
                <a:spcPct val="0"/>
              </a:spcBef>
              <a:spcAft>
                <a:spcPct val="35000"/>
              </a:spcAft>
            </a:pPr>
            <a:r>
              <a:rPr lang="en-US" sz="1200" dirty="0">
                <a:latin typeface="Gotham Medium" panose="02000603030000020004" pitchFamily="2" charset="0"/>
                <a:cs typeface="Arial" pitchFamily="34" charset="0"/>
              </a:rPr>
              <a:t>Management</a:t>
            </a:r>
          </a:p>
        </p:txBody>
      </p:sp>
      <p:pic>
        <p:nvPicPr>
          <p:cNvPr id="7182" name="Picture 14" descr="Business Management Course - Growfuture Foundation">
            <a:extLst>
              <a:ext uri="{FF2B5EF4-FFF2-40B4-BE49-F238E27FC236}">
                <a16:creationId xmlns:a16="http://schemas.microsoft.com/office/drawing/2014/main" id="{75CD2DFE-F0F6-41D1-B461-93705BA2F8F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96091" y="3413585"/>
            <a:ext cx="1980622" cy="1267672"/>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6C379322-43DE-4344-82AB-368568985747}"/>
              </a:ext>
            </a:extLst>
          </p:cNvPr>
          <p:cNvSpPr/>
          <p:nvPr/>
        </p:nvSpPr>
        <p:spPr>
          <a:xfrm>
            <a:off x="137836" y="3407649"/>
            <a:ext cx="236955" cy="1736865"/>
          </a:xfrm>
          <a:prstGeom prst="rect">
            <a:avLst/>
          </a:prstGeom>
          <a:solidFill>
            <a:srgbClr val="FF596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Tree>
    <p:extLst>
      <p:ext uri="{BB962C8B-B14F-4D97-AF65-F5344CB8AC3E}">
        <p14:creationId xmlns:p14="http://schemas.microsoft.com/office/powerpoint/2010/main" val="3973051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2504395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Employment Opportunities After Engineering. - Upcoming Engineer">
            <a:extLst>
              <a:ext uri="{FF2B5EF4-FFF2-40B4-BE49-F238E27FC236}">
                <a16:creationId xmlns:a16="http://schemas.microsoft.com/office/drawing/2014/main" id="{7E538767-9AE8-41E9-978E-96BA4C7795C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3514" r="14923"/>
          <a:stretch/>
        </p:blipFill>
        <p:spPr bwMode="auto">
          <a:xfrm flipH="1">
            <a:off x="132894" y="438150"/>
            <a:ext cx="2838903" cy="4705350"/>
          </a:xfrm>
          <a:prstGeom prst="rect">
            <a:avLst/>
          </a:prstGeom>
          <a:noFill/>
          <a:extLst>
            <a:ext uri="{909E8E84-426E-40DD-AFC4-6F175D3DCCD1}">
              <a14:hiddenFill xmlns:a14="http://schemas.microsoft.com/office/drawing/2010/main">
                <a:solidFill>
                  <a:srgbClr val="FFFFFF"/>
                </a:solidFill>
              </a14:hiddenFill>
            </a:ext>
          </a:extLst>
        </p:spPr>
      </p:pic>
      <p:sp>
        <p:nvSpPr>
          <p:cNvPr id="33" name="object 42">
            <a:extLst>
              <a:ext uri="{FF2B5EF4-FFF2-40B4-BE49-F238E27FC236}">
                <a16:creationId xmlns:a16="http://schemas.microsoft.com/office/drawing/2014/main" id="{B416019D-DA1D-4F1D-AF51-9BA46A7B9A36}"/>
              </a:ext>
            </a:extLst>
          </p:cNvPr>
          <p:cNvSpPr/>
          <p:nvPr/>
        </p:nvSpPr>
        <p:spPr>
          <a:xfrm>
            <a:off x="147563" y="438150"/>
            <a:ext cx="2824236" cy="4705351"/>
          </a:xfrm>
          <a:custGeom>
            <a:avLst/>
            <a:gdLst/>
            <a:ahLst/>
            <a:cxnLst/>
            <a:rect l="l" t="t" r="r" b="b"/>
            <a:pathLst>
              <a:path w="1476375" h="1476375">
                <a:moveTo>
                  <a:pt x="1475905" y="0"/>
                </a:moveTo>
                <a:lnTo>
                  <a:pt x="0" y="0"/>
                </a:lnTo>
                <a:lnTo>
                  <a:pt x="0" y="1475892"/>
                </a:lnTo>
                <a:lnTo>
                  <a:pt x="1475905" y="1475892"/>
                </a:lnTo>
                <a:lnTo>
                  <a:pt x="1475905" y="0"/>
                </a:lnTo>
                <a:close/>
              </a:path>
            </a:pathLst>
          </a:custGeom>
          <a:solidFill>
            <a:schemeClr val="tx1">
              <a:lumMod val="85000"/>
              <a:lumOff val="15000"/>
              <a:alpha val="50000"/>
            </a:schemeClr>
          </a:solidFill>
          <a:ln>
            <a:noFill/>
          </a:ln>
        </p:spPr>
        <p:style>
          <a:lnRef idx="0">
            <a:scrgbClr r="0" g="0" b="0"/>
          </a:lnRef>
          <a:fillRef idx="0">
            <a:scrgbClr r="0" g="0" b="0"/>
          </a:fillRef>
          <a:effectRef idx="0">
            <a:scrgbClr r="0" g="0" b="0"/>
          </a:effectRef>
          <a:fontRef idx="minor">
            <a:schemeClr val="lt1"/>
          </a:fontRef>
        </p:style>
        <p:txBody>
          <a:bodyPr wrap="square" lIns="0" tIns="0" rIns="0" bIns="0" rtlCol="0"/>
          <a:lstStyle/>
          <a:p>
            <a:endParaRPr sz="1125" dirty="0"/>
          </a:p>
        </p:txBody>
      </p:sp>
      <p:sp>
        <p:nvSpPr>
          <p:cNvPr id="34" name="Rectangle 33">
            <a:extLst>
              <a:ext uri="{FF2B5EF4-FFF2-40B4-BE49-F238E27FC236}">
                <a16:creationId xmlns:a16="http://schemas.microsoft.com/office/drawing/2014/main" id="{6C379322-43DE-4344-82AB-368568985747}"/>
              </a:ext>
            </a:extLst>
          </p:cNvPr>
          <p:cNvSpPr/>
          <p:nvPr/>
        </p:nvSpPr>
        <p:spPr>
          <a:xfrm>
            <a:off x="132897" y="3414825"/>
            <a:ext cx="236955" cy="1736865"/>
          </a:xfrm>
          <a:prstGeom prst="rect">
            <a:avLst/>
          </a:prstGeom>
          <a:solidFill>
            <a:srgbClr val="FEC63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23" name="Title 1">
            <a:extLst>
              <a:ext uri="{FF2B5EF4-FFF2-40B4-BE49-F238E27FC236}">
                <a16:creationId xmlns:a16="http://schemas.microsoft.com/office/drawing/2014/main" id="{529B89F1-36D0-4FA0-B1B4-55C814B1BD76}"/>
              </a:ext>
            </a:extLst>
          </p:cNvPr>
          <p:cNvSpPr>
            <a:spLocks noGrp="1"/>
          </p:cNvSpPr>
          <p:nvPr>
            <p:ph type="title"/>
          </p:nvPr>
        </p:nvSpPr>
        <p:spPr>
          <a:xfrm>
            <a:off x="3124200" y="590550"/>
            <a:ext cx="5105400" cy="481990"/>
          </a:xfrm>
          <a:effectLst/>
        </p:spPr>
        <p:txBody>
          <a:bodyPr vert="horz" lIns="91440" tIns="45720" rIns="91440" bIns="45720" rtlCol="0" anchor="ctr">
            <a:noAutofit/>
          </a:bodyPr>
          <a:lstStyle/>
          <a:p>
            <a:pPr algn="l"/>
            <a:r>
              <a:rPr lang="en-US" sz="2800" dirty="0">
                <a:solidFill>
                  <a:srgbClr val="FF5969"/>
                </a:solidFill>
                <a:latin typeface="Gotham Bold" panose="02000803030000020004" pitchFamily="2" charset="0"/>
              </a:rPr>
              <a:t>Who are Engineers?</a:t>
            </a:r>
          </a:p>
        </p:txBody>
      </p:sp>
      <p:sp>
        <p:nvSpPr>
          <p:cNvPr id="24" name="Content Placeholder 2">
            <a:extLst>
              <a:ext uri="{FF2B5EF4-FFF2-40B4-BE49-F238E27FC236}">
                <a16:creationId xmlns:a16="http://schemas.microsoft.com/office/drawing/2014/main" id="{44A7BFDD-5DBE-4162-B02F-444A40C51B86}"/>
              </a:ext>
            </a:extLst>
          </p:cNvPr>
          <p:cNvSpPr txBox="1">
            <a:spLocks/>
          </p:cNvSpPr>
          <p:nvPr/>
        </p:nvSpPr>
        <p:spPr>
          <a:xfrm>
            <a:off x="2986462" y="1352550"/>
            <a:ext cx="6157537" cy="3352800"/>
          </a:xfrm>
          <a:prstGeom prst="rect">
            <a:avLst/>
          </a:prstGeom>
        </p:spPr>
        <p:txBody>
          <a:bodyPr vert="horz" lIns="91440" tIns="45720" rIns="91440" bIns="45720" rtlCol="0" anchor="t">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nSpc>
                <a:spcPct val="120000"/>
              </a:lnSpc>
              <a:buFont typeface="Wingdings" pitchFamily="2" charset="2"/>
              <a:buChar char="§"/>
            </a:pPr>
            <a:r>
              <a:rPr lang="en-US" sz="2400" dirty="0">
                <a:latin typeface="Gotham Medium" panose="02000603030000020004" pitchFamily="2" charset="0"/>
              </a:rPr>
              <a:t>Engineers are Problem Solvers, Who make things –</a:t>
            </a:r>
          </a:p>
          <a:p>
            <a:pPr lvl="2">
              <a:lnSpc>
                <a:spcPct val="120000"/>
              </a:lnSpc>
              <a:buFont typeface="Wingdings" pitchFamily="2" charset="2"/>
              <a:buChar char="§"/>
            </a:pPr>
            <a:r>
              <a:rPr lang="en-US" dirty="0">
                <a:latin typeface="Gotham Medium" panose="02000603030000020004" pitchFamily="2" charset="0"/>
              </a:rPr>
              <a:t>Work Better,</a:t>
            </a:r>
          </a:p>
          <a:p>
            <a:pPr lvl="2">
              <a:lnSpc>
                <a:spcPct val="120000"/>
              </a:lnSpc>
              <a:buFont typeface="Wingdings" pitchFamily="2" charset="2"/>
              <a:buChar char="§"/>
            </a:pPr>
            <a:r>
              <a:rPr lang="en-US" dirty="0">
                <a:latin typeface="Gotham Medium" panose="02000603030000020004" pitchFamily="2" charset="0"/>
              </a:rPr>
              <a:t>More Efficiently,</a:t>
            </a:r>
          </a:p>
          <a:p>
            <a:pPr lvl="2">
              <a:lnSpc>
                <a:spcPct val="120000"/>
              </a:lnSpc>
              <a:buFont typeface="Wingdings" pitchFamily="2" charset="2"/>
              <a:buChar char="§"/>
            </a:pPr>
            <a:r>
              <a:rPr lang="en-US" dirty="0">
                <a:latin typeface="Gotham Medium" panose="02000603030000020004" pitchFamily="2" charset="0"/>
              </a:rPr>
              <a:t>Quicker, </a:t>
            </a:r>
          </a:p>
          <a:p>
            <a:pPr lvl="2">
              <a:lnSpc>
                <a:spcPct val="120000"/>
              </a:lnSpc>
              <a:buFont typeface="Wingdings" pitchFamily="2" charset="2"/>
              <a:buChar char="§"/>
            </a:pPr>
            <a:r>
              <a:rPr lang="en-US" dirty="0">
                <a:latin typeface="Gotham Medium" panose="02000603030000020004" pitchFamily="2" charset="0"/>
              </a:rPr>
              <a:t>Cheaper.</a:t>
            </a:r>
          </a:p>
        </p:txBody>
      </p:sp>
    </p:spTree>
    <p:extLst>
      <p:ext uri="{BB962C8B-B14F-4D97-AF65-F5344CB8AC3E}">
        <p14:creationId xmlns:p14="http://schemas.microsoft.com/office/powerpoint/2010/main" val="3537554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Report: 80 Percent of Restaurant Jobs Could be Taken Over by Robots">
            <a:extLst>
              <a:ext uri="{FF2B5EF4-FFF2-40B4-BE49-F238E27FC236}">
                <a16:creationId xmlns:a16="http://schemas.microsoft.com/office/drawing/2014/main" id="{360C4653-C88B-49FA-BE06-C87645853992}"/>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2990" r="38122"/>
          <a:stretch/>
        </p:blipFill>
        <p:spPr bwMode="auto">
          <a:xfrm>
            <a:off x="473590" y="-5195"/>
            <a:ext cx="2251652" cy="5143500"/>
          </a:xfrm>
          <a:prstGeom prst="rect">
            <a:avLst/>
          </a:prstGeom>
          <a:noFill/>
          <a:extLst>
            <a:ext uri="{909E8E84-426E-40DD-AFC4-6F175D3DCCD1}">
              <a14:hiddenFill xmlns:a14="http://schemas.microsoft.com/office/drawing/2010/main">
                <a:solidFill>
                  <a:srgbClr val="FFFFFF"/>
                </a:solidFill>
              </a14:hiddenFill>
            </a:ext>
          </a:extLst>
        </p:spPr>
      </p:pic>
      <p:sp>
        <p:nvSpPr>
          <p:cNvPr id="33" name="object 42">
            <a:extLst>
              <a:ext uri="{FF2B5EF4-FFF2-40B4-BE49-F238E27FC236}">
                <a16:creationId xmlns:a16="http://schemas.microsoft.com/office/drawing/2014/main" id="{B416019D-DA1D-4F1D-AF51-9BA46A7B9A36}"/>
              </a:ext>
            </a:extLst>
          </p:cNvPr>
          <p:cNvSpPr/>
          <p:nvPr/>
        </p:nvSpPr>
        <p:spPr>
          <a:xfrm>
            <a:off x="473590" y="3362"/>
            <a:ext cx="2251652" cy="5143500"/>
          </a:xfrm>
          <a:custGeom>
            <a:avLst/>
            <a:gdLst/>
            <a:ahLst/>
            <a:cxnLst/>
            <a:rect l="l" t="t" r="r" b="b"/>
            <a:pathLst>
              <a:path w="1476375" h="1476375">
                <a:moveTo>
                  <a:pt x="1475905" y="0"/>
                </a:moveTo>
                <a:lnTo>
                  <a:pt x="0" y="0"/>
                </a:lnTo>
                <a:lnTo>
                  <a:pt x="0" y="1475892"/>
                </a:lnTo>
                <a:lnTo>
                  <a:pt x="1475905" y="1475892"/>
                </a:lnTo>
                <a:lnTo>
                  <a:pt x="1475905" y="0"/>
                </a:lnTo>
                <a:close/>
              </a:path>
            </a:pathLst>
          </a:custGeom>
          <a:solidFill>
            <a:srgbClr val="083D65">
              <a:alpha val="50000"/>
            </a:srgbClr>
          </a:solidFill>
          <a:ln>
            <a:noFill/>
          </a:ln>
        </p:spPr>
        <p:style>
          <a:lnRef idx="0">
            <a:scrgbClr r="0" g="0" b="0"/>
          </a:lnRef>
          <a:fillRef idx="0">
            <a:scrgbClr r="0" g="0" b="0"/>
          </a:fillRef>
          <a:effectRef idx="0">
            <a:scrgbClr r="0" g="0" b="0"/>
          </a:effectRef>
          <a:fontRef idx="minor">
            <a:schemeClr val="lt1"/>
          </a:fontRef>
        </p:style>
        <p:txBody>
          <a:bodyPr wrap="square" lIns="0" tIns="0" rIns="0" bIns="0" rtlCol="0"/>
          <a:lstStyle/>
          <a:p>
            <a:endParaRPr sz="1125" dirty="0"/>
          </a:p>
        </p:txBody>
      </p:sp>
      <p:sp>
        <p:nvSpPr>
          <p:cNvPr id="2" name="Title 1"/>
          <p:cNvSpPr>
            <a:spLocks noGrp="1"/>
          </p:cNvSpPr>
          <p:nvPr>
            <p:ph type="title"/>
          </p:nvPr>
        </p:nvSpPr>
        <p:spPr>
          <a:xfrm>
            <a:off x="2883003" y="610130"/>
            <a:ext cx="6172200" cy="560350"/>
          </a:xfrm>
          <a:effectLst/>
        </p:spPr>
        <p:txBody>
          <a:bodyPr vert="horz" lIns="91440" tIns="45720" rIns="91440" bIns="45720" rtlCol="0" anchor="ctr">
            <a:noAutofit/>
          </a:bodyPr>
          <a:lstStyle/>
          <a:p>
            <a:pPr algn="l"/>
            <a:r>
              <a:rPr lang="en-US" sz="2800" dirty="0">
                <a:solidFill>
                  <a:srgbClr val="FF5969"/>
                </a:solidFill>
                <a:latin typeface="Gotham Bold" panose="02000803030000020004" pitchFamily="2" charset="0"/>
              </a:rPr>
              <a:t>Exploring Careers in Engineering</a:t>
            </a:r>
          </a:p>
        </p:txBody>
      </p:sp>
      <p:sp>
        <p:nvSpPr>
          <p:cNvPr id="34" name="Rectangle 33">
            <a:extLst>
              <a:ext uri="{FF2B5EF4-FFF2-40B4-BE49-F238E27FC236}">
                <a16:creationId xmlns:a16="http://schemas.microsoft.com/office/drawing/2014/main" id="{6C379322-43DE-4344-82AB-368568985747}"/>
              </a:ext>
            </a:extLst>
          </p:cNvPr>
          <p:cNvSpPr/>
          <p:nvPr/>
        </p:nvSpPr>
        <p:spPr>
          <a:xfrm>
            <a:off x="2667000" y="594316"/>
            <a:ext cx="216003" cy="638709"/>
          </a:xfrm>
          <a:prstGeom prst="rect">
            <a:avLst/>
          </a:prstGeom>
          <a:solidFill>
            <a:srgbClr val="FEC63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5" name="Rectangle 4">
            <a:extLst>
              <a:ext uri="{FF2B5EF4-FFF2-40B4-BE49-F238E27FC236}">
                <a16:creationId xmlns:a16="http://schemas.microsoft.com/office/drawing/2014/main" id="{4845D4D1-5112-4FEF-9D8C-B01619532C43}"/>
              </a:ext>
            </a:extLst>
          </p:cNvPr>
          <p:cNvSpPr/>
          <p:nvPr/>
        </p:nvSpPr>
        <p:spPr>
          <a:xfrm>
            <a:off x="2687142" y="1352550"/>
            <a:ext cx="6329961" cy="3315203"/>
          </a:xfrm>
          <a:prstGeom prst="rect">
            <a:avLst/>
          </a:prstGeom>
        </p:spPr>
        <p:txBody>
          <a:bodyPr wrap="square">
            <a:spAutoFit/>
          </a:bodyPr>
          <a:lstStyle/>
          <a:p>
            <a:pPr>
              <a:lnSpc>
                <a:spcPct val="150000"/>
              </a:lnSpc>
            </a:pPr>
            <a:r>
              <a:rPr lang="en-US" dirty="0">
                <a:solidFill>
                  <a:srgbClr val="00A0A8"/>
                </a:solidFill>
                <a:latin typeface="Gotham Medium" panose="02000603030000020004" pitchFamily="2" charset="0"/>
              </a:rPr>
              <a:t>           </a:t>
            </a:r>
            <a:r>
              <a:rPr lang="en-US" sz="2000" b="1" dirty="0">
                <a:solidFill>
                  <a:srgbClr val="00A0A8"/>
                </a:solidFill>
                <a:latin typeface="Gotham Medium" panose="02000603030000020004" pitchFamily="2" charset="0"/>
              </a:rPr>
              <a:t>Engineering is Everywhere…</a:t>
            </a:r>
          </a:p>
          <a:p>
            <a:pPr marL="742950" lvl="1" indent="-285750">
              <a:lnSpc>
                <a:spcPct val="150000"/>
              </a:lnSpc>
              <a:spcBef>
                <a:spcPts val="600"/>
              </a:spcBef>
              <a:buFont typeface="Wingdings" panose="05000000000000000000" pitchFamily="2" charset="2"/>
              <a:buChar char="§"/>
            </a:pPr>
            <a:r>
              <a:rPr lang="en-US" sz="1600" dirty="0">
                <a:latin typeface="Gotham Medium" panose="02000603030000020004" pitchFamily="2" charset="0"/>
              </a:rPr>
              <a:t>Almost everything you eat, wear, use and like to do involves engineering…</a:t>
            </a:r>
          </a:p>
          <a:p>
            <a:pPr marL="742950" lvl="1" indent="-285750">
              <a:lnSpc>
                <a:spcPct val="150000"/>
              </a:lnSpc>
              <a:spcBef>
                <a:spcPts val="600"/>
              </a:spcBef>
              <a:buFont typeface="Wingdings" panose="05000000000000000000" pitchFamily="2" charset="2"/>
              <a:buChar char="§"/>
            </a:pPr>
            <a:r>
              <a:rPr lang="en-US" sz="1600" dirty="0">
                <a:latin typeface="Gotham Medium" panose="02000603030000020004" pitchFamily="2" charset="0"/>
              </a:rPr>
              <a:t>From everyday things like your mobile, computer and clothes to medicine, space, national security &amp; renewable energy… </a:t>
            </a:r>
          </a:p>
          <a:p>
            <a:pPr marL="742950" lvl="1" indent="-285750">
              <a:lnSpc>
                <a:spcPct val="150000"/>
              </a:lnSpc>
              <a:spcBef>
                <a:spcPts val="600"/>
              </a:spcBef>
              <a:buFont typeface="Wingdings" panose="05000000000000000000" pitchFamily="2" charset="2"/>
              <a:buChar char="§"/>
            </a:pPr>
            <a:r>
              <a:rPr lang="en-US" sz="1600" dirty="0">
                <a:latin typeface="Gotham Medium" panose="02000603030000020004" pitchFamily="2" charset="0"/>
              </a:rPr>
              <a:t>To tackling climate change, providing clean drinking water or ensuring sustainable food supplies….</a:t>
            </a:r>
          </a:p>
        </p:txBody>
      </p:sp>
    </p:spTree>
    <p:extLst>
      <p:ext uri="{BB962C8B-B14F-4D97-AF65-F5344CB8AC3E}">
        <p14:creationId xmlns:p14="http://schemas.microsoft.com/office/powerpoint/2010/main" val="362090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77" descr="Presentations background 3D model - TurboSquid 1163407">
            <a:extLst>
              <a:ext uri="{FF2B5EF4-FFF2-40B4-BE49-F238E27FC236}">
                <a16:creationId xmlns:a16="http://schemas.microsoft.com/office/drawing/2014/main" id="{8F8B94B4-17EA-4AA5-A107-D0AD133DB0E4}"/>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0" y="-1"/>
            <a:ext cx="9142412" cy="51435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6BAE015D-47D1-4E48-8E90-3697142C75CA}"/>
              </a:ext>
            </a:extLst>
          </p:cNvPr>
          <p:cNvSpPr/>
          <p:nvPr/>
        </p:nvSpPr>
        <p:spPr>
          <a:xfrm>
            <a:off x="2057400" y="1872476"/>
            <a:ext cx="7086600" cy="1496146"/>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grpSp>
        <p:nvGrpSpPr>
          <p:cNvPr id="2" name="Group 1">
            <a:extLst>
              <a:ext uri="{FF2B5EF4-FFF2-40B4-BE49-F238E27FC236}">
                <a16:creationId xmlns:a16="http://schemas.microsoft.com/office/drawing/2014/main" id="{54EEDD90-704E-4878-AF8D-68076816A27C}"/>
              </a:ext>
            </a:extLst>
          </p:cNvPr>
          <p:cNvGrpSpPr/>
          <p:nvPr/>
        </p:nvGrpSpPr>
        <p:grpSpPr>
          <a:xfrm>
            <a:off x="268941" y="742950"/>
            <a:ext cx="2438400" cy="3496230"/>
            <a:chOff x="457200" y="590550"/>
            <a:chExt cx="2979057" cy="4182030"/>
          </a:xfrm>
        </p:grpSpPr>
        <p:sp>
          <p:nvSpPr>
            <p:cNvPr id="12" name="Freeform: Shape 11">
              <a:extLst>
                <a:ext uri="{FF2B5EF4-FFF2-40B4-BE49-F238E27FC236}">
                  <a16:creationId xmlns:a16="http://schemas.microsoft.com/office/drawing/2014/main" id="{07097967-BC15-498E-939C-AE11970C5D94}"/>
                </a:ext>
              </a:extLst>
            </p:cNvPr>
            <p:cNvSpPr>
              <a:spLocks/>
            </p:cNvSpPr>
            <p:nvPr/>
          </p:nvSpPr>
          <p:spPr bwMode="auto">
            <a:xfrm rot="410959" flipH="1">
              <a:off x="794188" y="1474662"/>
              <a:ext cx="2305082" cy="3297918"/>
            </a:xfrm>
            <a:custGeom>
              <a:avLst/>
              <a:gdLst>
                <a:gd name="connsiteX0" fmla="*/ 1696267 w 2854049"/>
                <a:gd name="connsiteY0" fmla="*/ 3431657 h 4135471"/>
                <a:gd name="connsiteX1" fmla="*/ 1344360 w 2854049"/>
                <a:gd name="connsiteY1" fmla="*/ 3783564 h 4135471"/>
                <a:gd name="connsiteX2" fmla="*/ 1696267 w 2854049"/>
                <a:gd name="connsiteY2" fmla="*/ 4135471 h 4135471"/>
                <a:gd name="connsiteX3" fmla="*/ 2048174 w 2854049"/>
                <a:gd name="connsiteY3" fmla="*/ 3783564 h 4135471"/>
                <a:gd name="connsiteX4" fmla="*/ 1696267 w 2854049"/>
                <a:gd name="connsiteY4" fmla="*/ 3431657 h 4135471"/>
                <a:gd name="connsiteX5" fmla="*/ 1470680 w 2854049"/>
                <a:gd name="connsiteY5" fmla="*/ 0 h 4135471"/>
                <a:gd name="connsiteX6" fmla="*/ 1360088 w 2854049"/>
                <a:gd name="connsiteY6" fmla="*/ 9020 h 4135471"/>
                <a:gd name="connsiteX7" fmla="*/ 1082638 w 2854049"/>
                <a:gd name="connsiteY7" fmla="*/ 72152 h 4135471"/>
                <a:gd name="connsiteX8" fmla="*/ 1000179 w 2854049"/>
                <a:gd name="connsiteY8" fmla="*/ 103217 h 4135471"/>
                <a:gd name="connsiteX9" fmla="*/ 918691 w 2854049"/>
                <a:gd name="connsiteY9" fmla="*/ 138291 h 4135471"/>
                <a:gd name="connsiteX10" fmla="*/ 839141 w 2854049"/>
                <a:gd name="connsiteY10" fmla="*/ 180379 h 4135471"/>
                <a:gd name="connsiteX11" fmla="*/ 765414 w 2854049"/>
                <a:gd name="connsiteY11" fmla="*/ 227479 h 4135471"/>
                <a:gd name="connsiteX12" fmla="*/ 694595 w 2854049"/>
                <a:gd name="connsiteY12" fmla="*/ 280591 h 4135471"/>
                <a:gd name="connsiteX13" fmla="*/ 629599 w 2854049"/>
                <a:gd name="connsiteY13" fmla="*/ 338714 h 4135471"/>
                <a:gd name="connsiteX14" fmla="*/ 569452 w 2854049"/>
                <a:gd name="connsiteY14" fmla="*/ 401847 h 4135471"/>
                <a:gd name="connsiteX15" fmla="*/ 515126 w 2854049"/>
                <a:gd name="connsiteY15" fmla="*/ 470992 h 4135471"/>
                <a:gd name="connsiteX16" fmla="*/ 467591 w 2854049"/>
                <a:gd name="connsiteY16" fmla="*/ 544147 h 4135471"/>
                <a:gd name="connsiteX17" fmla="*/ 426847 w 2854049"/>
                <a:gd name="connsiteY17" fmla="*/ 622311 h 4135471"/>
                <a:gd name="connsiteX18" fmla="*/ 392893 w 2854049"/>
                <a:gd name="connsiteY18" fmla="*/ 706488 h 4135471"/>
                <a:gd name="connsiteX19" fmla="*/ 338568 w 2854049"/>
                <a:gd name="connsiteY19" fmla="*/ 937976 h 4135471"/>
                <a:gd name="connsiteX20" fmla="*/ 333717 w 2854049"/>
                <a:gd name="connsiteY20" fmla="*/ 994094 h 4135471"/>
                <a:gd name="connsiteX21" fmla="*/ 331776 w 2854049"/>
                <a:gd name="connsiteY21" fmla="*/ 1047206 h 4135471"/>
                <a:gd name="connsiteX22" fmla="*/ 333717 w 2854049"/>
                <a:gd name="connsiteY22" fmla="*/ 1096308 h 4135471"/>
                <a:gd name="connsiteX23" fmla="*/ 334686 w 2854049"/>
                <a:gd name="connsiteY23" fmla="*/ 1145413 h 4135471"/>
                <a:gd name="connsiteX24" fmla="*/ 334686 w 2854049"/>
                <a:gd name="connsiteY24" fmla="*/ 1191509 h 4135471"/>
                <a:gd name="connsiteX25" fmla="*/ 329836 w 2854049"/>
                <a:gd name="connsiteY25" fmla="*/ 1234599 h 4135471"/>
                <a:gd name="connsiteX26" fmla="*/ 315284 w 2854049"/>
                <a:gd name="connsiteY26" fmla="*/ 1278693 h 4135471"/>
                <a:gd name="connsiteX27" fmla="*/ 289092 w 2854049"/>
                <a:gd name="connsiteY27" fmla="*/ 1331805 h 4135471"/>
                <a:gd name="connsiteX28" fmla="*/ 257078 w 2854049"/>
                <a:gd name="connsiteY28" fmla="*/ 1380908 h 4135471"/>
                <a:gd name="connsiteX29" fmla="*/ 222155 w 2854049"/>
                <a:gd name="connsiteY29" fmla="*/ 1423998 h 4135471"/>
                <a:gd name="connsiteX30" fmla="*/ 185291 w 2854049"/>
                <a:gd name="connsiteY30" fmla="*/ 1468092 h 4135471"/>
                <a:gd name="connsiteX31" fmla="*/ 146487 w 2854049"/>
                <a:gd name="connsiteY31" fmla="*/ 1508176 h 4135471"/>
                <a:gd name="connsiteX32" fmla="*/ 107683 w 2854049"/>
                <a:gd name="connsiteY32" fmla="*/ 1548261 h 4135471"/>
                <a:gd name="connsiteX33" fmla="*/ 70819 w 2854049"/>
                <a:gd name="connsiteY33" fmla="*/ 1592354 h 4135471"/>
                <a:gd name="connsiteX34" fmla="*/ 58206 w 2854049"/>
                <a:gd name="connsiteY34" fmla="*/ 1604378 h 4135471"/>
                <a:gd name="connsiteX35" fmla="*/ 42684 w 2854049"/>
                <a:gd name="connsiteY35" fmla="*/ 1619410 h 4135471"/>
                <a:gd name="connsiteX36" fmla="*/ 26193 w 2854049"/>
                <a:gd name="connsiteY36" fmla="*/ 1637448 h 4135471"/>
                <a:gd name="connsiteX37" fmla="*/ 12611 w 2854049"/>
                <a:gd name="connsiteY37" fmla="*/ 1655486 h 4135471"/>
                <a:gd name="connsiteX38" fmla="*/ 3882 w 2854049"/>
                <a:gd name="connsiteY38" fmla="*/ 1677533 h 4135471"/>
                <a:gd name="connsiteX39" fmla="*/ 0 w 2854049"/>
                <a:gd name="connsiteY39" fmla="*/ 1701583 h 4135471"/>
                <a:gd name="connsiteX40" fmla="*/ 4851 w 2854049"/>
                <a:gd name="connsiteY40" fmla="*/ 1726636 h 4135471"/>
                <a:gd name="connsiteX41" fmla="*/ 17462 w 2854049"/>
                <a:gd name="connsiteY41" fmla="*/ 1750687 h 4135471"/>
                <a:gd name="connsiteX42" fmla="*/ 38806 w 2854049"/>
                <a:gd name="connsiteY42" fmla="*/ 1770728 h 4135471"/>
                <a:gd name="connsiteX43" fmla="*/ 63057 w 2854049"/>
                <a:gd name="connsiteY43" fmla="*/ 1784759 h 4135471"/>
                <a:gd name="connsiteX44" fmla="*/ 93130 w 2854049"/>
                <a:gd name="connsiteY44" fmla="*/ 1797786 h 4135471"/>
                <a:gd name="connsiteX45" fmla="*/ 125143 w 2854049"/>
                <a:gd name="connsiteY45" fmla="*/ 1808809 h 4135471"/>
                <a:gd name="connsiteX46" fmla="*/ 157158 w 2854049"/>
                <a:gd name="connsiteY46" fmla="*/ 1819833 h 4135471"/>
                <a:gd name="connsiteX47" fmla="*/ 188201 w 2854049"/>
                <a:gd name="connsiteY47" fmla="*/ 1830855 h 4135471"/>
                <a:gd name="connsiteX48" fmla="*/ 218273 w 2854049"/>
                <a:gd name="connsiteY48" fmla="*/ 1843883 h 4135471"/>
                <a:gd name="connsiteX49" fmla="*/ 245437 w 2854049"/>
                <a:gd name="connsiteY49" fmla="*/ 1857912 h 4135471"/>
                <a:gd name="connsiteX50" fmla="*/ 264839 w 2854049"/>
                <a:gd name="connsiteY50" fmla="*/ 1875951 h 4135471"/>
                <a:gd name="connsiteX51" fmla="*/ 259018 w 2854049"/>
                <a:gd name="connsiteY51" fmla="*/ 1900001 h 4135471"/>
                <a:gd name="connsiteX52" fmla="*/ 248347 w 2854049"/>
                <a:gd name="connsiteY52" fmla="*/ 1922047 h 4135471"/>
                <a:gd name="connsiteX53" fmla="*/ 237676 w 2854049"/>
                <a:gd name="connsiteY53" fmla="*/ 1945097 h 4135471"/>
                <a:gd name="connsiteX54" fmla="*/ 226035 w 2854049"/>
                <a:gd name="connsiteY54" fmla="*/ 1967142 h 4135471"/>
                <a:gd name="connsiteX55" fmla="*/ 215364 w 2854049"/>
                <a:gd name="connsiteY55" fmla="*/ 1989189 h 4135471"/>
                <a:gd name="connsiteX56" fmla="*/ 207602 w 2854049"/>
                <a:gd name="connsiteY56" fmla="*/ 2011236 h 4135471"/>
                <a:gd name="connsiteX57" fmla="*/ 204693 w 2854049"/>
                <a:gd name="connsiteY57" fmla="*/ 2031277 h 4135471"/>
                <a:gd name="connsiteX58" fmla="*/ 206633 w 2854049"/>
                <a:gd name="connsiteY58" fmla="*/ 2053324 h 4135471"/>
                <a:gd name="connsiteX59" fmla="*/ 217304 w 2854049"/>
                <a:gd name="connsiteY59" fmla="*/ 2073366 h 4135471"/>
                <a:gd name="connsiteX60" fmla="*/ 236706 w 2854049"/>
                <a:gd name="connsiteY60" fmla="*/ 2093409 h 4135471"/>
                <a:gd name="connsiteX61" fmla="*/ 264839 w 2854049"/>
                <a:gd name="connsiteY61" fmla="*/ 2113450 h 4135471"/>
                <a:gd name="connsiteX62" fmla="*/ 259018 w 2854049"/>
                <a:gd name="connsiteY62" fmla="*/ 2129483 h 4135471"/>
                <a:gd name="connsiteX63" fmla="*/ 250288 w 2854049"/>
                <a:gd name="connsiteY63" fmla="*/ 2145517 h 4135471"/>
                <a:gd name="connsiteX64" fmla="*/ 243497 w 2854049"/>
                <a:gd name="connsiteY64" fmla="*/ 2164557 h 4135471"/>
                <a:gd name="connsiteX65" fmla="*/ 241557 w 2854049"/>
                <a:gd name="connsiteY65" fmla="*/ 2184601 h 4135471"/>
                <a:gd name="connsiteX66" fmla="*/ 245437 w 2854049"/>
                <a:gd name="connsiteY66" fmla="*/ 2204642 h 4135471"/>
                <a:gd name="connsiteX67" fmla="*/ 256109 w 2854049"/>
                <a:gd name="connsiteY67" fmla="*/ 2222680 h 4135471"/>
                <a:gd name="connsiteX68" fmla="*/ 269690 w 2854049"/>
                <a:gd name="connsiteY68" fmla="*/ 2236709 h 4135471"/>
                <a:gd name="connsiteX69" fmla="*/ 287151 w 2854049"/>
                <a:gd name="connsiteY69" fmla="*/ 2249737 h 4135471"/>
                <a:gd name="connsiteX70" fmla="*/ 304613 w 2854049"/>
                <a:gd name="connsiteY70" fmla="*/ 2258756 h 4135471"/>
                <a:gd name="connsiteX71" fmla="*/ 321105 w 2854049"/>
                <a:gd name="connsiteY71" fmla="*/ 2269780 h 4135471"/>
                <a:gd name="connsiteX72" fmla="*/ 336627 w 2854049"/>
                <a:gd name="connsiteY72" fmla="*/ 2284810 h 4135471"/>
                <a:gd name="connsiteX73" fmla="*/ 345358 w 2854049"/>
                <a:gd name="connsiteY73" fmla="*/ 2300845 h 4135471"/>
                <a:gd name="connsiteX74" fmla="*/ 354089 w 2854049"/>
                <a:gd name="connsiteY74" fmla="*/ 2329906 h 4135471"/>
                <a:gd name="connsiteX75" fmla="*/ 354089 w 2854049"/>
                <a:gd name="connsiteY75" fmla="*/ 2362976 h 4135471"/>
                <a:gd name="connsiteX76" fmla="*/ 351179 w 2854049"/>
                <a:gd name="connsiteY76" fmla="*/ 2394041 h 4135471"/>
                <a:gd name="connsiteX77" fmla="*/ 343417 w 2854049"/>
                <a:gd name="connsiteY77" fmla="*/ 2426108 h 4135471"/>
                <a:gd name="connsiteX78" fmla="*/ 336627 w 2854049"/>
                <a:gd name="connsiteY78" fmla="*/ 2457173 h 4135471"/>
                <a:gd name="connsiteX79" fmla="*/ 331776 w 2854049"/>
                <a:gd name="connsiteY79" fmla="*/ 2485233 h 4135471"/>
                <a:gd name="connsiteX80" fmla="*/ 327896 w 2854049"/>
                <a:gd name="connsiteY80" fmla="*/ 2525318 h 4135471"/>
                <a:gd name="connsiteX81" fmla="*/ 331776 w 2854049"/>
                <a:gd name="connsiteY81" fmla="*/ 2561393 h 4135471"/>
                <a:gd name="connsiteX82" fmla="*/ 342447 w 2854049"/>
                <a:gd name="connsiteY82" fmla="*/ 2594464 h 4135471"/>
                <a:gd name="connsiteX83" fmla="*/ 356029 w 2854049"/>
                <a:gd name="connsiteY83" fmla="*/ 2623524 h 4135471"/>
                <a:gd name="connsiteX84" fmla="*/ 375432 w 2854049"/>
                <a:gd name="connsiteY84" fmla="*/ 2646572 h 4135471"/>
                <a:gd name="connsiteX85" fmla="*/ 400654 w 2854049"/>
                <a:gd name="connsiteY85" fmla="*/ 2668619 h 4135471"/>
                <a:gd name="connsiteX86" fmla="*/ 424906 w 2854049"/>
                <a:gd name="connsiteY86" fmla="*/ 2686657 h 4135471"/>
                <a:gd name="connsiteX87" fmla="*/ 453040 w 2854049"/>
                <a:gd name="connsiteY87" fmla="*/ 2701688 h 4135471"/>
                <a:gd name="connsiteX88" fmla="*/ 481173 w 2854049"/>
                <a:gd name="connsiteY88" fmla="*/ 2714717 h 4135471"/>
                <a:gd name="connsiteX89" fmla="*/ 509306 w 2854049"/>
                <a:gd name="connsiteY89" fmla="*/ 2721731 h 4135471"/>
                <a:gd name="connsiteX90" fmla="*/ 560721 w 2854049"/>
                <a:gd name="connsiteY90" fmla="*/ 2730751 h 4135471"/>
                <a:gd name="connsiteX91" fmla="*/ 615047 w 2854049"/>
                <a:gd name="connsiteY91" fmla="*/ 2734758 h 4135471"/>
                <a:gd name="connsiteX92" fmla="*/ 672284 w 2854049"/>
                <a:gd name="connsiteY92" fmla="*/ 2732755 h 4135471"/>
                <a:gd name="connsiteX93" fmla="*/ 728550 w 2854049"/>
                <a:gd name="connsiteY93" fmla="*/ 2726742 h 4135471"/>
                <a:gd name="connsiteX94" fmla="*/ 784816 w 2854049"/>
                <a:gd name="connsiteY94" fmla="*/ 2719726 h 4135471"/>
                <a:gd name="connsiteX95" fmla="*/ 838171 w 2854049"/>
                <a:gd name="connsiteY95" fmla="*/ 2708704 h 4135471"/>
                <a:gd name="connsiteX96" fmla="*/ 885706 w 2854049"/>
                <a:gd name="connsiteY96" fmla="*/ 2695677 h 4135471"/>
                <a:gd name="connsiteX97" fmla="*/ 927421 w 2854049"/>
                <a:gd name="connsiteY97" fmla="*/ 2681646 h 4135471"/>
                <a:gd name="connsiteX98" fmla="*/ 944882 w 2854049"/>
                <a:gd name="connsiteY98" fmla="*/ 2675633 h 4135471"/>
                <a:gd name="connsiteX99" fmla="*/ 968165 w 2854049"/>
                <a:gd name="connsiteY99" fmla="*/ 2668619 h 4135471"/>
                <a:gd name="connsiteX100" fmla="*/ 993388 w 2854049"/>
                <a:gd name="connsiteY100" fmla="*/ 2661605 h 4135471"/>
                <a:gd name="connsiteX101" fmla="*/ 1019581 w 2854049"/>
                <a:gd name="connsiteY101" fmla="*/ 2654590 h 4135471"/>
                <a:gd name="connsiteX102" fmla="*/ 1047714 w 2854049"/>
                <a:gd name="connsiteY102" fmla="*/ 2650582 h 4135471"/>
                <a:gd name="connsiteX103" fmla="*/ 1075847 w 2854049"/>
                <a:gd name="connsiteY103" fmla="*/ 2648577 h 4135471"/>
                <a:gd name="connsiteX104" fmla="*/ 1100100 w 2854049"/>
                <a:gd name="connsiteY104" fmla="*/ 2652585 h 4135471"/>
                <a:gd name="connsiteX105" fmla="*/ 1121442 w 2854049"/>
                <a:gd name="connsiteY105" fmla="*/ 2661605 h 4135471"/>
                <a:gd name="connsiteX106" fmla="*/ 1140844 w 2854049"/>
                <a:gd name="connsiteY106" fmla="*/ 2679643 h 4135471"/>
                <a:gd name="connsiteX107" fmla="*/ 1158306 w 2854049"/>
                <a:gd name="connsiteY107" fmla="*/ 2708704 h 4135471"/>
                <a:gd name="connsiteX108" fmla="*/ 1174797 w 2854049"/>
                <a:gd name="connsiteY108" fmla="*/ 2745782 h 4135471"/>
                <a:gd name="connsiteX109" fmla="*/ 1190319 w 2854049"/>
                <a:gd name="connsiteY109" fmla="*/ 2788872 h 4135471"/>
                <a:gd name="connsiteX110" fmla="*/ 1202931 w 2854049"/>
                <a:gd name="connsiteY110" fmla="*/ 2837975 h 4135471"/>
                <a:gd name="connsiteX111" fmla="*/ 1215541 w 2854049"/>
                <a:gd name="connsiteY111" fmla="*/ 2889083 h 4135471"/>
                <a:gd name="connsiteX112" fmla="*/ 1226212 w 2854049"/>
                <a:gd name="connsiteY112" fmla="*/ 2942195 h 4135471"/>
                <a:gd name="connsiteX113" fmla="*/ 1235914 w 2854049"/>
                <a:gd name="connsiteY113" fmla="*/ 2996309 h 4135471"/>
                <a:gd name="connsiteX114" fmla="*/ 1245616 w 2854049"/>
                <a:gd name="connsiteY114" fmla="*/ 3049421 h 4135471"/>
                <a:gd name="connsiteX115" fmla="*/ 1252407 w 2854049"/>
                <a:gd name="connsiteY115" fmla="*/ 3098524 h 4135471"/>
                <a:gd name="connsiteX116" fmla="*/ 1261138 w 2854049"/>
                <a:gd name="connsiteY116" fmla="*/ 3144621 h 4135471"/>
                <a:gd name="connsiteX117" fmla="*/ 1267927 w 2854049"/>
                <a:gd name="connsiteY117" fmla="*/ 3182701 h 4135471"/>
                <a:gd name="connsiteX118" fmla="*/ 1273749 w 2854049"/>
                <a:gd name="connsiteY118" fmla="*/ 3215771 h 4135471"/>
                <a:gd name="connsiteX119" fmla="*/ 1405683 w 2854049"/>
                <a:gd name="connsiteY119" fmla="*/ 3238820 h 4135471"/>
                <a:gd name="connsiteX120" fmla="*/ 1539558 w 2854049"/>
                <a:gd name="connsiteY120" fmla="*/ 3251847 h 4135471"/>
                <a:gd name="connsiteX121" fmla="*/ 1677312 w 2854049"/>
                <a:gd name="connsiteY121" fmla="*/ 3253851 h 4135471"/>
                <a:gd name="connsiteX122" fmla="*/ 1817977 w 2854049"/>
                <a:gd name="connsiteY122" fmla="*/ 3246837 h 4135471"/>
                <a:gd name="connsiteX123" fmla="*/ 1963493 w 2854049"/>
                <a:gd name="connsiteY123" fmla="*/ 3226793 h 4135471"/>
                <a:gd name="connsiteX124" fmla="*/ 1998071 w 2854049"/>
                <a:gd name="connsiteY124" fmla="*/ 3220300 h 4135471"/>
                <a:gd name="connsiteX125" fmla="*/ 1972544 w 2854049"/>
                <a:gd name="connsiteY125" fmla="*/ 2990832 h 4135471"/>
                <a:gd name="connsiteX126" fmla="*/ 1866104 w 2854049"/>
                <a:gd name="connsiteY126" fmla="*/ 2529483 h 4135471"/>
                <a:gd name="connsiteX127" fmla="*/ 1085631 w 2854049"/>
                <a:gd name="connsiteY127" fmla="*/ 1773024 h 4135471"/>
                <a:gd name="connsiteX128" fmla="*/ 1277747 w 2854049"/>
                <a:gd name="connsiteY128" fmla="*/ 968535 h 4135471"/>
                <a:gd name="connsiteX129" fmla="*/ 1914134 w 2854049"/>
                <a:gd name="connsiteY129" fmla="*/ 872477 h 4135471"/>
                <a:gd name="connsiteX130" fmla="*/ 2334389 w 2854049"/>
                <a:gd name="connsiteY130" fmla="*/ 1316747 h 4135471"/>
                <a:gd name="connsiteX131" fmla="*/ 2850702 w 2854049"/>
                <a:gd name="connsiteY131" fmla="*/ 1256710 h 4135471"/>
                <a:gd name="connsiteX132" fmla="*/ 2851858 w 2854049"/>
                <a:gd name="connsiteY132" fmla="*/ 1288484 h 4135471"/>
                <a:gd name="connsiteX133" fmla="*/ 2854049 w 2854049"/>
                <a:gd name="connsiteY133" fmla="*/ 1252639 h 4135471"/>
                <a:gd name="connsiteX134" fmla="*/ 2852109 w 2854049"/>
                <a:gd name="connsiteY134" fmla="*/ 1156435 h 4135471"/>
                <a:gd name="connsiteX135" fmla="*/ 2845318 w 2854049"/>
                <a:gd name="connsiteY135" fmla="*/ 1062236 h 4135471"/>
                <a:gd name="connsiteX136" fmla="*/ 2830767 w 2854049"/>
                <a:gd name="connsiteY136" fmla="*/ 971045 h 4135471"/>
                <a:gd name="connsiteX137" fmla="*/ 2811365 w 2854049"/>
                <a:gd name="connsiteY137" fmla="*/ 881857 h 4135471"/>
                <a:gd name="connsiteX138" fmla="*/ 2787112 w 2854049"/>
                <a:gd name="connsiteY138" fmla="*/ 799684 h 4135471"/>
                <a:gd name="connsiteX139" fmla="*/ 2759950 w 2854049"/>
                <a:gd name="connsiteY139" fmla="*/ 724526 h 4135471"/>
                <a:gd name="connsiteX140" fmla="*/ 2728906 w 2854049"/>
                <a:gd name="connsiteY140" fmla="*/ 657385 h 4135471"/>
                <a:gd name="connsiteX141" fmla="*/ 2682340 w 2854049"/>
                <a:gd name="connsiteY141" fmla="*/ 577215 h 4135471"/>
                <a:gd name="connsiteX142" fmla="*/ 2631895 w 2854049"/>
                <a:gd name="connsiteY142" fmla="*/ 501055 h 4135471"/>
                <a:gd name="connsiteX143" fmla="*/ 2574659 w 2854049"/>
                <a:gd name="connsiteY143" fmla="*/ 429907 h 4135471"/>
                <a:gd name="connsiteX144" fmla="*/ 2513543 w 2854049"/>
                <a:gd name="connsiteY144" fmla="*/ 361762 h 4135471"/>
                <a:gd name="connsiteX145" fmla="*/ 2446606 w 2854049"/>
                <a:gd name="connsiteY145" fmla="*/ 300634 h 4135471"/>
                <a:gd name="connsiteX146" fmla="*/ 2371907 w 2854049"/>
                <a:gd name="connsiteY146" fmla="*/ 243513 h 4135471"/>
                <a:gd name="connsiteX147" fmla="*/ 2294299 w 2854049"/>
                <a:gd name="connsiteY147" fmla="*/ 192406 h 4135471"/>
                <a:gd name="connsiteX148" fmla="*/ 2211840 w 2854049"/>
                <a:gd name="connsiteY148" fmla="*/ 147311 h 4135471"/>
                <a:gd name="connsiteX149" fmla="*/ 2121620 w 2854049"/>
                <a:gd name="connsiteY149" fmla="*/ 109230 h 4135471"/>
                <a:gd name="connsiteX150" fmla="*/ 2028490 w 2854049"/>
                <a:gd name="connsiteY150" fmla="*/ 74157 h 4135471"/>
                <a:gd name="connsiteX151" fmla="*/ 1927599 w 2854049"/>
                <a:gd name="connsiteY151" fmla="*/ 47099 h 4135471"/>
                <a:gd name="connsiteX152" fmla="*/ 1821858 w 2854049"/>
                <a:gd name="connsiteY152" fmla="*/ 25053 h 4135471"/>
                <a:gd name="connsiteX153" fmla="*/ 1711265 w 2854049"/>
                <a:gd name="connsiteY153" fmla="*/ 10021 h 4135471"/>
                <a:gd name="connsiteX154" fmla="*/ 1594853 w 2854049"/>
                <a:gd name="connsiteY154" fmla="*/ 1002 h 413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854049" h="4135471">
                  <a:moveTo>
                    <a:pt x="1696267" y="3431657"/>
                  </a:moveTo>
                  <a:cubicBezTo>
                    <a:pt x="1501914" y="3431657"/>
                    <a:pt x="1344360" y="3589211"/>
                    <a:pt x="1344360" y="3783564"/>
                  </a:cubicBezTo>
                  <a:cubicBezTo>
                    <a:pt x="1344360" y="3977917"/>
                    <a:pt x="1501914" y="4135471"/>
                    <a:pt x="1696267" y="4135471"/>
                  </a:cubicBezTo>
                  <a:cubicBezTo>
                    <a:pt x="1890620" y="4135471"/>
                    <a:pt x="2048174" y="3977917"/>
                    <a:pt x="2048174" y="3783564"/>
                  </a:cubicBezTo>
                  <a:cubicBezTo>
                    <a:pt x="2048174" y="3589211"/>
                    <a:pt x="1890620" y="3431657"/>
                    <a:pt x="1696267" y="3431657"/>
                  </a:cubicBezTo>
                  <a:close/>
                  <a:moveTo>
                    <a:pt x="1470680" y="0"/>
                  </a:moveTo>
                  <a:lnTo>
                    <a:pt x="1360088" y="9020"/>
                  </a:lnTo>
                  <a:lnTo>
                    <a:pt x="1082638" y="72152"/>
                  </a:lnTo>
                  <a:lnTo>
                    <a:pt x="1000179" y="103217"/>
                  </a:lnTo>
                  <a:lnTo>
                    <a:pt x="918691" y="138291"/>
                  </a:lnTo>
                  <a:lnTo>
                    <a:pt x="839141" y="180379"/>
                  </a:lnTo>
                  <a:lnTo>
                    <a:pt x="765414" y="227479"/>
                  </a:lnTo>
                  <a:lnTo>
                    <a:pt x="694595" y="280591"/>
                  </a:lnTo>
                  <a:lnTo>
                    <a:pt x="629599" y="338714"/>
                  </a:lnTo>
                  <a:lnTo>
                    <a:pt x="569452" y="401847"/>
                  </a:lnTo>
                  <a:lnTo>
                    <a:pt x="515126" y="470992"/>
                  </a:lnTo>
                  <a:lnTo>
                    <a:pt x="467591" y="544147"/>
                  </a:lnTo>
                  <a:lnTo>
                    <a:pt x="426847" y="622311"/>
                  </a:lnTo>
                  <a:lnTo>
                    <a:pt x="392893" y="706488"/>
                  </a:lnTo>
                  <a:lnTo>
                    <a:pt x="338568" y="937976"/>
                  </a:lnTo>
                  <a:lnTo>
                    <a:pt x="333717" y="994094"/>
                  </a:lnTo>
                  <a:lnTo>
                    <a:pt x="331776" y="1047206"/>
                  </a:lnTo>
                  <a:lnTo>
                    <a:pt x="333717" y="1096308"/>
                  </a:lnTo>
                  <a:lnTo>
                    <a:pt x="334686" y="1145413"/>
                  </a:lnTo>
                  <a:lnTo>
                    <a:pt x="334686" y="1191509"/>
                  </a:lnTo>
                  <a:lnTo>
                    <a:pt x="329836" y="1234599"/>
                  </a:lnTo>
                  <a:lnTo>
                    <a:pt x="315284" y="1278693"/>
                  </a:lnTo>
                  <a:lnTo>
                    <a:pt x="289092" y="1331805"/>
                  </a:lnTo>
                  <a:lnTo>
                    <a:pt x="257078" y="1380908"/>
                  </a:lnTo>
                  <a:lnTo>
                    <a:pt x="222155" y="1423998"/>
                  </a:lnTo>
                  <a:lnTo>
                    <a:pt x="185291" y="1468092"/>
                  </a:lnTo>
                  <a:lnTo>
                    <a:pt x="146487" y="1508176"/>
                  </a:lnTo>
                  <a:lnTo>
                    <a:pt x="107683" y="1548261"/>
                  </a:lnTo>
                  <a:lnTo>
                    <a:pt x="70819" y="1592354"/>
                  </a:lnTo>
                  <a:lnTo>
                    <a:pt x="58206" y="1604378"/>
                  </a:lnTo>
                  <a:lnTo>
                    <a:pt x="42684" y="1619410"/>
                  </a:lnTo>
                  <a:lnTo>
                    <a:pt x="26193" y="1637448"/>
                  </a:lnTo>
                  <a:lnTo>
                    <a:pt x="12611" y="1655486"/>
                  </a:lnTo>
                  <a:lnTo>
                    <a:pt x="3882" y="1677533"/>
                  </a:lnTo>
                  <a:lnTo>
                    <a:pt x="0" y="1701583"/>
                  </a:lnTo>
                  <a:lnTo>
                    <a:pt x="4851" y="1726636"/>
                  </a:lnTo>
                  <a:lnTo>
                    <a:pt x="17462" y="1750687"/>
                  </a:lnTo>
                  <a:lnTo>
                    <a:pt x="38806" y="1770728"/>
                  </a:lnTo>
                  <a:lnTo>
                    <a:pt x="63057" y="1784759"/>
                  </a:lnTo>
                  <a:lnTo>
                    <a:pt x="93130" y="1797786"/>
                  </a:lnTo>
                  <a:lnTo>
                    <a:pt x="125143" y="1808809"/>
                  </a:lnTo>
                  <a:lnTo>
                    <a:pt x="157158" y="1819833"/>
                  </a:lnTo>
                  <a:lnTo>
                    <a:pt x="188201" y="1830855"/>
                  </a:lnTo>
                  <a:lnTo>
                    <a:pt x="218273" y="1843883"/>
                  </a:lnTo>
                  <a:lnTo>
                    <a:pt x="245437" y="1857912"/>
                  </a:lnTo>
                  <a:lnTo>
                    <a:pt x="264839" y="1875951"/>
                  </a:lnTo>
                  <a:lnTo>
                    <a:pt x="259018" y="1900001"/>
                  </a:lnTo>
                  <a:lnTo>
                    <a:pt x="248347" y="1922047"/>
                  </a:lnTo>
                  <a:lnTo>
                    <a:pt x="237676" y="1945097"/>
                  </a:lnTo>
                  <a:lnTo>
                    <a:pt x="226035" y="1967142"/>
                  </a:lnTo>
                  <a:lnTo>
                    <a:pt x="215364" y="1989189"/>
                  </a:lnTo>
                  <a:lnTo>
                    <a:pt x="207602" y="2011236"/>
                  </a:lnTo>
                  <a:lnTo>
                    <a:pt x="204693" y="2031277"/>
                  </a:lnTo>
                  <a:lnTo>
                    <a:pt x="206633" y="2053324"/>
                  </a:lnTo>
                  <a:lnTo>
                    <a:pt x="217304" y="2073366"/>
                  </a:lnTo>
                  <a:lnTo>
                    <a:pt x="236706" y="2093409"/>
                  </a:lnTo>
                  <a:lnTo>
                    <a:pt x="264839" y="2113450"/>
                  </a:lnTo>
                  <a:lnTo>
                    <a:pt x="259018" y="2129483"/>
                  </a:lnTo>
                  <a:lnTo>
                    <a:pt x="250288" y="2145517"/>
                  </a:lnTo>
                  <a:lnTo>
                    <a:pt x="243497" y="2164557"/>
                  </a:lnTo>
                  <a:lnTo>
                    <a:pt x="241557" y="2184601"/>
                  </a:lnTo>
                  <a:lnTo>
                    <a:pt x="245437" y="2204642"/>
                  </a:lnTo>
                  <a:lnTo>
                    <a:pt x="256109" y="2222680"/>
                  </a:lnTo>
                  <a:lnTo>
                    <a:pt x="269690" y="2236709"/>
                  </a:lnTo>
                  <a:lnTo>
                    <a:pt x="287151" y="2249737"/>
                  </a:lnTo>
                  <a:lnTo>
                    <a:pt x="304613" y="2258756"/>
                  </a:lnTo>
                  <a:lnTo>
                    <a:pt x="321105" y="2269780"/>
                  </a:lnTo>
                  <a:lnTo>
                    <a:pt x="336627" y="2284810"/>
                  </a:lnTo>
                  <a:lnTo>
                    <a:pt x="345358" y="2300845"/>
                  </a:lnTo>
                  <a:lnTo>
                    <a:pt x="354089" y="2329906"/>
                  </a:lnTo>
                  <a:lnTo>
                    <a:pt x="354089" y="2362976"/>
                  </a:lnTo>
                  <a:lnTo>
                    <a:pt x="351179" y="2394041"/>
                  </a:lnTo>
                  <a:lnTo>
                    <a:pt x="343417" y="2426108"/>
                  </a:lnTo>
                  <a:lnTo>
                    <a:pt x="336627" y="2457173"/>
                  </a:lnTo>
                  <a:lnTo>
                    <a:pt x="331776" y="2485233"/>
                  </a:lnTo>
                  <a:lnTo>
                    <a:pt x="327896" y="2525318"/>
                  </a:lnTo>
                  <a:lnTo>
                    <a:pt x="331776" y="2561393"/>
                  </a:lnTo>
                  <a:lnTo>
                    <a:pt x="342447" y="2594464"/>
                  </a:lnTo>
                  <a:lnTo>
                    <a:pt x="356029" y="2623524"/>
                  </a:lnTo>
                  <a:lnTo>
                    <a:pt x="375432" y="2646572"/>
                  </a:lnTo>
                  <a:lnTo>
                    <a:pt x="400654" y="2668619"/>
                  </a:lnTo>
                  <a:lnTo>
                    <a:pt x="424906" y="2686657"/>
                  </a:lnTo>
                  <a:lnTo>
                    <a:pt x="453040" y="2701688"/>
                  </a:lnTo>
                  <a:lnTo>
                    <a:pt x="481173" y="2714717"/>
                  </a:lnTo>
                  <a:lnTo>
                    <a:pt x="509306" y="2721731"/>
                  </a:lnTo>
                  <a:lnTo>
                    <a:pt x="560721" y="2730751"/>
                  </a:lnTo>
                  <a:lnTo>
                    <a:pt x="615047" y="2734758"/>
                  </a:lnTo>
                  <a:lnTo>
                    <a:pt x="672284" y="2732755"/>
                  </a:lnTo>
                  <a:lnTo>
                    <a:pt x="728550" y="2726742"/>
                  </a:lnTo>
                  <a:lnTo>
                    <a:pt x="784816" y="2719726"/>
                  </a:lnTo>
                  <a:lnTo>
                    <a:pt x="838171" y="2708704"/>
                  </a:lnTo>
                  <a:lnTo>
                    <a:pt x="885706" y="2695677"/>
                  </a:lnTo>
                  <a:lnTo>
                    <a:pt x="927421" y="2681646"/>
                  </a:lnTo>
                  <a:lnTo>
                    <a:pt x="944882" y="2675633"/>
                  </a:lnTo>
                  <a:lnTo>
                    <a:pt x="968165" y="2668619"/>
                  </a:lnTo>
                  <a:lnTo>
                    <a:pt x="993388" y="2661605"/>
                  </a:lnTo>
                  <a:lnTo>
                    <a:pt x="1019581" y="2654590"/>
                  </a:lnTo>
                  <a:lnTo>
                    <a:pt x="1047714" y="2650582"/>
                  </a:lnTo>
                  <a:lnTo>
                    <a:pt x="1075847" y="2648577"/>
                  </a:lnTo>
                  <a:lnTo>
                    <a:pt x="1100100" y="2652585"/>
                  </a:lnTo>
                  <a:lnTo>
                    <a:pt x="1121442" y="2661605"/>
                  </a:lnTo>
                  <a:lnTo>
                    <a:pt x="1140844" y="2679643"/>
                  </a:lnTo>
                  <a:lnTo>
                    <a:pt x="1158306" y="2708704"/>
                  </a:lnTo>
                  <a:lnTo>
                    <a:pt x="1174797" y="2745782"/>
                  </a:lnTo>
                  <a:lnTo>
                    <a:pt x="1190319" y="2788872"/>
                  </a:lnTo>
                  <a:lnTo>
                    <a:pt x="1202931" y="2837975"/>
                  </a:lnTo>
                  <a:lnTo>
                    <a:pt x="1215541" y="2889083"/>
                  </a:lnTo>
                  <a:lnTo>
                    <a:pt x="1226212" y="2942195"/>
                  </a:lnTo>
                  <a:lnTo>
                    <a:pt x="1235914" y="2996309"/>
                  </a:lnTo>
                  <a:lnTo>
                    <a:pt x="1245616" y="3049421"/>
                  </a:lnTo>
                  <a:lnTo>
                    <a:pt x="1252407" y="3098524"/>
                  </a:lnTo>
                  <a:lnTo>
                    <a:pt x="1261138" y="3144621"/>
                  </a:lnTo>
                  <a:lnTo>
                    <a:pt x="1267927" y="3182701"/>
                  </a:lnTo>
                  <a:lnTo>
                    <a:pt x="1273749" y="3215771"/>
                  </a:lnTo>
                  <a:lnTo>
                    <a:pt x="1405683" y="3238820"/>
                  </a:lnTo>
                  <a:lnTo>
                    <a:pt x="1539558" y="3251847"/>
                  </a:lnTo>
                  <a:lnTo>
                    <a:pt x="1677312" y="3253851"/>
                  </a:lnTo>
                  <a:lnTo>
                    <a:pt x="1817977" y="3246837"/>
                  </a:lnTo>
                  <a:lnTo>
                    <a:pt x="1963493" y="3226793"/>
                  </a:lnTo>
                  <a:lnTo>
                    <a:pt x="1998071" y="3220300"/>
                  </a:lnTo>
                  <a:lnTo>
                    <a:pt x="1972544" y="2990832"/>
                  </a:lnTo>
                  <a:cubicBezTo>
                    <a:pt x="1951990" y="2824419"/>
                    <a:pt x="1923973" y="2664322"/>
                    <a:pt x="1866104" y="2529483"/>
                  </a:cubicBezTo>
                  <a:cubicBezTo>
                    <a:pt x="1798827" y="2378364"/>
                    <a:pt x="1318234" y="2057324"/>
                    <a:pt x="1085631" y="1773024"/>
                  </a:cubicBezTo>
                  <a:cubicBezTo>
                    <a:pt x="1039452" y="1683967"/>
                    <a:pt x="924385" y="1218329"/>
                    <a:pt x="1277747" y="968535"/>
                  </a:cubicBezTo>
                  <a:cubicBezTo>
                    <a:pt x="1430175" y="835482"/>
                    <a:pt x="1702005" y="831017"/>
                    <a:pt x="1914134" y="872477"/>
                  </a:cubicBezTo>
                  <a:cubicBezTo>
                    <a:pt x="2031257" y="905756"/>
                    <a:pt x="2240228" y="1053847"/>
                    <a:pt x="2334389" y="1316747"/>
                  </a:cubicBezTo>
                  <a:lnTo>
                    <a:pt x="2850702" y="1256710"/>
                  </a:lnTo>
                  <a:lnTo>
                    <a:pt x="2851858" y="1288484"/>
                  </a:lnTo>
                  <a:lnTo>
                    <a:pt x="2854049" y="1252639"/>
                  </a:lnTo>
                  <a:lnTo>
                    <a:pt x="2852109" y="1156435"/>
                  </a:lnTo>
                  <a:lnTo>
                    <a:pt x="2845318" y="1062236"/>
                  </a:lnTo>
                  <a:lnTo>
                    <a:pt x="2830767" y="971045"/>
                  </a:lnTo>
                  <a:lnTo>
                    <a:pt x="2811365" y="881857"/>
                  </a:lnTo>
                  <a:lnTo>
                    <a:pt x="2787112" y="799684"/>
                  </a:lnTo>
                  <a:lnTo>
                    <a:pt x="2759950" y="724526"/>
                  </a:lnTo>
                  <a:lnTo>
                    <a:pt x="2728906" y="657385"/>
                  </a:lnTo>
                  <a:lnTo>
                    <a:pt x="2682340" y="577215"/>
                  </a:lnTo>
                  <a:lnTo>
                    <a:pt x="2631895" y="501055"/>
                  </a:lnTo>
                  <a:lnTo>
                    <a:pt x="2574659" y="429907"/>
                  </a:lnTo>
                  <a:lnTo>
                    <a:pt x="2513543" y="361762"/>
                  </a:lnTo>
                  <a:lnTo>
                    <a:pt x="2446606" y="300634"/>
                  </a:lnTo>
                  <a:lnTo>
                    <a:pt x="2371907" y="243513"/>
                  </a:lnTo>
                  <a:lnTo>
                    <a:pt x="2294299" y="192406"/>
                  </a:lnTo>
                  <a:lnTo>
                    <a:pt x="2211840" y="147311"/>
                  </a:lnTo>
                  <a:lnTo>
                    <a:pt x="2121620" y="109230"/>
                  </a:lnTo>
                  <a:lnTo>
                    <a:pt x="2028490" y="74157"/>
                  </a:lnTo>
                  <a:lnTo>
                    <a:pt x="1927599" y="47099"/>
                  </a:lnTo>
                  <a:lnTo>
                    <a:pt x="1821858" y="25053"/>
                  </a:lnTo>
                  <a:lnTo>
                    <a:pt x="1711265" y="10021"/>
                  </a:lnTo>
                  <a:lnTo>
                    <a:pt x="1594853" y="1002"/>
                  </a:lnTo>
                  <a:close/>
                </a:path>
              </a:pathLst>
            </a:custGeom>
            <a:solidFill>
              <a:schemeClr val="tx1">
                <a:lumMod val="75000"/>
                <a:lumOff val="25000"/>
              </a:schemeClr>
            </a:solidFill>
            <a:ln>
              <a:solidFill>
                <a:srgbClr val="163F74"/>
              </a:solid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anchor="t" anchorCtr="0" compatLnSpc="1">
              <a:prstTxWarp prst="textNoShape">
                <a:avLst/>
              </a:prstTxWarp>
              <a:noAutofit/>
            </a:bodyPr>
            <a:lstStyle/>
            <a:p>
              <a:endParaRPr lang="ko-KR" altLang="en-US" sz="2026" dirty="0"/>
            </a:p>
          </p:txBody>
        </p:sp>
        <p:sp>
          <p:nvSpPr>
            <p:cNvPr id="16" name="Freeform: Shape 15">
              <a:extLst>
                <a:ext uri="{FF2B5EF4-FFF2-40B4-BE49-F238E27FC236}">
                  <a16:creationId xmlns:a16="http://schemas.microsoft.com/office/drawing/2014/main" id="{68C7E696-0B18-41D8-BADC-63197E0C7B5D}"/>
                </a:ext>
              </a:extLst>
            </p:cNvPr>
            <p:cNvSpPr/>
            <p:nvPr/>
          </p:nvSpPr>
          <p:spPr>
            <a:xfrm flipH="1">
              <a:off x="457200" y="590550"/>
              <a:ext cx="2979057" cy="1921717"/>
            </a:xfrm>
            <a:custGeom>
              <a:avLst/>
              <a:gdLst>
                <a:gd name="connsiteX0" fmla="*/ 1547519 w 3095038"/>
                <a:gd name="connsiteY0" fmla="*/ 0 h 2022026"/>
                <a:gd name="connsiteX1" fmla="*/ 3095038 w 3095038"/>
                <a:gd name="connsiteY1" fmla="*/ 627509 h 2022026"/>
                <a:gd name="connsiteX2" fmla="*/ 2825277 w 3095038"/>
                <a:gd name="connsiteY2" fmla="*/ 736897 h 2022026"/>
                <a:gd name="connsiteX3" fmla="*/ 2825277 w 3095038"/>
                <a:gd name="connsiteY3" fmla="*/ 1583608 h 2022026"/>
                <a:gd name="connsiteX4" fmla="*/ 2829142 w 3095038"/>
                <a:gd name="connsiteY4" fmla="*/ 1585209 h 2022026"/>
                <a:gd name="connsiteX5" fmla="*/ 2841509 w 3095038"/>
                <a:gd name="connsiteY5" fmla="*/ 1615067 h 2022026"/>
                <a:gd name="connsiteX6" fmla="*/ 2829142 w 3095038"/>
                <a:gd name="connsiteY6" fmla="*/ 1644926 h 2022026"/>
                <a:gd name="connsiteX7" fmla="*/ 2826092 w 3095038"/>
                <a:gd name="connsiteY7" fmla="*/ 1646189 h 2022026"/>
                <a:gd name="connsiteX8" fmla="*/ 2876626 w 3095038"/>
                <a:gd name="connsiteY8" fmla="*/ 2022026 h 2022026"/>
                <a:gd name="connsiteX9" fmla="*/ 2721940 w 3095038"/>
                <a:gd name="connsiteY9" fmla="*/ 2022026 h 2022026"/>
                <a:gd name="connsiteX10" fmla="*/ 2772475 w 3095038"/>
                <a:gd name="connsiteY10" fmla="*/ 1646189 h 2022026"/>
                <a:gd name="connsiteX11" fmla="*/ 2769425 w 3095038"/>
                <a:gd name="connsiteY11" fmla="*/ 1644926 h 2022026"/>
                <a:gd name="connsiteX12" fmla="*/ 2757057 w 3095038"/>
                <a:gd name="connsiteY12" fmla="*/ 1615067 h 2022026"/>
                <a:gd name="connsiteX13" fmla="*/ 2769425 w 3095038"/>
                <a:gd name="connsiteY13" fmla="*/ 1585209 h 2022026"/>
                <a:gd name="connsiteX14" fmla="*/ 2773289 w 3095038"/>
                <a:gd name="connsiteY14" fmla="*/ 1583608 h 2022026"/>
                <a:gd name="connsiteX15" fmla="*/ 2773289 w 3095038"/>
                <a:gd name="connsiteY15" fmla="*/ 757978 h 2022026"/>
                <a:gd name="connsiteX16" fmla="*/ 2747752 w 3095038"/>
                <a:gd name="connsiteY16" fmla="*/ 768333 h 2022026"/>
                <a:gd name="connsiteX17" fmla="*/ 2473970 w 3095038"/>
                <a:gd name="connsiteY17" fmla="*/ 981499 h 2022026"/>
                <a:gd name="connsiteX18" fmla="*/ 2473970 w 3095038"/>
                <a:gd name="connsiteY18" fmla="*/ 1333096 h 2022026"/>
                <a:gd name="connsiteX19" fmla="*/ 1442377 w 3095038"/>
                <a:gd name="connsiteY19" fmla="*/ 1553521 h 2022026"/>
                <a:gd name="connsiteX20" fmla="*/ 628675 w 3095038"/>
                <a:gd name="connsiteY20" fmla="*/ 1422110 h 2022026"/>
                <a:gd name="connsiteX21" fmla="*/ 635755 w 3095038"/>
                <a:gd name="connsiteY21" fmla="*/ 1406334 h 2022026"/>
                <a:gd name="connsiteX22" fmla="*/ 621068 w 3095038"/>
                <a:gd name="connsiteY22" fmla="*/ 1402746 h 2022026"/>
                <a:gd name="connsiteX23" fmla="*/ 621068 w 3095038"/>
                <a:gd name="connsiteY23" fmla="*/ 981499 h 2022026"/>
                <a:gd name="connsiteX24" fmla="*/ 0 w 3095038"/>
                <a:gd name="connsiteY24" fmla="*/ 627509 h 202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95038" h="2022026">
                  <a:moveTo>
                    <a:pt x="1547519" y="0"/>
                  </a:moveTo>
                  <a:lnTo>
                    <a:pt x="3095038" y="627509"/>
                  </a:lnTo>
                  <a:lnTo>
                    <a:pt x="2825277" y="736897"/>
                  </a:lnTo>
                  <a:lnTo>
                    <a:pt x="2825277" y="1583608"/>
                  </a:lnTo>
                  <a:lnTo>
                    <a:pt x="2829142" y="1585209"/>
                  </a:lnTo>
                  <a:cubicBezTo>
                    <a:pt x="2836783" y="1592850"/>
                    <a:pt x="2841509" y="1603406"/>
                    <a:pt x="2841509" y="1615067"/>
                  </a:cubicBezTo>
                  <a:cubicBezTo>
                    <a:pt x="2841509" y="1626728"/>
                    <a:pt x="2836783" y="1637284"/>
                    <a:pt x="2829142" y="1644926"/>
                  </a:cubicBezTo>
                  <a:lnTo>
                    <a:pt x="2826092" y="1646189"/>
                  </a:lnTo>
                  <a:lnTo>
                    <a:pt x="2876626" y="2022026"/>
                  </a:lnTo>
                  <a:lnTo>
                    <a:pt x="2721940" y="2022026"/>
                  </a:lnTo>
                  <a:lnTo>
                    <a:pt x="2772475" y="1646189"/>
                  </a:lnTo>
                  <a:lnTo>
                    <a:pt x="2769425" y="1644926"/>
                  </a:lnTo>
                  <a:cubicBezTo>
                    <a:pt x="2761784" y="1637284"/>
                    <a:pt x="2757057" y="1626728"/>
                    <a:pt x="2757057" y="1615067"/>
                  </a:cubicBezTo>
                  <a:cubicBezTo>
                    <a:pt x="2757057" y="1603406"/>
                    <a:pt x="2761784" y="1592850"/>
                    <a:pt x="2769425" y="1585209"/>
                  </a:cubicBezTo>
                  <a:lnTo>
                    <a:pt x="2773289" y="1583608"/>
                  </a:lnTo>
                  <a:lnTo>
                    <a:pt x="2773289" y="757978"/>
                  </a:lnTo>
                  <a:lnTo>
                    <a:pt x="2747752" y="768333"/>
                  </a:lnTo>
                  <a:lnTo>
                    <a:pt x="2473970" y="981499"/>
                  </a:lnTo>
                  <a:lnTo>
                    <a:pt x="2473970" y="1333096"/>
                  </a:lnTo>
                  <a:cubicBezTo>
                    <a:pt x="2176456" y="1474039"/>
                    <a:pt x="1822001" y="1553521"/>
                    <a:pt x="1442377" y="1553521"/>
                  </a:cubicBezTo>
                  <a:cubicBezTo>
                    <a:pt x="1151810" y="1553521"/>
                    <a:pt x="875988" y="1506956"/>
                    <a:pt x="628675" y="1422110"/>
                  </a:cubicBezTo>
                  <a:cubicBezTo>
                    <a:pt x="630298" y="1416654"/>
                    <a:pt x="632987" y="1411486"/>
                    <a:pt x="635755" y="1406334"/>
                  </a:cubicBezTo>
                  <a:cubicBezTo>
                    <a:pt x="631035" y="1404608"/>
                    <a:pt x="626049" y="1403669"/>
                    <a:pt x="621068" y="1402746"/>
                  </a:cubicBezTo>
                  <a:lnTo>
                    <a:pt x="621068" y="981499"/>
                  </a:lnTo>
                  <a:lnTo>
                    <a:pt x="0" y="62750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sz="2026" dirty="0"/>
            </a:p>
          </p:txBody>
        </p:sp>
      </p:grpSp>
      <p:graphicFrame>
        <p:nvGraphicFramePr>
          <p:cNvPr id="5" name="Object 4" hidden="1">
            <a:extLst>
              <a:ext uri="{FF2B5EF4-FFF2-40B4-BE49-F238E27FC236}">
                <a16:creationId xmlns:a16="http://schemas.microsoft.com/office/drawing/2014/main" id="{A9E43DCD-F115-4EC7-90AE-5F5E6C473889}"/>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727" name="think-cell Slide" r:id="rId8" imgW="383" imgH="384" progId="TCLayout.ActiveDocument.1">
                  <p:embed/>
                </p:oleObj>
              </mc:Choice>
              <mc:Fallback>
                <p:oleObj name="think-cell Slide" r:id="rId8" imgW="383" imgH="384" progId="TCLayout.ActiveDocument.1">
                  <p:embed/>
                  <p:pic>
                    <p:nvPicPr>
                      <p:cNvPr id="5" name="Object 4" hidden="1">
                        <a:extLst>
                          <a:ext uri="{FF2B5EF4-FFF2-40B4-BE49-F238E27FC236}">
                            <a16:creationId xmlns:a16="http://schemas.microsoft.com/office/drawing/2014/main" id="{A9E43DCD-F115-4EC7-90AE-5F5E6C473889}"/>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140B3F-4BDA-4FDA-A9EE-3C673CDF2373}"/>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b="1" dirty="0">
              <a:latin typeface="Segoe UI" panose="020B0502040204020203" pitchFamily="34" charset="0"/>
              <a:ea typeface="+mj-ea"/>
              <a:cs typeface="Segoe UI" panose="020B0502040204020203" pitchFamily="34" charset="0"/>
              <a:sym typeface="Segoe UI" panose="020B0502040204020203" pitchFamily="34" charset="0"/>
            </a:endParaRPr>
          </a:p>
        </p:txBody>
      </p:sp>
      <p:cxnSp>
        <p:nvCxnSpPr>
          <p:cNvPr id="8" name="Straight Connector 7">
            <a:extLst>
              <a:ext uri="{FF2B5EF4-FFF2-40B4-BE49-F238E27FC236}">
                <a16:creationId xmlns:a16="http://schemas.microsoft.com/office/drawing/2014/main" id="{FDDCB1DF-AB7E-4220-9C07-5A95CD99AED5}"/>
              </a:ext>
            </a:extLst>
          </p:cNvPr>
          <p:cNvCxnSpPr>
            <a:cxnSpLocks/>
          </p:cNvCxnSpPr>
          <p:nvPr/>
        </p:nvCxnSpPr>
        <p:spPr>
          <a:xfrm flipH="1">
            <a:off x="264252" y="4162255"/>
            <a:ext cx="712513" cy="9885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544301-48A2-4C9C-9CBF-01A720F732C0}"/>
              </a:ext>
            </a:extLst>
          </p:cNvPr>
          <p:cNvCxnSpPr>
            <a:cxnSpLocks/>
          </p:cNvCxnSpPr>
          <p:nvPr/>
        </p:nvCxnSpPr>
        <p:spPr>
          <a:xfrm flipH="1">
            <a:off x="725918" y="1"/>
            <a:ext cx="501694" cy="69604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E0D0D9FA-3DBB-4185-910C-1F200143EFAC}"/>
              </a:ext>
            </a:extLst>
          </p:cNvPr>
          <p:cNvSpPr>
            <a:spLocks noGrp="1"/>
          </p:cNvSpPr>
          <p:nvPr>
            <p:ph type="title"/>
          </p:nvPr>
        </p:nvSpPr>
        <p:spPr>
          <a:xfrm>
            <a:off x="2707341" y="2020384"/>
            <a:ext cx="6436659" cy="1200329"/>
          </a:xfrm>
        </p:spPr>
        <p:txBody>
          <a:bodyPr vert="horz" wrap="square" lIns="91440" tIns="45720" rIns="91440" bIns="45720" rtlCol="0" anchor="t">
            <a:spAutoFit/>
          </a:bodyPr>
          <a:lstStyle/>
          <a:p>
            <a:pPr marL="11545" algn="l">
              <a:spcBef>
                <a:spcPts val="72"/>
              </a:spcBef>
            </a:pPr>
            <a:r>
              <a:rPr lang="en-US" sz="3600"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rPr>
              <a:t>What are various Branches of Engineering?</a:t>
            </a:r>
          </a:p>
        </p:txBody>
      </p:sp>
      <p:sp>
        <p:nvSpPr>
          <p:cNvPr id="17" name="Rectangle 16">
            <a:extLst>
              <a:ext uri="{FF2B5EF4-FFF2-40B4-BE49-F238E27FC236}">
                <a16:creationId xmlns:a16="http://schemas.microsoft.com/office/drawing/2014/main" id="{E481DB9C-92EC-43E7-B4B1-F15D6B9CE47D}"/>
              </a:ext>
            </a:extLst>
          </p:cNvPr>
          <p:cNvSpPr/>
          <p:nvPr/>
        </p:nvSpPr>
        <p:spPr>
          <a:xfrm>
            <a:off x="2707341" y="3430160"/>
            <a:ext cx="6436659" cy="48896"/>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pic>
        <p:nvPicPr>
          <p:cNvPr id="18" name="Picture 17">
            <a:extLst>
              <a:ext uri="{FF2B5EF4-FFF2-40B4-BE49-F238E27FC236}">
                <a16:creationId xmlns:a16="http://schemas.microsoft.com/office/drawing/2014/main" id="{A57E7193-E247-4790-B00C-D65424304B8B}"/>
              </a:ext>
            </a:extLst>
          </p:cNvPr>
          <p:cNvPicPr>
            <a:picLocks noChangeAspect="1"/>
          </p:cNvPicPr>
          <p:nvPr/>
        </p:nvPicPr>
        <p:blipFill rotWithShape="1">
          <a:blip r:embed="rId10"/>
          <a:srcRect l="86667" b="81138"/>
          <a:stretch/>
        </p:blipFill>
        <p:spPr>
          <a:xfrm>
            <a:off x="7924800" y="-1"/>
            <a:ext cx="1219200" cy="971551"/>
          </a:xfrm>
          <a:prstGeom prst="rect">
            <a:avLst/>
          </a:prstGeom>
        </p:spPr>
      </p:pic>
    </p:spTree>
    <p:extLst>
      <p:ext uri="{BB962C8B-B14F-4D97-AF65-F5344CB8AC3E}">
        <p14:creationId xmlns:p14="http://schemas.microsoft.com/office/powerpoint/2010/main" val="185860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5CF2E7-CCE0-489C-9B81-6D722B53AC92}"/>
              </a:ext>
            </a:extLst>
          </p:cNvPr>
          <p:cNvSpPr/>
          <p:nvPr/>
        </p:nvSpPr>
        <p:spPr>
          <a:xfrm>
            <a:off x="8763000" y="1047750"/>
            <a:ext cx="76200" cy="4095750"/>
          </a:xfrm>
          <a:prstGeom prst="rect">
            <a:avLst/>
          </a:prstGeom>
          <a:solidFill>
            <a:srgbClr val="FEC6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10" name="Rectangle 9">
            <a:extLst>
              <a:ext uri="{FF2B5EF4-FFF2-40B4-BE49-F238E27FC236}">
                <a16:creationId xmlns:a16="http://schemas.microsoft.com/office/drawing/2014/main" id="{60E69E56-59A2-4DA6-8206-89AB64632A77}"/>
              </a:ext>
            </a:extLst>
          </p:cNvPr>
          <p:cNvSpPr/>
          <p:nvPr/>
        </p:nvSpPr>
        <p:spPr>
          <a:xfrm>
            <a:off x="304800" y="0"/>
            <a:ext cx="76200" cy="470535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11" name="Title 1">
            <a:extLst>
              <a:ext uri="{FF2B5EF4-FFF2-40B4-BE49-F238E27FC236}">
                <a16:creationId xmlns:a16="http://schemas.microsoft.com/office/drawing/2014/main" id="{13FD27CC-0B8B-46B6-8402-3AA2A7F76181}"/>
              </a:ext>
            </a:extLst>
          </p:cNvPr>
          <p:cNvSpPr txBox="1">
            <a:spLocks/>
          </p:cNvSpPr>
          <p:nvPr/>
        </p:nvSpPr>
        <p:spPr>
          <a:xfrm>
            <a:off x="597876" y="438150"/>
            <a:ext cx="7936524" cy="435858"/>
          </a:xfrm>
          <a:prstGeom prst="rect">
            <a:avLst/>
          </a:prstGeom>
          <a:effectLst/>
        </p:spPr>
        <p:txBody>
          <a:bodyPr vert="horz" lIns="91440" tIns="45720" rIns="91440" bIns="45720" rtlCol="0" anchor="ctr">
            <a:noAutofit/>
          </a:bodyPr>
          <a:lstStyle>
            <a:lvl1pPr algn="ctr" defTabSz="914378"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Different Engineering Courses</a:t>
            </a:r>
          </a:p>
        </p:txBody>
      </p:sp>
      <p:sp>
        <p:nvSpPr>
          <p:cNvPr id="8" name="Content Placeholder 2">
            <a:extLst>
              <a:ext uri="{FF2B5EF4-FFF2-40B4-BE49-F238E27FC236}">
                <a16:creationId xmlns:a16="http://schemas.microsoft.com/office/drawing/2014/main" id="{3EC5AF50-7C74-46B1-8CDE-12AC4A1FBFDB}"/>
              </a:ext>
            </a:extLst>
          </p:cNvPr>
          <p:cNvSpPr>
            <a:spLocks noGrp="1"/>
          </p:cNvSpPr>
          <p:nvPr>
            <p:ph idx="1"/>
          </p:nvPr>
        </p:nvSpPr>
        <p:spPr>
          <a:xfrm>
            <a:off x="597877" y="1021060"/>
            <a:ext cx="8162882" cy="457199"/>
          </a:xfrm>
        </p:spPr>
        <p:txBody>
          <a:bodyPr>
            <a:normAutofit lnSpcReduction="10000"/>
          </a:bodyPr>
          <a:lstStyle/>
          <a:p>
            <a:pPr marL="0" indent="0">
              <a:lnSpc>
                <a:spcPct val="120000"/>
              </a:lnSpc>
              <a:buNone/>
            </a:pPr>
            <a:r>
              <a:rPr lang="en-US" sz="2000" dirty="0">
                <a:latin typeface="Gotham Medium" panose="02000603030000020004" pitchFamily="2" charset="0"/>
              </a:rPr>
              <a:t>Total of </a:t>
            </a:r>
            <a:r>
              <a:rPr lang="en-US" sz="2000" b="1" dirty="0">
                <a:solidFill>
                  <a:srgbClr val="FF3300"/>
                </a:solidFill>
                <a:latin typeface="Gotham Medium" panose="02000603030000020004" pitchFamily="2" charset="0"/>
              </a:rPr>
              <a:t>190</a:t>
            </a:r>
            <a:r>
              <a:rPr lang="en-US" sz="2000" dirty="0">
                <a:latin typeface="Gotham Medium" panose="02000603030000020004" pitchFamily="2" charset="0"/>
              </a:rPr>
              <a:t> different courses available in India at UG level</a:t>
            </a:r>
          </a:p>
        </p:txBody>
      </p:sp>
      <p:graphicFrame>
        <p:nvGraphicFramePr>
          <p:cNvPr id="12" name="Table 11">
            <a:extLst>
              <a:ext uri="{FF2B5EF4-FFF2-40B4-BE49-F238E27FC236}">
                <a16:creationId xmlns:a16="http://schemas.microsoft.com/office/drawing/2014/main" id="{F5101451-860A-4CD9-9993-9C9F87328898}"/>
              </a:ext>
            </a:extLst>
          </p:cNvPr>
          <p:cNvGraphicFramePr>
            <a:graphicFrameLocks noGrp="1"/>
          </p:cNvGraphicFramePr>
          <p:nvPr>
            <p:extLst>
              <p:ext uri="{D42A27DB-BD31-4B8C-83A1-F6EECF244321}">
                <p14:modId xmlns:p14="http://schemas.microsoft.com/office/powerpoint/2010/main" val="213555572"/>
              </p:ext>
            </p:extLst>
          </p:nvPr>
        </p:nvGraphicFramePr>
        <p:xfrm>
          <a:off x="597876" y="1626888"/>
          <a:ext cx="7936524" cy="3078462"/>
        </p:xfrm>
        <a:graphic>
          <a:graphicData uri="http://schemas.openxmlformats.org/drawingml/2006/table">
            <a:tbl>
              <a:tblPr firstRow="1" bandRow="1">
                <a:tableStyleId>{5940675A-B579-460E-94D1-54222C63F5DA}</a:tableStyleId>
              </a:tblPr>
              <a:tblGrid>
                <a:gridCol w="2609001">
                  <a:extLst>
                    <a:ext uri="{9D8B030D-6E8A-4147-A177-3AD203B41FA5}">
                      <a16:colId xmlns:a16="http://schemas.microsoft.com/office/drawing/2014/main" val="20000"/>
                    </a:ext>
                  </a:extLst>
                </a:gridCol>
                <a:gridCol w="2771420">
                  <a:extLst>
                    <a:ext uri="{9D8B030D-6E8A-4147-A177-3AD203B41FA5}">
                      <a16:colId xmlns:a16="http://schemas.microsoft.com/office/drawing/2014/main" val="20001"/>
                    </a:ext>
                  </a:extLst>
                </a:gridCol>
                <a:gridCol w="2556103">
                  <a:extLst>
                    <a:ext uri="{9D8B030D-6E8A-4147-A177-3AD203B41FA5}">
                      <a16:colId xmlns:a16="http://schemas.microsoft.com/office/drawing/2014/main" val="20002"/>
                    </a:ext>
                  </a:extLst>
                </a:gridCol>
              </a:tblGrid>
              <a:tr h="60613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bg1"/>
                          </a:solidFill>
                          <a:latin typeface="Gotham Medium" panose="02000603030000020004" pitchFamily="2" charset="0"/>
                        </a:rPr>
                        <a:t>Basic Needs</a:t>
                      </a:r>
                      <a:endParaRPr lang="en-US" sz="1600" b="1" kern="1200" dirty="0">
                        <a:solidFill>
                          <a:schemeClr val="bg1"/>
                        </a:solidFill>
                        <a:latin typeface="Gotham Medium" panose="02000603030000020004" pitchFamily="2" charset="0"/>
                        <a:ea typeface="+mn-ea"/>
                        <a:cs typeface="Times New Roman" pitchFamily="18" charset="0"/>
                      </a:endParaRPr>
                    </a:p>
                  </a:txBody>
                  <a:tcPr marL="121920" marR="121920" marT="60951" marB="60951" anchor="ctr">
                    <a:solidFill>
                      <a:schemeClr val="tx1">
                        <a:lumMod val="50000"/>
                        <a:lumOff val="5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Gotham Medium" panose="02000603030000020004" pitchFamily="2" charset="0"/>
                        </a:rPr>
                        <a:t>Industrial Revolution</a:t>
                      </a:r>
                      <a:endParaRPr lang="en-US" sz="1600" dirty="0">
                        <a:solidFill>
                          <a:schemeClr val="bg1"/>
                        </a:solidFill>
                        <a:latin typeface="Gotham Medium" panose="02000603030000020004" pitchFamily="2" charset="0"/>
                        <a:cs typeface="Times New Roman" pitchFamily="18" charset="0"/>
                      </a:endParaRPr>
                    </a:p>
                  </a:txBody>
                  <a:tcPr marL="121920" marR="121920" marT="60951" marB="60951" anchor="ctr">
                    <a:solidFill>
                      <a:schemeClr val="tx1">
                        <a:lumMod val="50000"/>
                        <a:lumOff val="5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Gotham Medium" panose="02000603030000020004" pitchFamily="2" charset="0"/>
                        </a:rPr>
                        <a:t>Development of Electricity</a:t>
                      </a:r>
                      <a:endParaRPr lang="en-US" sz="1600" dirty="0">
                        <a:solidFill>
                          <a:schemeClr val="bg1"/>
                        </a:solidFill>
                        <a:latin typeface="Gotham Medium" panose="02000603030000020004" pitchFamily="2" charset="0"/>
                        <a:cs typeface="Times New Roman" pitchFamily="18" charset="0"/>
                      </a:endParaRPr>
                    </a:p>
                  </a:txBody>
                  <a:tcPr marL="121920" marR="121920" marT="60951" marB="60951" anchor="ctr">
                    <a:solidFill>
                      <a:schemeClr val="tx1">
                        <a:lumMod val="50000"/>
                        <a:lumOff val="50000"/>
                      </a:schemeClr>
                    </a:solidFill>
                  </a:tcPr>
                </a:tc>
                <a:extLst>
                  <a:ext uri="{0D108BD9-81ED-4DB2-BD59-A6C34878D82A}">
                    <a16:rowId xmlns:a16="http://schemas.microsoft.com/office/drawing/2014/main" val="10000"/>
                  </a:ext>
                </a:extLst>
              </a:tr>
              <a:tr h="411480">
                <a:tc rowSpan="2">
                  <a:txBody>
                    <a:bodyPr/>
                    <a:lstStyle/>
                    <a:p>
                      <a:pPr algn="ctr"/>
                      <a:r>
                        <a:rPr lang="en-US" sz="1400" kern="1200" dirty="0">
                          <a:latin typeface="Gotham Medium" panose="02000603030000020004" pitchFamily="2" charset="0"/>
                        </a:rPr>
                        <a:t>Civil Engineering</a:t>
                      </a:r>
                      <a:endParaRPr lang="en-US" sz="1400" b="1" dirty="0">
                        <a:solidFill>
                          <a:srgbClr val="002060"/>
                        </a:solidFill>
                        <a:latin typeface="Gotham Medium" panose="02000603030000020004" pitchFamily="2" charset="0"/>
                        <a:cs typeface="Times New Roman" pitchFamily="18" charset="0"/>
                      </a:endParaRPr>
                    </a:p>
                  </a:txBody>
                  <a:tcPr marL="121920" marR="121920" marT="60951" marB="60951"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latin typeface="Gotham Medium" panose="02000603030000020004" pitchFamily="2" charset="0"/>
                        </a:rPr>
                        <a:t>Mechanical Engineering</a:t>
                      </a:r>
                      <a:endParaRPr lang="en-US" sz="1400" b="1" kern="1200" dirty="0">
                        <a:solidFill>
                          <a:srgbClr val="002060"/>
                        </a:solidFill>
                        <a:latin typeface="Gotham Medium" panose="02000603030000020004" pitchFamily="2" charset="0"/>
                        <a:ea typeface="+mn-ea"/>
                        <a:cs typeface="Times New Roman" pitchFamily="18" charset="0"/>
                      </a:endParaRPr>
                    </a:p>
                  </a:txBody>
                  <a:tcPr marL="121920" marR="121920" marT="60951" marB="60951"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pt-BR" sz="1400" kern="1200" dirty="0">
                          <a:latin typeface="Gotham Medium" panose="02000603030000020004" pitchFamily="2" charset="0"/>
                        </a:rPr>
                        <a:t>Electrical</a:t>
                      </a:r>
                      <a:endParaRPr lang="en-US" sz="1400" kern="1200" dirty="0">
                        <a:solidFill>
                          <a:srgbClr val="002060"/>
                        </a:solidFill>
                        <a:latin typeface="Gotham Medium" panose="02000603030000020004" pitchFamily="2" charset="0"/>
                        <a:ea typeface="+mn-ea"/>
                        <a:cs typeface="+mn-cs"/>
                      </a:endParaRPr>
                    </a:p>
                  </a:txBody>
                  <a:tcPr marL="121930" marR="121930" marT="60969" marB="60969" anchor="ctr"/>
                </a:tc>
                <a:extLst>
                  <a:ext uri="{0D108BD9-81ED-4DB2-BD59-A6C34878D82A}">
                    <a16:rowId xmlns:a16="http://schemas.microsoft.com/office/drawing/2014/main" val="10001"/>
                  </a:ext>
                </a:extLst>
              </a:tr>
              <a:tr h="411480">
                <a:tc vMerge="1">
                  <a:txBody>
                    <a:bodyPr/>
                    <a:lstStyle/>
                    <a:p>
                      <a:endParaRPr lang="en-US" dirty="0"/>
                    </a:p>
                  </a:txBody>
                  <a:tcPr marL="121920" marR="121920" marT="60951" marB="60951" anchor="ctr"/>
                </a:tc>
                <a:tc>
                  <a:txBody>
                    <a:bodyPr/>
                    <a:lstStyle/>
                    <a:p>
                      <a:pPr algn="ctr"/>
                      <a:r>
                        <a:rPr lang="en-US" sz="1400" dirty="0">
                          <a:latin typeface="Gotham Medium" panose="02000603030000020004" pitchFamily="2" charset="0"/>
                        </a:rPr>
                        <a:t>Production </a:t>
                      </a:r>
                      <a:r>
                        <a:rPr lang="en-US" sz="1400" kern="1200" dirty="0">
                          <a:latin typeface="Gotham Medium" panose="02000603030000020004" pitchFamily="2" charset="0"/>
                        </a:rPr>
                        <a:t>Engineering</a:t>
                      </a:r>
                      <a:endParaRPr lang="en-US" sz="1400" b="1" kern="1200" dirty="0">
                        <a:solidFill>
                          <a:srgbClr val="002060"/>
                        </a:solidFill>
                        <a:latin typeface="Gotham Medium" panose="02000603030000020004" pitchFamily="2" charset="0"/>
                        <a:ea typeface="+mn-ea"/>
                        <a:cs typeface="Times New Roman" pitchFamily="18" charset="0"/>
                      </a:endParaRPr>
                    </a:p>
                  </a:txBody>
                  <a:tcPr marL="121920" marR="121920" marT="60951" marB="60951"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pt-BR" sz="1400" kern="1200" dirty="0">
                          <a:solidFill>
                            <a:schemeClr val="tx1"/>
                          </a:solidFill>
                          <a:latin typeface="Gotham Medium" panose="02000603030000020004" pitchFamily="2" charset="0"/>
                          <a:ea typeface="+mn-ea"/>
                          <a:cs typeface="+mn-cs"/>
                        </a:rPr>
                        <a:t>Electronics</a:t>
                      </a:r>
                    </a:p>
                  </a:txBody>
                  <a:tcPr marL="121930" marR="121930" marT="60969" marB="60969" anchor="ctr"/>
                </a:tc>
                <a:extLst>
                  <a:ext uri="{0D108BD9-81ED-4DB2-BD59-A6C34878D82A}">
                    <a16:rowId xmlns:a16="http://schemas.microsoft.com/office/drawing/2014/main" val="10002"/>
                  </a:ext>
                </a:extLst>
              </a:tr>
              <a:tr h="411480">
                <a:tc rowSpan="2">
                  <a:txBody>
                    <a:bodyPr/>
                    <a:lstStyle/>
                    <a:p>
                      <a:pPr algn="ctr"/>
                      <a:r>
                        <a:rPr lang="en-US" sz="1400" kern="1200" dirty="0">
                          <a:latin typeface="Gotham Medium" panose="02000603030000020004" pitchFamily="2" charset="0"/>
                        </a:rPr>
                        <a:t>Food Technology</a:t>
                      </a:r>
                      <a:endParaRPr lang="en-US" sz="1400" b="1" kern="1200" dirty="0">
                        <a:solidFill>
                          <a:srgbClr val="002060"/>
                        </a:solidFill>
                        <a:latin typeface="Gotham Medium" panose="02000603030000020004" pitchFamily="2" charset="0"/>
                        <a:ea typeface="+mn-ea"/>
                        <a:cs typeface="Times New Roman" pitchFamily="18" charset="0"/>
                      </a:endParaRPr>
                    </a:p>
                  </a:txBody>
                  <a:tcPr marL="121920" marR="121920" marT="60951" marB="60951" anchor="ctr"/>
                </a:tc>
                <a:tc>
                  <a:txBody>
                    <a:bodyPr/>
                    <a:lstStyle/>
                    <a:p>
                      <a:pPr algn="ctr"/>
                      <a:r>
                        <a:rPr lang="en-US" sz="1400" dirty="0">
                          <a:latin typeface="Gotham Medium" panose="02000603030000020004" pitchFamily="2" charset="0"/>
                        </a:rPr>
                        <a:t>Manufacturing </a:t>
                      </a:r>
                      <a:r>
                        <a:rPr lang="en-US" sz="1400" kern="1200" dirty="0">
                          <a:latin typeface="Gotham Medium" panose="02000603030000020004" pitchFamily="2" charset="0"/>
                        </a:rPr>
                        <a:t>Engineering</a:t>
                      </a:r>
                      <a:endParaRPr lang="en-US" sz="1400" b="1" kern="1200" dirty="0">
                        <a:solidFill>
                          <a:srgbClr val="002060"/>
                        </a:solidFill>
                        <a:latin typeface="Gotham Medium" panose="02000603030000020004" pitchFamily="2" charset="0"/>
                        <a:ea typeface="+mn-ea"/>
                        <a:cs typeface="Times New Roman" pitchFamily="18" charset="0"/>
                      </a:endParaRPr>
                    </a:p>
                  </a:txBody>
                  <a:tcPr marL="121920" marR="121920" marT="60951" marB="60951"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pt-BR" sz="1400" kern="1200" dirty="0">
                          <a:solidFill>
                            <a:schemeClr val="tx1"/>
                          </a:solidFill>
                          <a:latin typeface="Gotham Medium" panose="02000603030000020004" pitchFamily="2" charset="0"/>
                        </a:rPr>
                        <a:t>E &amp; TC / ECE</a:t>
                      </a:r>
                      <a:endParaRPr lang="pt-BR" sz="1400" kern="1200" dirty="0">
                        <a:solidFill>
                          <a:schemeClr val="tx1"/>
                        </a:solidFill>
                        <a:latin typeface="Gotham Medium" panose="02000603030000020004" pitchFamily="2" charset="0"/>
                        <a:ea typeface="+mn-ea"/>
                        <a:cs typeface="+mn-cs"/>
                      </a:endParaRPr>
                    </a:p>
                  </a:txBody>
                  <a:tcPr marL="121930" marR="121930" marT="60969" marB="60969" anchor="ctr"/>
                </a:tc>
                <a:extLst>
                  <a:ext uri="{0D108BD9-81ED-4DB2-BD59-A6C34878D82A}">
                    <a16:rowId xmlns:a16="http://schemas.microsoft.com/office/drawing/2014/main" val="10003"/>
                  </a:ext>
                </a:extLst>
              </a:tr>
              <a:tr h="411480">
                <a:tc vMerge="1">
                  <a:txBody>
                    <a:bodyPr/>
                    <a:lstStyle/>
                    <a:p>
                      <a:pPr algn="ctr"/>
                      <a:endParaRPr lang="en-US" sz="1400" b="1" kern="1200" dirty="0">
                        <a:solidFill>
                          <a:srgbClr val="002060"/>
                        </a:solidFill>
                        <a:latin typeface="Gotham Medium" panose="02000603030000020004" pitchFamily="2" charset="0"/>
                        <a:ea typeface="+mn-ea"/>
                        <a:cs typeface="Times New Roman" pitchFamily="18" charset="0"/>
                      </a:endParaRPr>
                    </a:p>
                  </a:txBody>
                  <a:tcPr marL="121920" marR="121920" marT="60951" marB="60951" anchor="ctr"/>
                </a:tc>
                <a:tc>
                  <a:txBody>
                    <a:bodyPr/>
                    <a:lstStyle/>
                    <a:p>
                      <a:pPr algn="ctr"/>
                      <a:r>
                        <a:rPr lang="en-US" sz="1400" dirty="0">
                          <a:latin typeface="Gotham Medium" panose="02000603030000020004" pitchFamily="2" charset="0"/>
                        </a:rPr>
                        <a:t>Automobile </a:t>
                      </a:r>
                      <a:r>
                        <a:rPr lang="en-US" sz="1400" kern="1200" dirty="0">
                          <a:latin typeface="Gotham Medium" panose="02000603030000020004" pitchFamily="2" charset="0"/>
                        </a:rPr>
                        <a:t>Engineering</a:t>
                      </a:r>
                      <a:endParaRPr lang="en-US" sz="1400" b="1" kern="1200" dirty="0">
                        <a:solidFill>
                          <a:srgbClr val="002060"/>
                        </a:solidFill>
                        <a:latin typeface="Gotham Medium" panose="02000603030000020004" pitchFamily="2" charset="0"/>
                        <a:ea typeface="+mn-ea"/>
                        <a:cs typeface="Times New Roman" pitchFamily="18" charset="0"/>
                      </a:endParaRPr>
                    </a:p>
                  </a:txBody>
                  <a:tcPr marL="121920" marR="121920" marT="60951" marB="60951"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pt-BR" sz="1400" kern="1200" dirty="0">
                          <a:latin typeface="Gotham Medium" panose="02000603030000020004" pitchFamily="2" charset="0"/>
                        </a:rPr>
                        <a:t>Instrumentation Tech.</a:t>
                      </a:r>
                      <a:endParaRPr lang="en-US" sz="1400" kern="1200" dirty="0">
                        <a:solidFill>
                          <a:srgbClr val="002060"/>
                        </a:solidFill>
                        <a:latin typeface="Gotham Medium" panose="02000603030000020004" pitchFamily="2" charset="0"/>
                        <a:ea typeface="+mn-ea"/>
                        <a:cs typeface="+mn-cs"/>
                      </a:endParaRPr>
                    </a:p>
                  </a:txBody>
                  <a:tcPr marL="121930" marR="121930" marT="60969" marB="60969" anchor="ctr"/>
                </a:tc>
                <a:extLst>
                  <a:ext uri="{0D108BD9-81ED-4DB2-BD59-A6C34878D82A}">
                    <a16:rowId xmlns:a16="http://schemas.microsoft.com/office/drawing/2014/main" val="10004"/>
                  </a:ext>
                </a:extLst>
              </a:tr>
              <a:tr h="41148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latin typeface="Gotham Medium" panose="02000603030000020004" pitchFamily="2" charset="0"/>
                        </a:rPr>
                        <a:t>Textile Engineering</a:t>
                      </a:r>
                      <a:endParaRPr lang="en-US" sz="1400" b="1" kern="1200" dirty="0">
                        <a:solidFill>
                          <a:srgbClr val="002060"/>
                        </a:solidFill>
                        <a:latin typeface="Gotham Medium" panose="02000603030000020004" pitchFamily="2" charset="0"/>
                        <a:ea typeface="+mn-ea"/>
                        <a:cs typeface="Times New Roman" pitchFamily="18" charset="0"/>
                      </a:endParaRPr>
                    </a:p>
                  </a:txBody>
                  <a:tcPr marL="121920" marR="121920" marT="60951" marB="60951" anchor="ctr"/>
                </a:tc>
                <a:tc>
                  <a:txBody>
                    <a:bodyPr/>
                    <a:lstStyle/>
                    <a:p>
                      <a:pPr algn="ctr"/>
                      <a:r>
                        <a:rPr lang="en-US" sz="1400" dirty="0">
                          <a:latin typeface="Gotham Medium" panose="02000603030000020004" pitchFamily="2" charset="0"/>
                        </a:rPr>
                        <a:t>Metallurgy </a:t>
                      </a:r>
                      <a:r>
                        <a:rPr lang="en-US" sz="1400" kern="1200" dirty="0">
                          <a:latin typeface="Gotham Medium" panose="02000603030000020004" pitchFamily="2" charset="0"/>
                        </a:rPr>
                        <a:t>Engineering</a:t>
                      </a:r>
                      <a:endParaRPr lang="en-US" sz="1400" b="1" kern="1200" dirty="0">
                        <a:solidFill>
                          <a:srgbClr val="002060"/>
                        </a:solidFill>
                        <a:latin typeface="Gotham Medium" panose="02000603030000020004" pitchFamily="2" charset="0"/>
                        <a:ea typeface="+mn-ea"/>
                        <a:cs typeface="Times New Roman" pitchFamily="18" charset="0"/>
                      </a:endParaRPr>
                    </a:p>
                  </a:txBody>
                  <a:tcPr marL="121920" marR="121920" marT="60951" marB="60951"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pt-BR" sz="1400" kern="1200" dirty="0">
                          <a:latin typeface="Gotham Medium" panose="02000603030000020004" pitchFamily="2" charset="0"/>
                        </a:rPr>
                        <a:t>Medical Electronics</a:t>
                      </a:r>
                      <a:endParaRPr lang="pt-BR" sz="1400" kern="1200" dirty="0">
                        <a:solidFill>
                          <a:srgbClr val="002060"/>
                        </a:solidFill>
                        <a:latin typeface="Gotham Medium" panose="02000603030000020004" pitchFamily="2" charset="0"/>
                        <a:ea typeface="+mn-ea"/>
                        <a:cs typeface="+mn-cs"/>
                      </a:endParaRPr>
                    </a:p>
                  </a:txBody>
                  <a:tcPr marL="121930" marR="121930" marT="60969" marB="60969" anchor="ctr"/>
                </a:tc>
                <a:extLst>
                  <a:ext uri="{0D108BD9-81ED-4DB2-BD59-A6C34878D82A}">
                    <a16:rowId xmlns:a16="http://schemas.microsoft.com/office/drawing/2014/main" val="10005"/>
                  </a:ext>
                </a:extLst>
              </a:tr>
              <a:tr h="411480">
                <a:tc vMerge="1">
                  <a:txBody>
                    <a:bodyPr/>
                    <a:lstStyle/>
                    <a:p>
                      <a:pPr algn="ctr"/>
                      <a:endParaRPr lang="en-US" sz="1400" b="1" dirty="0">
                        <a:solidFill>
                          <a:srgbClr val="002060"/>
                        </a:solidFill>
                        <a:latin typeface="Gotham Medium" panose="02000603030000020004" pitchFamily="2" charset="0"/>
                        <a:cs typeface="Times New Roman" pitchFamily="18" charset="0"/>
                      </a:endParaRPr>
                    </a:p>
                  </a:txBody>
                  <a:tcPr marL="121920" marR="121920" marT="60951" marB="60951" anchor="ctr"/>
                </a:tc>
                <a:tc>
                  <a:txBody>
                    <a:bodyPr/>
                    <a:lstStyle/>
                    <a:p>
                      <a:pPr algn="ctr"/>
                      <a:r>
                        <a:rPr lang="en-US" sz="1400" dirty="0">
                          <a:latin typeface="Gotham Medium" panose="02000603030000020004" pitchFamily="2" charset="0"/>
                        </a:rPr>
                        <a:t>Industrial </a:t>
                      </a:r>
                      <a:r>
                        <a:rPr lang="en-US" sz="1400" kern="1200" dirty="0">
                          <a:latin typeface="Gotham Medium" panose="02000603030000020004" pitchFamily="2" charset="0"/>
                        </a:rPr>
                        <a:t>Engineering</a:t>
                      </a:r>
                      <a:endParaRPr lang="en-US" sz="1400" b="1" kern="1200" dirty="0">
                        <a:solidFill>
                          <a:srgbClr val="002060"/>
                        </a:solidFill>
                        <a:latin typeface="Gotham Medium" panose="02000603030000020004" pitchFamily="2" charset="0"/>
                        <a:ea typeface="+mn-ea"/>
                        <a:cs typeface="Times New Roman" pitchFamily="18" charset="0"/>
                      </a:endParaRPr>
                    </a:p>
                  </a:txBody>
                  <a:tcPr marL="121920" marR="121920" marT="60951" marB="60951"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endParaRPr lang="en-US" sz="1400" b="1" dirty="0">
                        <a:solidFill>
                          <a:srgbClr val="002060"/>
                        </a:solidFill>
                        <a:latin typeface="Gotham Medium" panose="02000603030000020004" pitchFamily="2" charset="0"/>
                        <a:cs typeface="Times New Roman" pitchFamily="18" charset="0"/>
                      </a:endParaRPr>
                    </a:p>
                  </a:txBody>
                  <a:tcPr marL="121920" marR="121920" marT="60951" marB="60951"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027154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5CF2E7-CCE0-489C-9B81-6D722B53AC92}"/>
              </a:ext>
            </a:extLst>
          </p:cNvPr>
          <p:cNvSpPr/>
          <p:nvPr/>
        </p:nvSpPr>
        <p:spPr>
          <a:xfrm>
            <a:off x="8763000" y="1047750"/>
            <a:ext cx="76200" cy="4095750"/>
          </a:xfrm>
          <a:prstGeom prst="rect">
            <a:avLst/>
          </a:prstGeom>
          <a:solidFill>
            <a:srgbClr val="FEC6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10" name="Rectangle 9">
            <a:extLst>
              <a:ext uri="{FF2B5EF4-FFF2-40B4-BE49-F238E27FC236}">
                <a16:creationId xmlns:a16="http://schemas.microsoft.com/office/drawing/2014/main" id="{60E69E56-59A2-4DA6-8206-89AB64632A77}"/>
              </a:ext>
            </a:extLst>
          </p:cNvPr>
          <p:cNvSpPr/>
          <p:nvPr/>
        </p:nvSpPr>
        <p:spPr>
          <a:xfrm>
            <a:off x="304800" y="0"/>
            <a:ext cx="76200" cy="470535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11" name="Title 1">
            <a:extLst>
              <a:ext uri="{FF2B5EF4-FFF2-40B4-BE49-F238E27FC236}">
                <a16:creationId xmlns:a16="http://schemas.microsoft.com/office/drawing/2014/main" id="{13FD27CC-0B8B-46B6-8402-3AA2A7F76181}"/>
              </a:ext>
            </a:extLst>
          </p:cNvPr>
          <p:cNvSpPr txBox="1">
            <a:spLocks/>
          </p:cNvSpPr>
          <p:nvPr/>
        </p:nvSpPr>
        <p:spPr>
          <a:xfrm>
            <a:off x="597876" y="438150"/>
            <a:ext cx="7936524" cy="435858"/>
          </a:xfrm>
          <a:prstGeom prst="rect">
            <a:avLst/>
          </a:prstGeom>
          <a:effectLst/>
        </p:spPr>
        <p:txBody>
          <a:bodyPr vert="horz" lIns="91440" tIns="45720" rIns="91440" bIns="45720" rtlCol="0" anchor="ctr">
            <a:noAutofit/>
          </a:bodyPr>
          <a:lstStyle>
            <a:lvl1pPr algn="ctr" defTabSz="914378"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Different Engineering Courses</a:t>
            </a:r>
          </a:p>
        </p:txBody>
      </p:sp>
      <p:sp>
        <p:nvSpPr>
          <p:cNvPr id="8" name="Content Placeholder 2">
            <a:extLst>
              <a:ext uri="{FF2B5EF4-FFF2-40B4-BE49-F238E27FC236}">
                <a16:creationId xmlns:a16="http://schemas.microsoft.com/office/drawing/2014/main" id="{3EC5AF50-7C74-46B1-8CDE-12AC4A1FBFDB}"/>
              </a:ext>
            </a:extLst>
          </p:cNvPr>
          <p:cNvSpPr>
            <a:spLocks noGrp="1"/>
          </p:cNvSpPr>
          <p:nvPr>
            <p:ph idx="1"/>
          </p:nvPr>
        </p:nvSpPr>
        <p:spPr>
          <a:xfrm>
            <a:off x="597877" y="1021060"/>
            <a:ext cx="8162882" cy="457199"/>
          </a:xfrm>
        </p:spPr>
        <p:txBody>
          <a:bodyPr>
            <a:normAutofit lnSpcReduction="10000"/>
          </a:bodyPr>
          <a:lstStyle/>
          <a:p>
            <a:pPr marL="0" indent="0">
              <a:lnSpc>
                <a:spcPct val="120000"/>
              </a:lnSpc>
              <a:buNone/>
            </a:pPr>
            <a:r>
              <a:rPr lang="en-US" sz="2000" dirty="0">
                <a:latin typeface="Gotham Medium" panose="02000603030000020004" pitchFamily="2" charset="0"/>
              </a:rPr>
              <a:t>Total of </a:t>
            </a:r>
            <a:r>
              <a:rPr lang="en-US" sz="2000" b="1" dirty="0">
                <a:solidFill>
                  <a:srgbClr val="FF3300"/>
                </a:solidFill>
                <a:latin typeface="Gotham Medium" panose="02000603030000020004" pitchFamily="2" charset="0"/>
              </a:rPr>
              <a:t>190</a:t>
            </a:r>
            <a:r>
              <a:rPr lang="en-US" sz="2000" dirty="0">
                <a:latin typeface="Gotham Medium" panose="02000603030000020004" pitchFamily="2" charset="0"/>
              </a:rPr>
              <a:t> different courses available in India at UG level</a:t>
            </a:r>
          </a:p>
        </p:txBody>
      </p:sp>
      <p:graphicFrame>
        <p:nvGraphicFramePr>
          <p:cNvPr id="13" name="Table 12">
            <a:extLst>
              <a:ext uri="{FF2B5EF4-FFF2-40B4-BE49-F238E27FC236}">
                <a16:creationId xmlns:a16="http://schemas.microsoft.com/office/drawing/2014/main" id="{B79AC49C-885A-4EBD-84D4-AD6D5828DB39}"/>
              </a:ext>
            </a:extLst>
          </p:cNvPr>
          <p:cNvGraphicFramePr>
            <a:graphicFrameLocks noGrp="1"/>
          </p:cNvGraphicFramePr>
          <p:nvPr>
            <p:extLst>
              <p:ext uri="{D42A27DB-BD31-4B8C-83A1-F6EECF244321}">
                <p14:modId xmlns:p14="http://schemas.microsoft.com/office/powerpoint/2010/main" val="621930219"/>
              </p:ext>
            </p:extLst>
          </p:nvPr>
        </p:nvGraphicFramePr>
        <p:xfrm>
          <a:off x="381000" y="1625311"/>
          <a:ext cx="8379759" cy="3352848"/>
        </p:xfrm>
        <a:graphic>
          <a:graphicData uri="http://schemas.openxmlformats.org/drawingml/2006/table">
            <a:tbl>
              <a:tblPr firstRow="1" bandRow="1">
                <a:tableStyleId>{5940675A-B579-460E-94D1-54222C63F5DA}</a:tableStyleId>
              </a:tblPr>
              <a:tblGrid>
                <a:gridCol w="2094940">
                  <a:extLst>
                    <a:ext uri="{9D8B030D-6E8A-4147-A177-3AD203B41FA5}">
                      <a16:colId xmlns:a16="http://schemas.microsoft.com/office/drawing/2014/main" val="20000"/>
                    </a:ext>
                  </a:extLst>
                </a:gridCol>
                <a:gridCol w="2094940">
                  <a:extLst>
                    <a:ext uri="{9D8B030D-6E8A-4147-A177-3AD203B41FA5}">
                      <a16:colId xmlns:a16="http://schemas.microsoft.com/office/drawing/2014/main" val="20001"/>
                    </a:ext>
                  </a:extLst>
                </a:gridCol>
                <a:gridCol w="2038962">
                  <a:extLst>
                    <a:ext uri="{9D8B030D-6E8A-4147-A177-3AD203B41FA5}">
                      <a16:colId xmlns:a16="http://schemas.microsoft.com/office/drawing/2014/main" val="20002"/>
                    </a:ext>
                  </a:extLst>
                </a:gridCol>
                <a:gridCol w="2150917">
                  <a:extLst>
                    <a:ext uri="{9D8B030D-6E8A-4147-A177-3AD203B41FA5}">
                      <a16:colId xmlns:a16="http://schemas.microsoft.com/office/drawing/2014/main" val="2650538884"/>
                    </a:ext>
                  </a:extLst>
                </a:gridCol>
              </a:tblGrid>
              <a:tr h="6067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bg1"/>
                          </a:solidFill>
                          <a:latin typeface="Gotham Medium" panose="02000603030000020004" pitchFamily="2" charset="0"/>
                        </a:rPr>
                        <a:t>Information Tech. Revolution</a:t>
                      </a:r>
                    </a:p>
                  </a:txBody>
                  <a:tcPr marL="121920" marR="121920" marT="60951" marB="60951" anchor="ctr">
                    <a:solidFill>
                      <a:schemeClr val="tx1">
                        <a:lumMod val="50000"/>
                        <a:lumOff val="5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Gotham Medium" panose="02000603030000020004" pitchFamily="2" charset="0"/>
                        </a:rPr>
                        <a:t>Life Science</a:t>
                      </a:r>
                    </a:p>
                  </a:txBody>
                  <a:tcPr marL="121920" marR="121920" marT="60951" marB="60951" anchor="ctr">
                    <a:solidFill>
                      <a:schemeClr val="tx1">
                        <a:lumMod val="50000"/>
                        <a:lumOff val="5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Gotham Medium" panose="02000603030000020004" pitchFamily="2" charset="0"/>
                        </a:rPr>
                        <a:t>Specific Branches </a:t>
                      </a:r>
                      <a:endParaRPr lang="en-US" sz="1600" dirty="0">
                        <a:solidFill>
                          <a:schemeClr val="bg1"/>
                        </a:solidFill>
                        <a:latin typeface="Gotham Medium" panose="02000603030000020004" pitchFamily="2" charset="0"/>
                        <a:cs typeface="Times New Roman" pitchFamily="18" charset="0"/>
                      </a:endParaRPr>
                    </a:p>
                  </a:txBody>
                  <a:tcPr marL="121920" marR="121920" marT="60951" marB="60951" anchor="ctr">
                    <a:solidFill>
                      <a:schemeClr val="tx1">
                        <a:lumMod val="50000"/>
                        <a:lumOff val="5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Gotham Medium" panose="02000603030000020004" pitchFamily="2" charset="0"/>
                        </a:rPr>
                        <a:t>Upcoming Branches </a:t>
                      </a:r>
                      <a:endParaRPr lang="en-US" sz="1600" dirty="0">
                        <a:solidFill>
                          <a:schemeClr val="bg1"/>
                        </a:solidFill>
                        <a:latin typeface="Gotham Medium" panose="02000603030000020004" pitchFamily="2" charset="0"/>
                        <a:cs typeface="Times New Roman" pitchFamily="18" charset="0"/>
                      </a:endParaRPr>
                    </a:p>
                  </a:txBody>
                  <a:tcPr marL="121920" marR="121920" marT="60951" marB="60951" anchor="ctr">
                    <a:solidFill>
                      <a:schemeClr val="tx1">
                        <a:lumMod val="50000"/>
                        <a:lumOff val="50000"/>
                      </a:schemeClr>
                    </a:solidFill>
                  </a:tcPr>
                </a:tc>
                <a:extLst>
                  <a:ext uri="{0D108BD9-81ED-4DB2-BD59-A6C34878D82A}">
                    <a16:rowId xmlns:a16="http://schemas.microsoft.com/office/drawing/2014/main" val="10000"/>
                  </a:ext>
                </a:extLst>
              </a:tr>
              <a:tr h="531050">
                <a:tc>
                  <a:txBody>
                    <a:bodyPr/>
                    <a:lstStyle/>
                    <a:p>
                      <a:pPr marL="0" algn="ctr" defTabSz="914400" rtl="0" eaLnBrk="1" latinLnBrk="0" hangingPunct="1"/>
                      <a:r>
                        <a:rPr lang="fr-FR" sz="1400" kern="1200" dirty="0">
                          <a:latin typeface="Gotham Medium" panose="02000603030000020004" pitchFamily="2" charset="0"/>
                        </a:rPr>
                        <a:t>Computer Engineering</a:t>
                      </a:r>
                      <a:endParaRPr lang="en-US" sz="1400" kern="1200" dirty="0">
                        <a:solidFill>
                          <a:srgbClr val="002060"/>
                        </a:solidFill>
                        <a:latin typeface="Gotham Medium" panose="02000603030000020004" pitchFamily="2" charset="0"/>
                        <a:ea typeface="+mn-ea"/>
                        <a:cs typeface="+mn-cs"/>
                      </a:endParaRPr>
                    </a:p>
                  </a:txBody>
                  <a:tcPr marL="121930" marR="121930" marT="60969" marB="60969"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kern="1200" dirty="0">
                          <a:latin typeface="Gotham Medium" panose="02000603030000020004" pitchFamily="2" charset="0"/>
                        </a:rPr>
                        <a:t>Chemical Engineering</a:t>
                      </a:r>
                      <a:endParaRPr lang="en-US" sz="1400" kern="1200" dirty="0">
                        <a:solidFill>
                          <a:srgbClr val="002060"/>
                        </a:solidFill>
                        <a:latin typeface="Gotham Medium" panose="02000603030000020004" pitchFamily="2" charset="0"/>
                        <a:ea typeface="+mn-ea"/>
                        <a:cs typeface="+mn-cs"/>
                      </a:endParaRPr>
                    </a:p>
                  </a:txBody>
                  <a:tcPr marL="121930" marR="121930" marT="60957" marB="60957" anchor="ctr"/>
                </a:tc>
                <a:tc>
                  <a:txBody>
                    <a:bodyPr/>
                    <a:lstStyle/>
                    <a:p>
                      <a:pPr marL="0" algn="ctr" defTabSz="914400" rtl="0" eaLnBrk="1" latinLnBrk="0" hangingPunct="1"/>
                      <a:r>
                        <a:rPr lang="en-US" sz="1400" kern="1200" dirty="0">
                          <a:latin typeface="Gotham Medium" panose="02000603030000020004" pitchFamily="2" charset="0"/>
                        </a:rPr>
                        <a:t>Aeronautical</a:t>
                      </a:r>
                      <a:r>
                        <a:rPr lang="fr-FR" sz="1400" kern="1200" dirty="0">
                          <a:latin typeface="Gotham Medium" panose="02000603030000020004" pitchFamily="2" charset="0"/>
                        </a:rPr>
                        <a:t> </a:t>
                      </a:r>
                      <a:r>
                        <a:rPr lang="en-US" sz="1400" kern="1200" dirty="0">
                          <a:latin typeface="Gotham Medium" panose="02000603030000020004" pitchFamily="2" charset="0"/>
                        </a:rPr>
                        <a:t>Engineering</a:t>
                      </a:r>
                      <a:endParaRPr lang="en-US" sz="1400" kern="1200" dirty="0">
                        <a:solidFill>
                          <a:srgbClr val="002060"/>
                        </a:solidFill>
                        <a:latin typeface="Gotham Medium" panose="02000603030000020004" pitchFamily="2" charset="0"/>
                        <a:ea typeface="+mn-ea"/>
                        <a:cs typeface="+mn-cs"/>
                      </a:endParaRPr>
                    </a:p>
                  </a:txBody>
                  <a:tcPr marL="121930" marR="121930" marT="60957" marB="60957" anchor="ctr"/>
                </a:tc>
                <a:tc>
                  <a:txBody>
                    <a:bodyPr/>
                    <a:lstStyle/>
                    <a:p>
                      <a:pPr marL="0" algn="ctr" defTabSz="914400" rtl="0" eaLnBrk="1" latinLnBrk="0" hangingPunct="1"/>
                      <a:r>
                        <a:rPr lang="en-US" sz="1400" kern="1200" dirty="0">
                          <a:latin typeface="Gotham Medium" panose="02000603030000020004" pitchFamily="2" charset="0"/>
                        </a:rPr>
                        <a:t>Robotics &amp; Automation</a:t>
                      </a:r>
                      <a:endParaRPr lang="en-US" sz="1400" kern="1200" dirty="0">
                        <a:solidFill>
                          <a:srgbClr val="002060"/>
                        </a:solidFill>
                        <a:latin typeface="Gotham Medium" panose="02000603030000020004" pitchFamily="2" charset="0"/>
                        <a:ea typeface="+mn-ea"/>
                        <a:cs typeface="+mn-cs"/>
                      </a:endParaRPr>
                    </a:p>
                  </a:txBody>
                  <a:tcPr marL="121930" marR="121930" marT="60957" marB="60957" anchor="ctr"/>
                </a:tc>
                <a:extLst>
                  <a:ext uri="{0D108BD9-81ED-4DB2-BD59-A6C34878D82A}">
                    <a16:rowId xmlns:a16="http://schemas.microsoft.com/office/drawing/2014/main" val="10001"/>
                  </a:ext>
                </a:extLst>
              </a:tr>
              <a:tr h="531050">
                <a:tc>
                  <a:txBody>
                    <a:bodyPr/>
                    <a:lstStyle/>
                    <a:p>
                      <a:pPr marL="0" algn="ctr" defTabSz="914400" rtl="0" eaLnBrk="1" latinLnBrk="0" hangingPunct="1"/>
                      <a:r>
                        <a:rPr lang="fr-FR" sz="1400" kern="1200" dirty="0">
                          <a:latin typeface="Gotham Medium" panose="02000603030000020004" pitchFamily="2" charset="0"/>
                        </a:rPr>
                        <a:t>Computer Science &amp; Engineering</a:t>
                      </a:r>
                      <a:endParaRPr lang="en-US" sz="1400" kern="1200" dirty="0">
                        <a:solidFill>
                          <a:srgbClr val="002060"/>
                        </a:solidFill>
                        <a:latin typeface="Gotham Medium" panose="02000603030000020004" pitchFamily="2" charset="0"/>
                        <a:ea typeface="+mn-ea"/>
                        <a:cs typeface="+mn-cs"/>
                      </a:endParaRPr>
                    </a:p>
                  </a:txBody>
                  <a:tcPr marL="121930" marR="121930" marT="60969" marB="60969"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kern="1200" dirty="0">
                          <a:latin typeface="Gotham Medium" panose="02000603030000020004" pitchFamily="2" charset="0"/>
                        </a:rPr>
                        <a:t>Bioinformatics</a:t>
                      </a:r>
                      <a:endParaRPr lang="en-US" sz="1400" kern="1200" dirty="0">
                        <a:solidFill>
                          <a:srgbClr val="002060"/>
                        </a:solidFill>
                        <a:latin typeface="Gotham Medium" panose="02000603030000020004" pitchFamily="2" charset="0"/>
                        <a:ea typeface="+mn-ea"/>
                        <a:cs typeface="+mn-cs"/>
                      </a:endParaRPr>
                    </a:p>
                  </a:txBody>
                  <a:tcPr marL="121930" marR="121930" marT="60957" marB="60957" anchor="ctr"/>
                </a:tc>
                <a:tc>
                  <a:txBody>
                    <a:bodyPr/>
                    <a:lstStyle/>
                    <a:p>
                      <a:pPr marL="0" algn="ctr" defTabSz="914400" rtl="0" eaLnBrk="1" latinLnBrk="0" hangingPunct="1"/>
                      <a:r>
                        <a:rPr lang="en-US" sz="1400" kern="1200" dirty="0">
                          <a:latin typeface="Gotham Medium" panose="02000603030000020004" pitchFamily="2" charset="0"/>
                        </a:rPr>
                        <a:t>Marine Engineering</a:t>
                      </a:r>
                      <a:endParaRPr lang="en-US" sz="1400" kern="1200" dirty="0">
                        <a:solidFill>
                          <a:srgbClr val="002060"/>
                        </a:solidFill>
                        <a:latin typeface="Gotham Medium" panose="02000603030000020004" pitchFamily="2" charset="0"/>
                        <a:ea typeface="+mn-ea"/>
                        <a:cs typeface="+mn-cs"/>
                      </a:endParaRPr>
                    </a:p>
                  </a:txBody>
                  <a:tcPr marL="121930" marR="121930" marT="60957" marB="60957" anchor="ctr"/>
                </a:tc>
                <a:tc>
                  <a:txBody>
                    <a:bodyPr/>
                    <a:lstStyle/>
                    <a:p>
                      <a:pPr marL="0" algn="ctr" defTabSz="914400" rtl="0" eaLnBrk="1" latinLnBrk="0" hangingPunct="1"/>
                      <a:r>
                        <a:rPr lang="en-US" sz="1400" kern="1200" dirty="0">
                          <a:latin typeface="Gotham Medium" panose="02000603030000020004" pitchFamily="2" charset="0"/>
                        </a:rPr>
                        <a:t>Artificial Intelligence</a:t>
                      </a:r>
                      <a:r>
                        <a:rPr lang="en-US" sz="1400" kern="1200" baseline="0" dirty="0">
                          <a:latin typeface="Gotham Medium" panose="02000603030000020004" pitchFamily="2" charset="0"/>
                        </a:rPr>
                        <a:t> </a:t>
                      </a:r>
                    </a:p>
                    <a:p>
                      <a:pPr marL="0" algn="ctr" defTabSz="914400" rtl="0" eaLnBrk="1" latinLnBrk="0" hangingPunct="1"/>
                      <a:r>
                        <a:rPr lang="en-US" sz="1400" kern="1200" baseline="0" dirty="0">
                          <a:solidFill>
                            <a:schemeClr val="tx1"/>
                          </a:solidFill>
                          <a:latin typeface="Gotham Medium" panose="02000603030000020004" pitchFamily="2" charset="0"/>
                          <a:ea typeface="+mn-ea"/>
                          <a:cs typeface="+mn-cs"/>
                        </a:rPr>
                        <a:t>Machine Learning</a:t>
                      </a:r>
                      <a:endParaRPr lang="en-US" sz="1400" kern="1200" dirty="0">
                        <a:solidFill>
                          <a:schemeClr val="tx1"/>
                        </a:solidFill>
                        <a:latin typeface="Gotham Medium" panose="02000603030000020004" pitchFamily="2" charset="0"/>
                        <a:ea typeface="+mn-ea"/>
                        <a:cs typeface="+mn-cs"/>
                      </a:endParaRPr>
                    </a:p>
                  </a:txBody>
                  <a:tcPr marL="121930" marR="121930" marT="60957" marB="60957" anchor="ctr"/>
                </a:tc>
                <a:extLst>
                  <a:ext uri="{0D108BD9-81ED-4DB2-BD59-A6C34878D82A}">
                    <a16:rowId xmlns:a16="http://schemas.microsoft.com/office/drawing/2014/main" val="10002"/>
                  </a:ext>
                </a:extLst>
              </a:tr>
              <a:tr h="531050">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fr-FR" sz="1400" kern="1200" dirty="0">
                          <a:latin typeface="Gotham Medium" panose="02000603030000020004" pitchFamily="2" charset="0"/>
                        </a:rPr>
                        <a:t>Information </a:t>
                      </a:r>
                      <a:r>
                        <a:rPr lang="en-US" sz="1400" kern="1200" dirty="0">
                          <a:latin typeface="Gotham Medium" panose="02000603030000020004" pitchFamily="2" charset="0"/>
                        </a:rPr>
                        <a:t>Technology</a:t>
                      </a:r>
                      <a:endParaRPr lang="en-US" sz="1400" kern="1200" dirty="0">
                        <a:solidFill>
                          <a:srgbClr val="002060"/>
                        </a:solidFill>
                        <a:latin typeface="Gotham Medium" panose="02000603030000020004" pitchFamily="2" charset="0"/>
                        <a:ea typeface="+mn-ea"/>
                        <a:cs typeface="+mn-cs"/>
                      </a:endParaRPr>
                    </a:p>
                  </a:txBody>
                  <a:tcPr marL="121930" marR="121930" marT="60969" marB="60969"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kern="1200" dirty="0">
                          <a:latin typeface="Gotham Medium" panose="02000603030000020004" pitchFamily="2" charset="0"/>
                        </a:rPr>
                        <a:t>Bio – Medical Engineering</a:t>
                      </a:r>
                      <a:endParaRPr lang="en-US" sz="1400" kern="1200" dirty="0">
                        <a:solidFill>
                          <a:srgbClr val="002060"/>
                        </a:solidFill>
                        <a:latin typeface="Gotham Medium" panose="02000603030000020004" pitchFamily="2" charset="0"/>
                        <a:ea typeface="+mn-ea"/>
                        <a:cs typeface="+mn-cs"/>
                      </a:endParaRPr>
                    </a:p>
                  </a:txBody>
                  <a:tcPr marL="121930" marR="121930" marT="60957" marB="60957" anchor="ctr"/>
                </a:tc>
                <a:tc>
                  <a:txBody>
                    <a:bodyPr/>
                    <a:lstStyle/>
                    <a:p>
                      <a:pPr marL="0" algn="ctr" defTabSz="914400" rtl="0" eaLnBrk="1" latinLnBrk="0" hangingPunct="1"/>
                      <a:r>
                        <a:rPr lang="en-US" sz="1400" kern="1200" dirty="0">
                          <a:latin typeface="Gotham Medium" panose="02000603030000020004" pitchFamily="2" charset="0"/>
                        </a:rPr>
                        <a:t>Textile</a:t>
                      </a:r>
                      <a:endParaRPr lang="en-US" sz="1400" kern="1200" dirty="0">
                        <a:solidFill>
                          <a:srgbClr val="002060"/>
                        </a:solidFill>
                        <a:latin typeface="Gotham Medium" panose="02000603030000020004" pitchFamily="2" charset="0"/>
                        <a:ea typeface="+mn-ea"/>
                        <a:cs typeface="+mn-cs"/>
                      </a:endParaRPr>
                    </a:p>
                  </a:txBody>
                  <a:tcPr marL="121930" marR="121930" marT="60957" marB="60957" anchor="ctr"/>
                </a:tc>
                <a:tc>
                  <a:txBody>
                    <a:bodyPr/>
                    <a:lstStyle/>
                    <a:p>
                      <a:pPr marL="0" algn="ctr" defTabSz="914400" rtl="0" eaLnBrk="1" latinLnBrk="0" hangingPunct="1"/>
                      <a:r>
                        <a:rPr lang="en-US" sz="1400" kern="1200" dirty="0">
                          <a:latin typeface="Gotham Medium" panose="02000603030000020004" pitchFamily="2" charset="0"/>
                        </a:rPr>
                        <a:t>Data Science</a:t>
                      </a:r>
                      <a:endParaRPr lang="en-US" sz="1400" kern="1200" dirty="0">
                        <a:solidFill>
                          <a:srgbClr val="002060"/>
                        </a:solidFill>
                        <a:latin typeface="Gotham Medium" panose="02000603030000020004" pitchFamily="2" charset="0"/>
                        <a:ea typeface="+mn-ea"/>
                        <a:cs typeface="+mn-cs"/>
                      </a:endParaRPr>
                    </a:p>
                  </a:txBody>
                  <a:tcPr marL="121930" marR="121930" marT="60957" marB="60957" anchor="ctr"/>
                </a:tc>
                <a:extLst>
                  <a:ext uri="{0D108BD9-81ED-4DB2-BD59-A6C34878D82A}">
                    <a16:rowId xmlns:a16="http://schemas.microsoft.com/office/drawing/2014/main" val="10003"/>
                  </a:ext>
                </a:extLst>
              </a:tr>
              <a:tr h="531050">
                <a:tc>
                  <a:txBody>
                    <a:bodyPr/>
                    <a:lstStyle/>
                    <a:p>
                      <a:pPr marL="0" algn="ctr" defTabSz="914400" rtl="0" eaLnBrk="1" latinLnBrk="0" hangingPunct="1"/>
                      <a:r>
                        <a:rPr lang="fr-FR" sz="1400" kern="1200" dirty="0">
                          <a:latin typeface="Gotham Medium" panose="02000603030000020004" pitchFamily="2" charset="0"/>
                        </a:rPr>
                        <a:t>Information Science &amp; Engineering</a:t>
                      </a:r>
                      <a:endParaRPr lang="en-US" sz="1400" kern="1200" dirty="0">
                        <a:solidFill>
                          <a:srgbClr val="002060"/>
                        </a:solidFill>
                        <a:latin typeface="Gotham Medium" panose="02000603030000020004" pitchFamily="2" charset="0"/>
                        <a:ea typeface="+mn-ea"/>
                        <a:cs typeface="+mn-cs"/>
                      </a:endParaRPr>
                    </a:p>
                  </a:txBody>
                  <a:tcPr marL="121930" marR="121930" marT="60969" marB="60969"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kern="1200" dirty="0">
                          <a:latin typeface="Gotham Medium" panose="02000603030000020004" pitchFamily="2" charset="0"/>
                        </a:rPr>
                        <a:t>Biotechnology</a:t>
                      </a:r>
                      <a:endParaRPr lang="en-US" sz="1400" kern="1200" dirty="0">
                        <a:solidFill>
                          <a:srgbClr val="002060"/>
                        </a:solidFill>
                        <a:latin typeface="Gotham Medium" panose="02000603030000020004" pitchFamily="2" charset="0"/>
                        <a:ea typeface="+mn-ea"/>
                        <a:cs typeface="+mn-cs"/>
                      </a:endParaRPr>
                    </a:p>
                  </a:txBody>
                  <a:tcPr marL="121930" marR="121930" marT="60957" marB="60957"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Gotham Medium" panose="02000603030000020004" pitchFamily="2" charset="0"/>
                          <a:ea typeface="+mn-ea"/>
                          <a:cs typeface="+mn-cs"/>
                        </a:rPr>
                        <a:t>Petroleum Engineering</a:t>
                      </a:r>
                    </a:p>
                  </a:txBody>
                  <a:tcPr marL="121930" marR="121930" marT="60957" marB="60957"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kern="1200" dirty="0">
                          <a:latin typeface="Gotham Medium" panose="02000603030000020004" pitchFamily="2" charset="0"/>
                        </a:rPr>
                        <a:t>Internet of Things &amp;</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Gotham Medium" panose="02000603030000020004" pitchFamily="2" charset="0"/>
                          <a:ea typeface="+mn-ea"/>
                          <a:cs typeface="+mn-cs"/>
                        </a:rPr>
                        <a:t>Cyber</a:t>
                      </a:r>
                      <a:r>
                        <a:rPr lang="en-US" sz="1400" kern="1200" baseline="0" dirty="0">
                          <a:solidFill>
                            <a:schemeClr val="tx1"/>
                          </a:solidFill>
                          <a:latin typeface="Gotham Medium" panose="02000603030000020004" pitchFamily="2" charset="0"/>
                          <a:ea typeface="+mn-ea"/>
                          <a:cs typeface="+mn-cs"/>
                        </a:rPr>
                        <a:t> Security</a:t>
                      </a:r>
                      <a:endParaRPr lang="en-US" sz="1400" kern="1200" dirty="0">
                        <a:solidFill>
                          <a:schemeClr val="tx1"/>
                        </a:solidFill>
                        <a:latin typeface="Gotham Medium" panose="02000603030000020004" pitchFamily="2" charset="0"/>
                        <a:ea typeface="+mn-ea"/>
                        <a:cs typeface="+mn-cs"/>
                      </a:endParaRPr>
                    </a:p>
                  </a:txBody>
                  <a:tcPr marL="121930" marR="121930" marT="60957" marB="60957" anchor="ctr"/>
                </a:tc>
                <a:extLst>
                  <a:ext uri="{0D108BD9-81ED-4DB2-BD59-A6C34878D82A}">
                    <a16:rowId xmlns:a16="http://schemas.microsoft.com/office/drawing/2014/main" val="10004"/>
                  </a:ext>
                </a:extLst>
              </a:tr>
              <a:tr h="425310">
                <a:tc>
                  <a:txBody>
                    <a:bodyPr/>
                    <a:lstStyle/>
                    <a:p>
                      <a:pPr marL="0" algn="ctr" defTabSz="914400" rtl="0" eaLnBrk="1" latinLnBrk="0" hangingPunct="1"/>
                      <a:endParaRPr lang="en-US" sz="1400" kern="1200" dirty="0">
                        <a:solidFill>
                          <a:srgbClr val="002060"/>
                        </a:solidFill>
                        <a:latin typeface="Gotham Medium" panose="02000603030000020004" pitchFamily="2" charset="0"/>
                        <a:ea typeface="+mn-ea"/>
                        <a:cs typeface="+mn-cs"/>
                      </a:endParaRPr>
                    </a:p>
                  </a:txBody>
                  <a:tcPr marL="121930" marR="121930" marT="60969" marB="60969"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endParaRPr lang="en-US" sz="1400" kern="1200" dirty="0">
                        <a:solidFill>
                          <a:srgbClr val="002060"/>
                        </a:solidFill>
                        <a:latin typeface="Gotham Medium" panose="02000603030000020004" pitchFamily="2" charset="0"/>
                        <a:ea typeface="+mn-ea"/>
                        <a:cs typeface="+mn-cs"/>
                      </a:endParaRPr>
                    </a:p>
                  </a:txBody>
                  <a:tcPr marL="121930" marR="121930" marT="60957" marB="60957"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Gotham Medium" panose="02000603030000020004" pitchFamily="2" charset="0"/>
                          <a:ea typeface="+mn-ea"/>
                          <a:cs typeface="+mn-cs"/>
                        </a:rPr>
                        <a:t>Paint </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Gotham Medium" panose="02000603030000020004" pitchFamily="2" charset="0"/>
                          <a:ea typeface="+mn-ea"/>
                          <a:cs typeface="+mn-cs"/>
                        </a:rPr>
                        <a:t>Technology</a:t>
                      </a:r>
                    </a:p>
                  </a:txBody>
                  <a:tcPr marL="121930" marR="121930" marT="60957" marB="60957"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Gotham Medium" panose="02000603030000020004" pitchFamily="2" charset="0"/>
                          <a:ea typeface="+mn-ea"/>
                          <a:cs typeface="+mn-cs"/>
                        </a:rPr>
                        <a:t>Block chain </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Gotham Medium" panose="02000603030000020004" pitchFamily="2" charset="0"/>
                          <a:ea typeface="+mn-ea"/>
                          <a:cs typeface="+mn-cs"/>
                        </a:rPr>
                        <a:t>Technology</a:t>
                      </a:r>
                    </a:p>
                  </a:txBody>
                  <a:tcPr marL="121930" marR="121930" marT="60957" marB="60957" anchor="ctr"/>
                </a:tc>
                <a:extLst>
                  <a:ext uri="{0D108BD9-81ED-4DB2-BD59-A6C34878D82A}">
                    <a16:rowId xmlns:a16="http://schemas.microsoft.com/office/drawing/2014/main" val="1288564412"/>
                  </a:ext>
                </a:extLst>
              </a:tr>
            </a:tbl>
          </a:graphicData>
        </a:graphic>
      </p:graphicFrame>
    </p:spTree>
    <p:extLst>
      <p:ext uri="{BB962C8B-B14F-4D97-AF65-F5344CB8AC3E}">
        <p14:creationId xmlns:p14="http://schemas.microsoft.com/office/powerpoint/2010/main" val="4128828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7800" y="483874"/>
            <a:ext cx="3352800" cy="396018"/>
          </a:xfrm>
          <a:effectLst/>
        </p:spPr>
        <p:txBody>
          <a:bodyPr vert="horz" lIns="91440" tIns="45720" rIns="91440" bIns="45720" rtlCol="0" anchor="ctr">
            <a:noAutofit/>
          </a:bodyPr>
          <a:lstStyle/>
          <a:p>
            <a:pPr algn="l"/>
            <a:r>
              <a:rPr lang="en-US" sz="2800" dirty="0">
                <a:solidFill>
                  <a:srgbClr val="FF5969"/>
                </a:solidFill>
                <a:latin typeface="Gotham Bold" panose="02000803030000020004" pitchFamily="2" charset="0"/>
              </a:rPr>
              <a:t>Civil Engineering</a:t>
            </a:r>
          </a:p>
        </p:txBody>
      </p:sp>
      <p:sp>
        <p:nvSpPr>
          <p:cNvPr id="10" name="Rectangle 9">
            <a:extLst>
              <a:ext uri="{FF2B5EF4-FFF2-40B4-BE49-F238E27FC236}">
                <a16:creationId xmlns:a16="http://schemas.microsoft.com/office/drawing/2014/main" id="{56B7E077-A937-4026-9E21-BEF4980821E3}"/>
              </a:ext>
            </a:extLst>
          </p:cNvPr>
          <p:cNvSpPr/>
          <p:nvPr/>
        </p:nvSpPr>
        <p:spPr>
          <a:xfrm>
            <a:off x="0" y="532470"/>
            <a:ext cx="1447800" cy="298826"/>
          </a:xfrm>
          <a:prstGeom prst="rect">
            <a:avLst/>
          </a:prstGeom>
          <a:solidFill>
            <a:schemeClr val="tx1">
              <a:lumMod val="50000"/>
              <a:lumOff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4" name="Rectangle 3">
            <a:extLst>
              <a:ext uri="{FF2B5EF4-FFF2-40B4-BE49-F238E27FC236}">
                <a16:creationId xmlns:a16="http://schemas.microsoft.com/office/drawing/2014/main" id="{D3F1FED6-B129-465B-9E91-6CA4F8F9F8FE}"/>
              </a:ext>
            </a:extLst>
          </p:cNvPr>
          <p:cNvSpPr/>
          <p:nvPr/>
        </p:nvSpPr>
        <p:spPr>
          <a:xfrm>
            <a:off x="457200" y="1352550"/>
            <a:ext cx="4953000" cy="2677400"/>
          </a:xfrm>
          <a:prstGeom prst="rect">
            <a:avLst/>
          </a:prstGeom>
        </p:spPr>
        <p:txBody>
          <a:bodyPr wrap="square">
            <a:spAutoFit/>
          </a:bodyPr>
          <a:lstStyle/>
          <a:p>
            <a:pPr marL="285750" indent="-285750">
              <a:lnSpc>
                <a:spcPct val="150000"/>
              </a:lnSpc>
              <a:spcBef>
                <a:spcPts val="1200"/>
              </a:spcBef>
              <a:buFont typeface="Wingdings" panose="05000000000000000000" pitchFamily="2" charset="2"/>
              <a:buChar char="§"/>
            </a:pPr>
            <a:r>
              <a:rPr lang="en-US" dirty="0">
                <a:latin typeface="Gotham Medium" panose="02000603030000020004" pitchFamily="2" charset="0"/>
              </a:rPr>
              <a:t>Civil engineering is the oldest branch of engineering.</a:t>
            </a:r>
          </a:p>
          <a:p>
            <a:pPr marL="285750" indent="-285750">
              <a:lnSpc>
                <a:spcPct val="150000"/>
              </a:lnSpc>
              <a:spcBef>
                <a:spcPts val="1200"/>
              </a:spcBef>
              <a:buFont typeface="Wingdings" panose="05000000000000000000" pitchFamily="2" charset="2"/>
              <a:buChar char="§"/>
            </a:pPr>
            <a:r>
              <a:rPr lang="en-US" dirty="0">
                <a:latin typeface="Gotham Medium" panose="02000603030000020004" pitchFamily="2" charset="0"/>
              </a:rPr>
              <a:t>Civil Engineering deals with the </a:t>
            </a:r>
            <a:r>
              <a:rPr lang="en-US" dirty="0">
                <a:solidFill>
                  <a:srgbClr val="FF0000"/>
                </a:solidFill>
                <a:latin typeface="Gotham Medium" panose="02000603030000020004" pitchFamily="2" charset="0"/>
              </a:rPr>
              <a:t>Design, Construction and Maintenance of Structures or Public Works </a:t>
            </a:r>
            <a:r>
              <a:rPr lang="en-US" dirty="0">
                <a:latin typeface="Gotham Medium" panose="02000603030000020004" pitchFamily="2" charset="0"/>
              </a:rPr>
              <a:t>as they are related to earth, water or in space.</a:t>
            </a:r>
          </a:p>
        </p:txBody>
      </p:sp>
      <p:sp>
        <p:nvSpPr>
          <p:cNvPr id="7" name="Rectangle 6">
            <a:extLst>
              <a:ext uri="{FF2B5EF4-FFF2-40B4-BE49-F238E27FC236}">
                <a16:creationId xmlns:a16="http://schemas.microsoft.com/office/drawing/2014/main" id="{FB7A8DEC-D4B7-48E2-8BB0-722F7553E5EF}"/>
              </a:ext>
            </a:extLst>
          </p:cNvPr>
          <p:cNvSpPr/>
          <p:nvPr/>
        </p:nvSpPr>
        <p:spPr>
          <a:xfrm>
            <a:off x="6705600" y="666750"/>
            <a:ext cx="2438400" cy="4476750"/>
          </a:xfrm>
          <a:prstGeom prst="rect">
            <a:avLst/>
          </a:prstGeom>
          <a:solidFill>
            <a:srgbClr val="FEC63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pic>
        <p:nvPicPr>
          <p:cNvPr id="13320" name="Picture 8" descr="When is Engineers Day, Meaning, Theme, Importance">
            <a:extLst>
              <a:ext uri="{FF2B5EF4-FFF2-40B4-BE49-F238E27FC236}">
                <a16:creationId xmlns:a16="http://schemas.microsoft.com/office/drawing/2014/main" id="{D10F2893-75C5-4D83-B5DC-C0A2C140E6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38800" y="849113"/>
            <a:ext cx="3215743" cy="4084837"/>
          </a:xfrm>
          <a:prstGeom prst="rect">
            <a:avLst/>
          </a:prstGeom>
          <a:noFill/>
          <a:extLst>
            <a:ext uri="{909E8E84-426E-40DD-AFC4-6F175D3DCCD1}">
              <a14:hiddenFill xmlns:a14="http://schemas.microsoft.com/office/drawing/2010/main">
                <a:solidFill>
                  <a:srgbClr val="FFFFFF"/>
                </a:solidFill>
              </a14:hiddenFill>
            </a:ext>
          </a:extLst>
        </p:spPr>
      </p:pic>
      <p:sp>
        <p:nvSpPr>
          <p:cNvPr id="8" name="object 42">
            <a:extLst>
              <a:ext uri="{FF2B5EF4-FFF2-40B4-BE49-F238E27FC236}">
                <a16:creationId xmlns:a16="http://schemas.microsoft.com/office/drawing/2014/main" id="{BD6562A3-3A7C-449E-93C2-50E53853CD75}"/>
              </a:ext>
            </a:extLst>
          </p:cNvPr>
          <p:cNvSpPr/>
          <p:nvPr/>
        </p:nvSpPr>
        <p:spPr>
          <a:xfrm>
            <a:off x="5638800" y="849113"/>
            <a:ext cx="3215743" cy="4084837"/>
          </a:xfrm>
          <a:custGeom>
            <a:avLst/>
            <a:gdLst/>
            <a:ahLst/>
            <a:cxnLst/>
            <a:rect l="l" t="t" r="r" b="b"/>
            <a:pathLst>
              <a:path w="1476375" h="1476375">
                <a:moveTo>
                  <a:pt x="1475905" y="0"/>
                </a:moveTo>
                <a:lnTo>
                  <a:pt x="0" y="0"/>
                </a:lnTo>
                <a:lnTo>
                  <a:pt x="0" y="1475892"/>
                </a:lnTo>
                <a:lnTo>
                  <a:pt x="1475905" y="1475892"/>
                </a:lnTo>
                <a:lnTo>
                  <a:pt x="1475905" y="0"/>
                </a:lnTo>
                <a:close/>
              </a:path>
            </a:pathLst>
          </a:custGeom>
          <a:solidFill>
            <a:schemeClr val="tx2">
              <a:lumMod val="50000"/>
              <a:alpha val="50000"/>
            </a:schemeClr>
          </a:solidFill>
          <a:ln>
            <a:noFill/>
          </a:ln>
        </p:spPr>
        <p:style>
          <a:lnRef idx="0">
            <a:scrgbClr r="0" g="0" b="0"/>
          </a:lnRef>
          <a:fillRef idx="0">
            <a:scrgbClr r="0" g="0" b="0"/>
          </a:fillRef>
          <a:effectRef idx="0">
            <a:scrgbClr r="0" g="0" b="0"/>
          </a:effectRef>
          <a:fontRef idx="minor">
            <a:schemeClr val="lt1"/>
          </a:fontRef>
        </p:style>
        <p:txBody>
          <a:bodyPr wrap="square" lIns="0" tIns="0" rIns="0" bIns="0" rtlCol="0"/>
          <a:lstStyle/>
          <a:p>
            <a:endParaRPr sz="1125" dirty="0"/>
          </a:p>
        </p:txBody>
      </p:sp>
    </p:spTree>
    <p:extLst>
      <p:ext uri="{BB962C8B-B14F-4D97-AF65-F5344CB8AC3E}">
        <p14:creationId xmlns:p14="http://schemas.microsoft.com/office/powerpoint/2010/main" val="1389538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D1540A8-964E-4FD2-AD94-D59BC4B533CC}"/>
              </a:ext>
            </a:extLst>
          </p:cNvPr>
          <p:cNvGrpSpPr/>
          <p:nvPr/>
        </p:nvGrpSpPr>
        <p:grpSpPr>
          <a:xfrm>
            <a:off x="171184" y="1581150"/>
            <a:ext cx="8801632" cy="3106608"/>
            <a:chOff x="171184" y="1581150"/>
            <a:chExt cx="8801632" cy="3106608"/>
          </a:xfrm>
        </p:grpSpPr>
        <p:grpSp>
          <p:nvGrpSpPr>
            <p:cNvPr id="77" name="Group 76">
              <a:extLst>
                <a:ext uri="{FF2B5EF4-FFF2-40B4-BE49-F238E27FC236}">
                  <a16:creationId xmlns:a16="http://schemas.microsoft.com/office/drawing/2014/main" id="{BF5A7C59-1D33-4CF9-8ABD-3A77EF85EEC5}"/>
                </a:ext>
              </a:extLst>
            </p:cNvPr>
            <p:cNvGrpSpPr/>
            <p:nvPr/>
          </p:nvGrpSpPr>
          <p:grpSpPr>
            <a:xfrm>
              <a:off x="171184" y="1627464"/>
              <a:ext cx="5538635" cy="2040876"/>
              <a:chOff x="152400" y="2578383"/>
              <a:chExt cx="4255904" cy="1575513"/>
            </a:xfrm>
          </p:grpSpPr>
          <p:grpSp>
            <p:nvGrpSpPr>
              <p:cNvPr id="5" name="Group 25">
                <a:extLst>
                  <a:ext uri="{FF2B5EF4-FFF2-40B4-BE49-F238E27FC236}">
                    <a16:creationId xmlns:a16="http://schemas.microsoft.com/office/drawing/2014/main" id="{2D650106-2DE0-47AF-B459-492857409BD4}"/>
                  </a:ext>
                </a:extLst>
              </p:cNvPr>
              <p:cNvGrpSpPr/>
              <p:nvPr/>
            </p:nvGrpSpPr>
            <p:grpSpPr>
              <a:xfrm>
                <a:off x="152400" y="2584076"/>
                <a:ext cx="1131162" cy="835324"/>
                <a:chOff x="739860" y="2410652"/>
                <a:chExt cx="1954451" cy="1440160"/>
              </a:xfrm>
            </p:grpSpPr>
            <p:sp>
              <p:nvSpPr>
                <p:cNvPr id="6" name="Rounded Rectangle 5">
                  <a:extLst>
                    <a:ext uri="{FF2B5EF4-FFF2-40B4-BE49-F238E27FC236}">
                      <a16:creationId xmlns:a16="http://schemas.microsoft.com/office/drawing/2014/main" id="{79434FC3-46C5-487A-AFC2-F61F0EF31F32}"/>
                    </a:ext>
                  </a:extLst>
                </p:cNvPr>
                <p:cNvSpPr/>
                <p:nvPr/>
              </p:nvSpPr>
              <p:spPr>
                <a:xfrm rot="18900000">
                  <a:off x="1254151" y="2410652"/>
                  <a:ext cx="1440160" cy="1440160"/>
                </a:xfrm>
                <a:prstGeom prst="roundRect">
                  <a:avLst>
                    <a:gd name="adj" fmla="val 10715"/>
                  </a:avLst>
                </a:prstGeom>
                <a:noFill/>
                <a:ln w="63500">
                  <a:solidFill>
                    <a:srgbClr val="52CB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7" name="Group 8">
                  <a:extLst>
                    <a:ext uri="{FF2B5EF4-FFF2-40B4-BE49-F238E27FC236}">
                      <a16:creationId xmlns:a16="http://schemas.microsoft.com/office/drawing/2014/main" id="{752A997D-809D-4C37-9811-DA1DBBDE7555}"/>
                    </a:ext>
                  </a:extLst>
                </p:cNvPr>
                <p:cNvGrpSpPr/>
                <p:nvPr/>
              </p:nvGrpSpPr>
              <p:grpSpPr>
                <a:xfrm>
                  <a:off x="739860" y="2829361"/>
                  <a:ext cx="432048" cy="583692"/>
                  <a:chOff x="673332" y="2417783"/>
                  <a:chExt cx="432048" cy="583692"/>
                </a:xfrm>
              </p:grpSpPr>
              <p:sp>
                <p:nvSpPr>
                  <p:cNvPr id="9" name="Rectangle 6">
                    <a:extLst>
                      <a:ext uri="{FF2B5EF4-FFF2-40B4-BE49-F238E27FC236}">
                        <a16:creationId xmlns:a16="http://schemas.microsoft.com/office/drawing/2014/main" id="{0E263A8F-4F0C-4F7E-BA55-60D6C6A20A7F}"/>
                      </a:ext>
                    </a:extLst>
                  </p:cNvPr>
                  <p:cNvSpPr/>
                  <p:nvPr/>
                </p:nvSpPr>
                <p:spPr>
                  <a:xfrm rot="18900000">
                    <a:off x="673332" y="2503130"/>
                    <a:ext cx="432048" cy="432048"/>
                  </a:xfrm>
                  <a:prstGeom prst="rect">
                    <a:avLst/>
                  </a:prstGeom>
                  <a:solidFill>
                    <a:srgbClr val="52CB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 name="TextBox 9">
                    <a:extLst>
                      <a:ext uri="{FF2B5EF4-FFF2-40B4-BE49-F238E27FC236}">
                        <a16:creationId xmlns:a16="http://schemas.microsoft.com/office/drawing/2014/main" id="{00480852-B35F-4E12-AA9B-25D3919E8899}"/>
                      </a:ext>
                    </a:extLst>
                  </p:cNvPr>
                  <p:cNvSpPr txBox="1"/>
                  <p:nvPr/>
                </p:nvSpPr>
                <p:spPr>
                  <a:xfrm>
                    <a:off x="678362" y="2417783"/>
                    <a:ext cx="421990" cy="583692"/>
                  </a:xfrm>
                  <a:prstGeom prst="rect">
                    <a:avLst/>
                  </a:prstGeom>
                  <a:noFill/>
                </p:spPr>
                <p:txBody>
                  <a:bodyPr wrap="square" rtlCol="0" anchor="ctr">
                    <a:spAutoFit/>
                  </a:bodyPr>
                  <a:lstStyle/>
                  <a:p>
                    <a:pPr algn="ctr"/>
                    <a:endParaRPr lang="ko-KR" altLang="en-US" sz="1600" b="1" dirty="0">
                      <a:solidFill>
                        <a:schemeClr val="bg1"/>
                      </a:solidFill>
                      <a:latin typeface="Calibri" pitchFamily="34" charset="0"/>
                      <a:cs typeface="Calibri" pitchFamily="34" charset="0"/>
                    </a:endParaRPr>
                  </a:p>
                </p:txBody>
              </p:sp>
            </p:grpSp>
          </p:grpSp>
          <p:grpSp>
            <p:nvGrpSpPr>
              <p:cNvPr id="11" name="Group 29">
                <a:extLst>
                  <a:ext uri="{FF2B5EF4-FFF2-40B4-BE49-F238E27FC236}">
                    <a16:creationId xmlns:a16="http://schemas.microsoft.com/office/drawing/2014/main" id="{E700C5BD-ABAE-4BF2-84BD-D830F52D3FF8}"/>
                  </a:ext>
                </a:extLst>
              </p:cNvPr>
              <p:cNvGrpSpPr/>
              <p:nvPr/>
            </p:nvGrpSpPr>
            <p:grpSpPr>
              <a:xfrm>
                <a:off x="923837" y="3318572"/>
                <a:ext cx="1131162" cy="835324"/>
                <a:chOff x="2046240" y="3706797"/>
                <a:chExt cx="1954451" cy="1440160"/>
              </a:xfrm>
            </p:grpSpPr>
            <p:sp>
              <p:nvSpPr>
                <p:cNvPr id="12" name="Rounded Rectangle 9">
                  <a:extLst>
                    <a:ext uri="{FF2B5EF4-FFF2-40B4-BE49-F238E27FC236}">
                      <a16:creationId xmlns:a16="http://schemas.microsoft.com/office/drawing/2014/main" id="{AB7A6C77-FD10-4BC6-906F-8350BDF82B74}"/>
                    </a:ext>
                  </a:extLst>
                </p:cNvPr>
                <p:cNvSpPr/>
                <p:nvPr/>
              </p:nvSpPr>
              <p:spPr>
                <a:xfrm rot="18900000">
                  <a:off x="2560531" y="3706797"/>
                  <a:ext cx="1440160" cy="1440160"/>
                </a:xfrm>
                <a:prstGeom prst="roundRect">
                  <a:avLst>
                    <a:gd name="adj" fmla="val 10715"/>
                  </a:avLst>
                </a:prstGeom>
                <a:noFill/>
                <a:ln w="63500">
                  <a:solidFill>
                    <a:srgbClr val="FF59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14" name="Rectangle 11">
                  <a:extLst>
                    <a:ext uri="{FF2B5EF4-FFF2-40B4-BE49-F238E27FC236}">
                      <a16:creationId xmlns:a16="http://schemas.microsoft.com/office/drawing/2014/main" id="{1DB734ED-E4D7-4BD4-88F3-FA31E8AF2A63}"/>
                    </a:ext>
                  </a:extLst>
                </p:cNvPr>
                <p:cNvSpPr/>
                <p:nvPr/>
              </p:nvSpPr>
              <p:spPr>
                <a:xfrm rot="18900000">
                  <a:off x="2046240" y="4210852"/>
                  <a:ext cx="432048" cy="432048"/>
                </a:xfrm>
                <a:prstGeom prst="rect">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grpSp>
            <p:nvGrpSpPr>
              <p:cNvPr id="16" name="Group 26">
                <a:extLst>
                  <a:ext uri="{FF2B5EF4-FFF2-40B4-BE49-F238E27FC236}">
                    <a16:creationId xmlns:a16="http://schemas.microsoft.com/office/drawing/2014/main" id="{54F6502E-6C6D-432F-A7DA-1542D2BB5C67}"/>
                  </a:ext>
                </a:extLst>
              </p:cNvPr>
              <p:cNvGrpSpPr/>
              <p:nvPr/>
            </p:nvGrpSpPr>
            <p:grpSpPr>
              <a:xfrm>
                <a:off x="1696318" y="2578384"/>
                <a:ext cx="1131162" cy="835324"/>
                <a:chOff x="3352620" y="2401127"/>
                <a:chExt cx="1954451" cy="1440160"/>
              </a:xfrm>
            </p:grpSpPr>
            <p:sp>
              <p:nvSpPr>
                <p:cNvPr id="17" name="Rounded Rectangle 13">
                  <a:extLst>
                    <a:ext uri="{FF2B5EF4-FFF2-40B4-BE49-F238E27FC236}">
                      <a16:creationId xmlns:a16="http://schemas.microsoft.com/office/drawing/2014/main" id="{7A21E7CB-C248-4841-9C50-A4C1C60588D2}"/>
                    </a:ext>
                  </a:extLst>
                </p:cNvPr>
                <p:cNvSpPr/>
                <p:nvPr/>
              </p:nvSpPr>
              <p:spPr>
                <a:xfrm rot="18900000">
                  <a:off x="3866911" y="2401127"/>
                  <a:ext cx="1440160" cy="1440160"/>
                </a:xfrm>
                <a:prstGeom prst="roundRect">
                  <a:avLst>
                    <a:gd name="adj" fmla="val 10715"/>
                  </a:avLst>
                </a:prstGeom>
                <a:noFill/>
                <a:ln w="63500">
                  <a:solidFill>
                    <a:srgbClr val="52CB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19" name="Rectangle 18">
                  <a:extLst>
                    <a:ext uri="{FF2B5EF4-FFF2-40B4-BE49-F238E27FC236}">
                      <a16:creationId xmlns:a16="http://schemas.microsoft.com/office/drawing/2014/main" id="{DAE131D0-D63D-4EEC-9AE4-39D37019EB5A}"/>
                    </a:ext>
                  </a:extLst>
                </p:cNvPr>
                <p:cNvSpPr/>
                <p:nvPr/>
              </p:nvSpPr>
              <p:spPr>
                <a:xfrm rot="18900000">
                  <a:off x="3352620" y="2905182"/>
                  <a:ext cx="432048" cy="432048"/>
                </a:xfrm>
                <a:prstGeom prst="rect">
                  <a:avLst/>
                </a:prstGeom>
                <a:solidFill>
                  <a:srgbClr val="52CB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21" name="Group 28">
                <a:extLst>
                  <a:ext uri="{FF2B5EF4-FFF2-40B4-BE49-F238E27FC236}">
                    <a16:creationId xmlns:a16="http://schemas.microsoft.com/office/drawing/2014/main" id="{4F60A119-067E-4568-9F42-C5F6F2C12AB6}"/>
                  </a:ext>
                </a:extLst>
              </p:cNvPr>
              <p:cNvGrpSpPr/>
              <p:nvPr/>
            </p:nvGrpSpPr>
            <p:grpSpPr>
              <a:xfrm>
                <a:off x="2488921" y="3318571"/>
                <a:ext cx="1131162" cy="835324"/>
                <a:chOff x="4660581" y="3691532"/>
                <a:chExt cx="1954451" cy="1440160"/>
              </a:xfrm>
            </p:grpSpPr>
            <p:sp>
              <p:nvSpPr>
                <p:cNvPr id="22" name="Rounded Rectangle 17">
                  <a:extLst>
                    <a:ext uri="{FF2B5EF4-FFF2-40B4-BE49-F238E27FC236}">
                      <a16:creationId xmlns:a16="http://schemas.microsoft.com/office/drawing/2014/main" id="{CEBD93C8-1AA4-4756-92A5-25EB2E5F3E4E}"/>
                    </a:ext>
                  </a:extLst>
                </p:cNvPr>
                <p:cNvSpPr/>
                <p:nvPr/>
              </p:nvSpPr>
              <p:spPr>
                <a:xfrm rot="18900000">
                  <a:off x="5174872" y="3691532"/>
                  <a:ext cx="1440160" cy="1440160"/>
                </a:xfrm>
                <a:prstGeom prst="roundRect">
                  <a:avLst>
                    <a:gd name="adj" fmla="val 10715"/>
                  </a:avLst>
                </a:prstGeom>
                <a:noFill/>
                <a:ln w="63500">
                  <a:solidFill>
                    <a:srgbClr val="FEC6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4" name="Rectangle 19">
                  <a:extLst>
                    <a:ext uri="{FF2B5EF4-FFF2-40B4-BE49-F238E27FC236}">
                      <a16:creationId xmlns:a16="http://schemas.microsoft.com/office/drawing/2014/main" id="{D5502F93-FC79-4D44-9F98-6F5E16092122}"/>
                    </a:ext>
                  </a:extLst>
                </p:cNvPr>
                <p:cNvSpPr/>
                <p:nvPr/>
              </p:nvSpPr>
              <p:spPr>
                <a:xfrm rot="18900000">
                  <a:off x="4660581" y="4195587"/>
                  <a:ext cx="432048" cy="432048"/>
                </a:xfrm>
                <a:prstGeom prst="rect">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grpSp>
            <p:nvGrpSpPr>
              <p:cNvPr id="26" name="Group 27">
                <a:extLst>
                  <a:ext uri="{FF2B5EF4-FFF2-40B4-BE49-F238E27FC236}">
                    <a16:creationId xmlns:a16="http://schemas.microsoft.com/office/drawing/2014/main" id="{C8F39C9E-A9C3-4FFC-8E86-D952C39608B9}"/>
                  </a:ext>
                </a:extLst>
              </p:cNvPr>
              <p:cNvGrpSpPr/>
              <p:nvPr/>
            </p:nvGrpSpPr>
            <p:grpSpPr>
              <a:xfrm>
                <a:off x="3277142" y="2578383"/>
                <a:ext cx="1131162" cy="835324"/>
                <a:chOff x="5919682" y="2391602"/>
                <a:chExt cx="1954451" cy="1440160"/>
              </a:xfrm>
            </p:grpSpPr>
            <p:sp>
              <p:nvSpPr>
                <p:cNvPr id="27" name="Rounded Rectangle 21">
                  <a:extLst>
                    <a:ext uri="{FF2B5EF4-FFF2-40B4-BE49-F238E27FC236}">
                      <a16:creationId xmlns:a16="http://schemas.microsoft.com/office/drawing/2014/main" id="{54BAEC3B-9E08-4698-B326-3BA6957B27F8}"/>
                    </a:ext>
                  </a:extLst>
                </p:cNvPr>
                <p:cNvSpPr/>
                <p:nvPr/>
              </p:nvSpPr>
              <p:spPr>
                <a:xfrm rot="18900000">
                  <a:off x="6433973" y="2391602"/>
                  <a:ext cx="1440160" cy="1440160"/>
                </a:xfrm>
                <a:prstGeom prst="roundRect">
                  <a:avLst>
                    <a:gd name="adj" fmla="val 10715"/>
                  </a:avLst>
                </a:prstGeom>
                <a:noFill/>
                <a:ln w="635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28" name="Group 22">
                  <a:extLst>
                    <a:ext uri="{FF2B5EF4-FFF2-40B4-BE49-F238E27FC236}">
                      <a16:creationId xmlns:a16="http://schemas.microsoft.com/office/drawing/2014/main" id="{0C492E6B-CDA0-4EEE-A982-F8378BCF2DCD}"/>
                    </a:ext>
                  </a:extLst>
                </p:cNvPr>
                <p:cNvGrpSpPr/>
                <p:nvPr/>
              </p:nvGrpSpPr>
              <p:grpSpPr>
                <a:xfrm>
                  <a:off x="5919682" y="2810311"/>
                  <a:ext cx="432048" cy="583692"/>
                  <a:chOff x="673332" y="2417783"/>
                  <a:chExt cx="432048" cy="583692"/>
                </a:xfrm>
              </p:grpSpPr>
              <p:sp>
                <p:nvSpPr>
                  <p:cNvPr id="29" name="Rectangle 23">
                    <a:extLst>
                      <a:ext uri="{FF2B5EF4-FFF2-40B4-BE49-F238E27FC236}">
                        <a16:creationId xmlns:a16="http://schemas.microsoft.com/office/drawing/2014/main" id="{7692943F-4A49-427A-B13A-9CF280D986A4}"/>
                      </a:ext>
                    </a:extLst>
                  </p:cNvPr>
                  <p:cNvSpPr/>
                  <p:nvPr/>
                </p:nvSpPr>
                <p:spPr>
                  <a:xfrm rot="18900000">
                    <a:off x="673332" y="2503130"/>
                    <a:ext cx="432048" cy="4320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0" name="TextBox 29">
                    <a:extLst>
                      <a:ext uri="{FF2B5EF4-FFF2-40B4-BE49-F238E27FC236}">
                        <a16:creationId xmlns:a16="http://schemas.microsoft.com/office/drawing/2014/main" id="{5E797211-6759-40E8-B2C4-3465D3E8FD75}"/>
                      </a:ext>
                    </a:extLst>
                  </p:cNvPr>
                  <p:cNvSpPr txBox="1"/>
                  <p:nvPr/>
                </p:nvSpPr>
                <p:spPr>
                  <a:xfrm>
                    <a:off x="678362" y="2417783"/>
                    <a:ext cx="421990" cy="583692"/>
                  </a:xfrm>
                  <a:prstGeom prst="rect">
                    <a:avLst/>
                  </a:prstGeom>
                  <a:noFill/>
                </p:spPr>
                <p:txBody>
                  <a:bodyPr wrap="square" rtlCol="0" anchor="ctr">
                    <a:spAutoFit/>
                  </a:bodyPr>
                  <a:lstStyle/>
                  <a:p>
                    <a:pPr algn="ctr"/>
                    <a:endParaRPr lang="ko-KR" altLang="en-US" sz="1600" b="1" dirty="0">
                      <a:solidFill>
                        <a:schemeClr val="bg1"/>
                      </a:solidFill>
                      <a:latin typeface="Calibri" pitchFamily="34" charset="0"/>
                      <a:cs typeface="Calibri" pitchFamily="34" charset="0"/>
                    </a:endParaRPr>
                  </a:p>
                </p:txBody>
              </p:sp>
            </p:grpSp>
          </p:grpSp>
        </p:grpSp>
        <p:grpSp>
          <p:nvGrpSpPr>
            <p:cNvPr id="80" name="Group 29">
              <a:extLst>
                <a:ext uri="{FF2B5EF4-FFF2-40B4-BE49-F238E27FC236}">
                  <a16:creationId xmlns:a16="http://schemas.microsoft.com/office/drawing/2014/main" id="{F00CE2ED-050F-4DB5-B217-ABE22EF3F3D3}"/>
                </a:ext>
              </a:extLst>
            </p:cNvPr>
            <p:cNvGrpSpPr/>
            <p:nvPr/>
          </p:nvGrpSpPr>
          <p:grpSpPr>
            <a:xfrm>
              <a:off x="5277922" y="2583656"/>
              <a:ext cx="1472095" cy="1082055"/>
              <a:chOff x="2046240" y="3706797"/>
              <a:chExt cx="1954451" cy="1440160"/>
            </a:xfrm>
          </p:grpSpPr>
          <p:sp>
            <p:nvSpPr>
              <p:cNvPr id="94" name="Rounded Rectangle 9">
                <a:extLst>
                  <a:ext uri="{FF2B5EF4-FFF2-40B4-BE49-F238E27FC236}">
                    <a16:creationId xmlns:a16="http://schemas.microsoft.com/office/drawing/2014/main" id="{E9EC750F-09E6-4336-99A7-F5565013C256}"/>
                  </a:ext>
                </a:extLst>
              </p:cNvPr>
              <p:cNvSpPr/>
              <p:nvPr/>
            </p:nvSpPr>
            <p:spPr>
              <a:xfrm rot="18900000">
                <a:off x="2560531" y="3706797"/>
                <a:ext cx="1440160" cy="1440160"/>
              </a:xfrm>
              <a:prstGeom prst="roundRect">
                <a:avLst>
                  <a:gd name="adj" fmla="val 10715"/>
                </a:avLst>
              </a:prstGeom>
              <a:noFill/>
              <a:ln w="63500">
                <a:solidFill>
                  <a:srgbClr val="FF59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95" name="Rectangle 11">
                <a:extLst>
                  <a:ext uri="{FF2B5EF4-FFF2-40B4-BE49-F238E27FC236}">
                    <a16:creationId xmlns:a16="http://schemas.microsoft.com/office/drawing/2014/main" id="{B439D911-F648-46E5-8795-47A2A9A0180C}"/>
                  </a:ext>
                </a:extLst>
              </p:cNvPr>
              <p:cNvSpPr/>
              <p:nvPr/>
            </p:nvSpPr>
            <p:spPr>
              <a:xfrm rot="18900000">
                <a:off x="2046240" y="4210852"/>
                <a:ext cx="432048" cy="432048"/>
              </a:xfrm>
              <a:prstGeom prst="rect">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grpSp>
          <p:nvGrpSpPr>
            <p:cNvPr id="81" name="Group 26">
              <a:extLst>
                <a:ext uri="{FF2B5EF4-FFF2-40B4-BE49-F238E27FC236}">
                  <a16:creationId xmlns:a16="http://schemas.microsoft.com/office/drawing/2014/main" id="{C870A1E3-5708-4FC0-AC2C-A7FAB902699D}"/>
                </a:ext>
              </a:extLst>
            </p:cNvPr>
            <p:cNvGrpSpPr/>
            <p:nvPr/>
          </p:nvGrpSpPr>
          <p:grpSpPr>
            <a:xfrm>
              <a:off x="7374634" y="2584452"/>
              <a:ext cx="1472095" cy="1082057"/>
              <a:chOff x="3352620" y="2401127"/>
              <a:chExt cx="1954451" cy="1440160"/>
            </a:xfrm>
          </p:grpSpPr>
          <p:sp>
            <p:nvSpPr>
              <p:cNvPr id="92" name="Rounded Rectangle 13">
                <a:extLst>
                  <a:ext uri="{FF2B5EF4-FFF2-40B4-BE49-F238E27FC236}">
                    <a16:creationId xmlns:a16="http://schemas.microsoft.com/office/drawing/2014/main" id="{EDD4B351-8CDC-4CD9-87B3-F54692A4E3E2}"/>
                  </a:ext>
                </a:extLst>
              </p:cNvPr>
              <p:cNvSpPr/>
              <p:nvPr/>
            </p:nvSpPr>
            <p:spPr>
              <a:xfrm rot="18900000">
                <a:off x="3866911" y="2401127"/>
                <a:ext cx="1440160" cy="1440160"/>
              </a:xfrm>
              <a:prstGeom prst="roundRect">
                <a:avLst>
                  <a:gd name="adj" fmla="val 10715"/>
                </a:avLst>
              </a:prstGeom>
              <a:noFill/>
              <a:ln w="63500">
                <a:solidFill>
                  <a:srgbClr val="52CB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93" name="Rectangle 92">
                <a:extLst>
                  <a:ext uri="{FF2B5EF4-FFF2-40B4-BE49-F238E27FC236}">
                    <a16:creationId xmlns:a16="http://schemas.microsoft.com/office/drawing/2014/main" id="{31B9A2BA-4FB9-428C-B790-F0CD78993553}"/>
                  </a:ext>
                </a:extLst>
              </p:cNvPr>
              <p:cNvSpPr/>
              <p:nvPr/>
            </p:nvSpPr>
            <p:spPr>
              <a:xfrm rot="18900000">
                <a:off x="3352620" y="2905182"/>
                <a:ext cx="432048" cy="432048"/>
              </a:xfrm>
              <a:prstGeom prst="rect">
                <a:avLst/>
              </a:prstGeom>
              <a:solidFill>
                <a:srgbClr val="52CB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82" name="Group 28">
              <a:extLst>
                <a:ext uri="{FF2B5EF4-FFF2-40B4-BE49-F238E27FC236}">
                  <a16:creationId xmlns:a16="http://schemas.microsoft.com/office/drawing/2014/main" id="{FFB15C2D-19DD-49C0-A040-EC61A991C780}"/>
                </a:ext>
              </a:extLst>
            </p:cNvPr>
            <p:cNvGrpSpPr/>
            <p:nvPr/>
          </p:nvGrpSpPr>
          <p:grpSpPr>
            <a:xfrm>
              <a:off x="6312953" y="1581150"/>
              <a:ext cx="1472095" cy="1082055"/>
              <a:chOff x="4660581" y="3691532"/>
              <a:chExt cx="1954451" cy="1440160"/>
            </a:xfrm>
          </p:grpSpPr>
          <p:sp>
            <p:nvSpPr>
              <p:cNvPr id="90" name="Rounded Rectangle 17">
                <a:extLst>
                  <a:ext uri="{FF2B5EF4-FFF2-40B4-BE49-F238E27FC236}">
                    <a16:creationId xmlns:a16="http://schemas.microsoft.com/office/drawing/2014/main" id="{01A87374-4ADD-46D2-B796-09780C80F90A}"/>
                  </a:ext>
                </a:extLst>
              </p:cNvPr>
              <p:cNvSpPr/>
              <p:nvPr/>
            </p:nvSpPr>
            <p:spPr>
              <a:xfrm rot="18900000">
                <a:off x="5174872" y="3691532"/>
                <a:ext cx="1440160" cy="1440160"/>
              </a:xfrm>
              <a:prstGeom prst="roundRect">
                <a:avLst>
                  <a:gd name="adj" fmla="val 10715"/>
                </a:avLst>
              </a:prstGeom>
              <a:noFill/>
              <a:ln w="63500">
                <a:solidFill>
                  <a:srgbClr val="FEC6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1" name="Rectangle 19">
                <a:extLst>
                  <a:ext uri="{FF2B5EF4-FFF2-40B4-BE49-F238E27FC236}">
                    <a16:creationId xmlns:a16="http://schemas.microsoft.com/office/drawing/2014/main" id="{68DDCEC7-E76C-48FD-9EB5-FD8F00D6BBCE}"/>
                  </a:ext>
                </a:extLst>
              </p:cNvPr>
              <p:cNvSpPr/>
              <p:nvPr/>
            </p:nvSpPr>
            <p:spPr>
              <a:xfrm rot="18900000">
                <a:off x="4660581" y="4195587"/>
                <a:ext cx="432048" cy="432048"/>
              </a:xfrm>
              <a:prstGeom prst="rect">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grpSp>
          <p:nvGrpSpPr>
            <p:cNvPr id="83" name="Group 27">
              <a:extLst>
                <a:ext uri="{FF2B5EF4-FFF2-40B4-BE49-F238E27FC236}">
                  <a16:creationId xmlns:a16="http://schemas.microsoft.com/office/drawing/2014/main" id="{D298A1CF-0C1D-41A3-9970-80F31124B1DC}"/>
                </a:ext>
              </a:extLst>
            </p:cNvPr>
            <p:cNvGrpSpPr/>
            <p:nvPr/>
          </p:nvGrpSpPr>
          <p:grpSpPr>
            <a:xfrm>
              <a:off x="2167360" y="3605703"/>
              <a:ext cx="1472095" cy="1082055"/>
              <a:chOff x="5919682" y="2391602"/>
              <a:chExt cx="1954451" cy="1440160"/>
            </a:xfrm>
          </p:grpSpPr>
          <p:sp>
            <p:nvSpPr>
              <p:cNvPr id="86" name="Rounded Rectangle 21">
                <a:extLst>
                  <a:ext uri="{FF2B5EF4-FFF2-40B4-BE49-F238E27FC236}">
                    <a16:creationId xmlns:a16="http://schemas.microsoft.com/office/drawing/2014/main" id="{41A92C9B-A5CB-46ED-995A-0E251ECB8D15}"/>
                  </a:ext>
                </a:extLst>
              </p:cNvPr>
              <p:cNvSpPr/>
              <p:nvPr/>
            </p:nvSpPr>
            <p:spPr>
              <a:xfrm rot="18900000">
                <a:off x="6433973" y="2391602"/>
                <a:ext cx="1440160" cy="1440160"/>
              </a:xfrm>
              <a:prstGeom prst="roundRect">
                <a:avLst>
                  <a:gd name="adj" fmla="val 10715"/>
                </a:avLst>
              </a:prstGeom>
              <a:noFill/>
              <a:ln w="635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87" name="Group 22">
                <a:extLst>
                  <a:ext uri="{FF2B5EF4-FFF2-40B4-BE49-F238E27FC236}">
                    <a16:creationId xmlns:a16="http://schemas.microsoft.com/office/drawing/2014/main" id="{A374FB86-519C-4E8D-8C1A-87958E6A15E2}"/>
                  </a:ext>
                </a:extLst>
              </p:cNvPr>
              <p:cNvGrpSpPr/>
              <p:nvPr/>
            </p:nvGrpSpPr>
            <p:grpSpPr>
              <a:xfrm>
                <a:off x="5919682" y="2810311"/>
                <a:ext cx="432048" cy="583692"/>
                <a:chOff x="673332" y="2417783"/>
                <a:chExt cx="432048" cy="583692"/>
              </a:xfrm>
            </p:grpSpPr>
            <p:sp>
              <p:nvSpPr>
                <p:cNvPr id="88" name="Rectangle 23">
                  <a:extLst>
                    <a:ext uri="{FF2B5EF4-FFF2-40B4-BE49-F238E27FC236}">
                      <a16:creationId xmlns:a16="http://schemas.microsoft.com/office/drawing/2014/main" id="{696E79D6-2FB5-45D7-9CFF-77C9EB6AB149}"/>
                    </a:ext>
                  </a:extLst>
                </p:cNvPr>
                <p:cNvSpPr/>
                <p:nvPr/>
              </p:nvSpPr>
              <p:spPr>
                <a:xfrm rot="18900000">
                  <a:off x="673332" y="2503130"/>
                  <a:ext cx="432048" cy="4320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9" name="TextBox 88">
                  <a:extLst>
                    <a:ext uri="{FF2B5EF4-FFF2-40B4-BE49-F238E27FC236}">
                      <a16:creationId xmlns:a16="http://schemas.microsoft.com/office/drawing/2014/main" id="{BBA3C279-A504-48F9-9EE3-5B62260E388D}"/>
                    </a:ext>
                  </a:extLst>
                </p:cNvPr>
                <p:cNvSpPr txBox="1"/>
                <p:nvPr/>
              </p:nvSpPr>
              <p:spPr>
                <a:xfrm>
                  <a:off x="678362" y="2417783"/>
                  <a:ext cx="421990" cy="583692"/>
                </a:xfrm>
                <a:prstGeom prst="rect">
                  <a:avLst/>
                </a:prstGeom>
                <a:noFill/>
              </p:spPr>
              <p:txBody>
                <a:bodyPr wrap="square" rtlCol="0" anchor="ctr">
                  <a:spAutoFit/>
                </a:bodyPr>
                <a:lstStyle/>
                <a:p>
                  <a:pPr algn="ctr"/>
                  <a:endParaRPr lang="ko-KR" altLang="en-US" sz="1600" b="1" dirty="0">
                    <a:solidFill>
                      <a:schemeClr val="bg1"/>
                    </a:solidFill>
                    <a:latin typeface="Calibri" pitchFamily="34" charset="0"/>
                    <a:cs typeface="Calibri" pitchFamily="34" charset="0"/>
                  </a:endParaRPr>
                </a:p>
              </p:txBody>
            </p:sp>
          </p:grpSp>
        </p:grpSp>
        <p:grpSp>
          <p:nvGrpSpPr>
            <p:cNvPr id="101" name="Group 29">
              <a:extLst>
                <a:ext uri="{FF2B5EF4-FFF2-40B4-BE49-F238E27FC236}">
                  <a16:creationId xmlns:a16="http://schemas.microsoft.com/office/drawing/2014/main" id="{DEE63367-C7A2-457C-B611-FCC9C19AAE07}"/>
                </a:ext>
              </a:extLst>
            </p:cNvPr>
            <p:cNvGrpSpPr/>
            <p:nvPr/>
          </p:nvGrpSpPr>
          <p:grpSpPr>
            <a:xfrm>
              <a:off x="6274371" y="3552523"/>
              <a:ext cx="1472095" cy="1082055"/>
              <a:chOff x="2046240" y="3706797"/>
              <a:chExt cx="1954451" cy="1440160"/>
            </a:xfrm>
          </p:grpSpPr>
          <p:sp>
            <p:nvSpPr>
              <p:cNvPr id="114" name="Rounded Rectangle 9">
                <a:extLst>
                  <a:ext uri="{FF2B5EF4-FFF2-40B4-BE49-F238E27FC236}">
                    <a16:creationId xmlns:a16="http://schemas.microsoft.com/office/drawing/2014/main" id="{35F0499A-6197-474B-9A9F-DDED0FE939A0}"/>
                  </a:ext>
                </a:extLst>
              </p:cNvPr>
              <p:cNvSpPr/>
              <p:nvPr/>
            </p:nvSpPr>
            <p:spPr>
              <a:xfrm rot="18900000">
                <a:off x="2560531" y="3706797"/>
                <a:ext cx="1440160" cy="1440160"/>
              </a:xfrm>
              <a:prstGeom prst="roundRect">
                <a:avLst>
                  <a:gd name="adj" fmla="val 10715"/>
                </a:avLst>
              </a:prstGeom>
              <a:noFill/>
              <a:ln w="63500">
                <a:solidFill>
                  <a:srgbClr val="FF59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115" name="Rectangle 11">
                <a:extLst>
                  <a:ext uri="{FF2B5EF4-FFF2-40B4-BE49-F238E27FC236}">
                    <a16:creationId xmlns:a16="http://schemas.microsoft.com/office/drawing/2014/main" id="{F8DCF133-B883-4391-936E-32D46B387076}"/>
                  </a:ext>
                </a:extLst>
              </p:cNvPr>
              <p:cNvSpPr/>
              <p:nvPr/>
            </p:nvSpPr>
            <p:spPr>
              <a:xfrm rot="18900000">
                <a:off x="2046240" y="4210852"/>
                <a:ext cx="432048" cy="432048"/>
              </a:xfrm>
              <a:prstGeom prst="rect">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grpSp>
          <p:nvGrpSpPr>
            <p:cNvPr id="102" name="Group 26">
              <a:extLst>
                <a:ext uri="{FF2B5EF4-FFF2-40B4-BE49-F238E27FC236}">
                  <a16:creationId xmlns:a16="http://schemas.microsoft.com/office/drawing/2014/main" id="{12C66CCD-8A71-4C29-9EB2-15915F1C4A62}"/>
                </a:ext>
              </a:extLst>
            </p:cNvPr>
            <p:cNvGrpSpPr/>
            <p:nvPr/>
          </p:nvGrpSpPr>
          <p:grpSpPr>
            <a:xfrm>
              <a:off x="4252081" y="3598546"/>
              <a:ext cx="1472095" cy="1082055"/>
              <a:chOff x="3352620" y="2401127"/>
              <a:chExt cx="1954451" cy="1440160"/>
            </a:xfrm>
          </p:grpSpPr>
          <p:sp>
            <p:nvSpPr>
              <p:cNvPr id="112" name="Rounded Rectangle 13">
                <a:extLst>
                  <a:ext uri="{FF2B5EF4-FFF2-40B4-BE49-F238E27FC236}">
                    <a16:creationId xmlns:a16="http://schemas.microsoft.com/office/drawing/2014/main" id="{FF619C67-E104-4D23-9197-BF430D8A4430}"/>
                  </a:ext>
                </a:extLst>
              </p:cNvPr>
              <p:cNvSpPr/>
              <p:nvPr/>
            </p:nvSpPr>
            <p:spPr>
              <a:xfrm rot="18900000">
                <a:off x="3866911" y="2401127"/>
                <a:ext cx="1440160" cy="1440160"/>
              </a:xfrm>
              <a:prstGeom prst="roundRect">
                <a:avLst>
                  <a:gd name="adj" fmla="val 10715"/>
                </a:avLst>
              </a:prstGeom>
              <a:noFill/>
              <a:ln w="63500">
                <a:solidFill>
                  <a:srgbClr val="52CB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113" name="Rectangle 112">
                <a:extLst>
                  <a:ext uri="{FF2B5EF4-FFF2-40B4-BE49-F238E27FC236}">
                    <a16:creationId xmlns:a16="http://schemas.microsoft.com/office/drawing/2014/main" id="{DDF52D45-43FA-4284-8B0E-EE7692C7223E}"/>
                  </a:ext>
                </a:extLst>
              </p:cNvPr>
              <p:cNvSpPr/>
              <p:nvPr/>
            </p:nvSpPr>
            <p:spPr>
              <a:xfrm rot="18900000">
                <a:off x="3352620" y="2905182"/>
                <a:ext cx="432048" cy="432048"/>
              </a:xfrm>
              <a:prstGeom prst="rect">
                <a:avLst/>
              </a:prstGeom>
              <a:solidFill>
                <a:srgbClr val="52CB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118" name="Rectangle 117">
              <a:extLst>
                <a:ext uri="{FF2B5EF4-FFF2-40B4-BE49-F238E27FC236}">
                  <a16:creationId xmlns:a16="http://schemas.microsoft.com/office/drawing/2014/main" id="{C4FCEBF9-8F1C-4C5E-B86A-8970ED912F0A}"/>
                </a:ext>
              </a:extLst>
            </p:cNvPr>
            <p:cNvSpPr/>
            <p:nvPr/>
          </p:nvSpPr>
          <p:spPr>
            <a:xfrm>
              <a:off x="422064" y="2041123"/>
              <a:ext cx="1470940" cy="276999"/>
            </a:xfrm>
            <a:prstGeom prst="rect">
              <a:avLst/>
            </a:prstGeom>
          </p:spPr>
          <p:txBody>
            <a:bodyPr wrap="square">
              <a:spAutoFit/>
            </a:bodyPr>
            <a:lstStyle/>
            <a:p>
              <a:pPr lvl="0" algn="ctr"/>
              <a:r>
                <a:rPr lang="en-US" sz="1200" dirty="0">
                  <a:latin typeface="Gotham Medium" panose="02000603030000020004" pitchFamily="2" charset="0"/>
                  <a:cs typeface="Times New Roman" pitchFamily="18" charset="0"/>
                </a:rPr>
                <a:t>Rural Planning</a:t>
              </a:r>
              <a:endParaRPr lang="en-US" sz="1200" dirty="0">
                <a:latin typeface="Gotham Medium" panose="02000603030000020004" pitchFamily="2" charset="0"/>
              </a:endParaRPr>
            </a:p>
          </p:txBody>
        </p:sp>
        <p:sp>
          <p:nvSpPr>
            <p:cNvPr id="119" name="Rectangle 118">
              <a:extLst>
                <a:ext uri="{FF2B5EF4-FFF2-40B4-BE49-F238E27FC236}">
                  <a16:creationId xmlns:a16="http://schemas.microsoft.com/office/drawing/2014/main" id="{380489F3-D796-404E-A5BC-259198AEC022}"/>
                </a:ext>
              </a:extLst>
            </p:cNvPr>
            <p:cNvSpPr/>
            <p:nvPr/>
          </p:nvSpPr>
          <p:spPr>
            <a:xfrm>
              <a:off x="2583157" y="1996064"/>
              <a:ext cx="1075936" cy="307777"/>
            </a:xfrm>
            <a:prstGeom prst="rect">
              <a:avLst/>
            </a:prstGeom>
          </p:spPr>
          <p:txBody>
            <a:bodyPr wrap="none">
              <a:spAutoFit/>
            </a:bodyPr>
            <a:lstStyle/>
            <a:p>
              <a:pPr lvl="0"/>
              <a:r>
                <a:rPr lang="en-US" sz="1400" dirty="0">
                  <a:latin typeface="Gotham Medium" panose="02000603030000020004" pitchFamily="2" charset="0"/>
                  <a:cs typeface="Times New Roman" pitchFamily="18" charset="0"/>
                </a:rPr>
                <a:t>Structural</a:t>
              </a:r>
            </a:p>
          </p:txBody>
        </p:sp>
        <p:sp>
          <p:nvSpPr>
            <p:cNvPr id="120" name="Rectangle 119">
              <a:extLst>
                <a:ext uri="{FF2B5EF4-FFF2-40B4-BE49-F238E27FC236}">
                  <a16:creationId xmlns:a16="http://schemas.microsoft.com/office/drawing/2014/main" id="{74AC67C0-2AF3-41C5-9C43-00702BC8F544}"/>
                </a:ext>
              </a:extLst>
            </p:cNvPr>
            <p:cNvSpPr/>
            <p:nvPr/>
          </p:nvSpPr>
          <p:spPr>
            <a:xfrm>
              <a:off x="1718826" y="2970793"/>
              <a:ext cx="788999" cy="307777"/>
            </a:xfrm>
            <a:prstGeom prst="rect">
              <a:avLst/>
            </a:prstGeom>
          </p:spPr>
          <p:txBody>
            <a:bodyPr wrap="none">
              <a:spAutoFit/>
            </a:bodyPr>
            <a:lstStyle/>
            <a:p>
              <a:pPr lvl="0"/>
              <a:r>
                <a:rPr lang="en-US" sz="1400" dirty="0">
                  <a:latin typeface="Gotham Medium" panose="02000603030000020004" pitchFamily="2" charset="0"/>
                  <a:cs typeface="Times New Roman" pitchFamily="18" charset="0"/>
                </a:rPr>
                <a:t>Bridge</a:t>
              </a:r>
            </a:p>
          </p:txBody>
        </p:sp>
        <p:sp>
          <p:nvSpPr>
            <p:cNvPr id="121" name="Rectangle 120">
              <a:extLst>
                <a:ext uri="{FF2B5EF4-FFF2-40B4-BE49-F238E27FC236}">
                  <a16:creationId xmlns:a16="http://schemas.microsoft.com/office/drawing/2014/main" id="{18BE7633-52BD-4E9A-B8EC-B17DB4E1647E}"/>
                </a:ext>
              </a:extLst>
            </p:cNvPr>
            <p:cNvSpPr/>
            <p:nvPr/>
          </p:nvSpPr>
          <p:spPr>
            <a:xfrm>
              <a:off x="4618156" y="1999175"/>
              <a:ext cx="1133644" cy="307777"/>
            </a:xfrm>
            <a:prstGeom prst="rect">
              <a:avLst/>
            </a:prstGeom>
          </p:spPr>
          <p:txBody>
            <a:bodyPr wrap="none">
              <a:spAutoFit/>
            </a:bodyPr>
            <a:lstStyle/>
            <a:p>
              <a:pPr lvl="0"/>
              <a:r>
                <a:rPr lang="en-US" sz="1400" dirty="0">
                  <a:latin typeface="Gotham Medium" panose="02000603030000020004" pitchFamily="2" charset="0"/>
                  <a:cs typeface="Times New Roman" pitchFamily="18" charset="0"/>
                </a:rPr>
                <a:t>Hydraulics</a:t>
              </a:r>
            </a:p>
          </p:txBody>
        </p:sp>
        <p:sp>
          <p:nvSpPr>
            <p:cNvPr id="122" name="Rectangle 121">
              <a:extLst>
                <a:ext uri="{FF2B5EF4-FFF2-40B4-BE49-F238E27FC236}">
                  <a16:creationId xmlns:a16="http://schemas.microsoft.com/office/drawing/2014/main" id="{8529066E-2757-433B-9BB7-95E323A504F4}"/>
                </a:ext>
              </a:extLst>
            </p:cNvPr>
            <p:cNvSpPr/>
            <p:nvPr/>
          </p:nvSpPr>
          <p:spPr>
            <a:xfrm>
              <a:off x="6625765" y="1978296"/>
              <a:ext cx="1330964" cy="276999"/>
            </a:xfrm>
            <a:prstGeom prst="rect">
              <a:avLst/>
            </a:prstGeom>
          </p:spPr>
          <p:txBody>
            <a:bodyPr wrap="square">
              <a:spAutoFit/>
            </a:bodyPr>
            <a:lstStyle/>
            <a:p>
              <a:pPr lvl="0" algn="ctr"/>
              <a:r>
                <a:rPr lang="en-US" sz="1200" dirty="0">
                  <a:latin typeface="Gotham Medium" panose="02000603030000020004" pitchFamily="2" charset="0"/>
                  <a:cs typeface="Times New Roman" pitchFamily="18" charset="0"/>
                </a:rPr>
                <a:t>Transportation</a:t>
              </a:r>
            </a:p>
          </p:txBody>
        </p:sp>
        <p:sp>
          <p:nvSpPr>
            <p:cNvPr id="123" name="Rectangle 122">
              <a:extLst>
                <a:ext uri="{FF2B5EF4-FFF2-40B4-BE49-F238E27FC236}">
                  <a16:creationId xmlns:a16="http://schemas.microsoft.com/office/drawing/2014/main" id="{2A97CF83-AB8B-48BA-86EF-3E08C49D3512}"/>
                </a:ext>
              </a:extLst>
            </p:cNvPr>
            <p:cNvSpPr/>
            <p:nvPr/>
          </p:nvSpPr>
          <p:spPr>
            <a:xfrm>
              <a:off x="2572563" y="3979864"/>
              <a:ext cx="1090363" cy="307777"/>
            </a:xfrm>
            <a:prstGeom prst="rect">
              <a:avLst/>
            </a:prstGeom>
          </p:spPr>
          <p:txBody>
            <a:bodyPr wrap="none">
              <a:spAutoFit/>
            </a:bodyPr>
            <a:lstStyle/>
            <a:p>
              <a:pPr lvl="0"/>
              <a:r>
                <a:rPr lang="en-US" sz="1400" dirty="0">
                  <a:latin typeface="Gotham Medium" panose="02000603030000020004" pitchFamily="2" charset="0"/>
                  <a:cs typeface="Times New Roman" pitchFamily="18" charset="0"/>
                </a:rPr>
                <a:t>Surveying</a:t>
              </a:r>
            </a:p>
          </p:txBody>
        </p:sp>
        <p:sp>
          <p:nvSpPr>
            <p:cNvPr id="124" name="Rectangle 123">
              <a:extLst>
                <a:ext uri="{FF2B5EF4-FFF2-40B4-BE49-F238E27FC236}">
                  <a16:creationId xmlns:a16="http://schemas.microsoft.com/office/drawing/2014/main" id="{0A0967A4-C114-467F-8B3C-085A44F7D87E}"/>
                </a:ext>
              </a:extLst>
            </p:cNvPr>
            <p:cNvSpPr/>
            <p:nvPr/>
          </p:nvSpPr>
          <p:spPr>
            <a:xfrm>
              <a:off x="7754213" y="2961913"/>
              <a:ext cx="1218603" cy="307777"/>
            </a:xfrm>
            <a:prstGeom prst="rect">
              <a:avLst/>
            </a:prstGeom>
          </p:spPr>
          <p:txBody>
            <a:bodyPr wrap="none">
              <a:spAutoFit/>
            </a:bodyPr>
            <a:lstStyle/>
            <a:p>
              <a:pPr lvl="0"/>
              <a:r>
                <a:rPr lang="en-US" sz="1400" dirty="0">
                  <a:latin typeface="Gotham Medium" panose="02000603030000020004" pitchFamily="2" charset="0"/>
                  <a:cs typeface="Times New Roman" pitchFamily="18" charset="0"/>
                </a:rPr>
                <a:t>Earthquake</a:t>
              </a:r>
            </a:p>
          </p:txBody>
        </p:sp>
        <p:sp>
          <p:nvSpPr>
            <p:cNvPr id="125" name="Rectangle 124">
              <a:extLst>
                <a:ext uri="{FF2B5EF4-FFF2-40B4-BE49-F238E27FC236}">
                  <a16:creationId xmlns:a16="http://schemas.microsoft.com/office/drawing/2014/main" id="{70206B4E-DBB6-4328-8C2E-48A4C8A13E68}"/>
                </a:ext>
              </a:extLst>
            </p:cNvPr>
            <p:cNvSpPr/>
            <p:nvPr/>
          </p:nvSpPr>
          <p:spPr>
            <a:xfrm>
              <a:off x="5577006" y="2943811"/>
              <a:ext cx="1370888" cy="307777"/>
            </a:xfrm>
            <a:prstGeom prst="rect">
              <a:avLst/>
            </a:prstGeom>
          </p:spPr>
          <p:txBody>
            <a:bodyPr wrap="none">
              <a:spAutoFit/>
            </a:bodyPr>
            <a:lstStyle/>
            <a:p>
              <a:pPr lvl="0"/>
              <a:r>
                <a:rPr lang="en-US" sz="1400" dirty="0">
                  <a:latin typeface="Gotham Medium" panose="02000603030000020004" pitchFamily="2" charset="0"/>
                  <a:cs typeface="Times New Roman" pitchFamily="18" charset="0"/>
                </a:rPr>
                <a:t>Geotechnical</a:t>
              </a:r>
            </a:p>
          </p:txBody>
        </p:sp>
        <p:sp>
          <p:nvSpPr>
            <p:cNvPr id="126" name="Rectangle 125">
              <a:extLst>
                <a:ext uri="{FF2B5EF4-FFF2-40B4-BE49-F238E27FC236}">
                  <a16:creationId xmlns:a16="http://schemas.microsoft.com/office/drawing/2014/main" id="{71BF342A-0A8F-4151-8288-B065AE894371}"/>
                </a:ext>
              </a:extLst>
            </p:cNvPr>
            <p:cNvSpPr/>
            <p:nvPr/>
          </p:nvSpPr>
          <p:spPr>
            <a:xfrm>
              <a:off x="4530465" y="3872142"/>
              <a:ext cx="1300087" cy="523220"/>
            </a:xfrm>
            <a:prstGeom prst="rect">
              <a:avLst/>
            </a:prstGeom>
          </p:spPr>
          <p:txBody>
            <a:bodyPr wrap="square">
              <a:spAutoFit/>
            </a:bodyPr>
            <a:lstStyle/>
            <a:p>
              <a:pPr lvl="0" algn="ctr"/>
              <a:r>
                <a:rPr lang="en-US" sz="1400" dirty="0">
                  <a:latin typeface="Gotham Medium" panose="02000603030000020004" pitchFamily="2" charset="0"/>
                  <a:cs typeface="Times New Roman" pitchFamily="18" charset="0"/>
                </a:rPr>
                <a:t>Water</a:t>
              </a:r>
              <a:r>
                <a:rPr lang="en-US" sz="1400" b="1" dirty="0">
                  <a:latin typeface="Calisto MT" pitchFamily="18" charset="0"/>
                  <a:cs typeface="Times New Roman" pitchFamily="18" charset="0"/>
                </a:rPr>
                <a:t> </a:t>
              </a:r>
              <a:r>
                <a:rPr lang="en-US" sz="1400" dirty="0">
                  <a:latin typeface="Gotham Medium" panose="02000603030000020004" pitchFamily="2" charset="0"/>
                  <a:cs typeface="Times New Roman" pitchFamily="18" charset="0"/>
                </a:rPr>
                <a:t>Resources</a:t>
              </a:r>
            </a:p>
          </p:txBody>
        </p:sp>
        <p:sp>
          <p:nvSpPr>
            <p:cNvPr id="127" name="Rectangle 126">
              <a:extLst>
                <a:ext uri="{FF2B5EF4-FFF2-40B4-BE49-F238E27FC236}">
                  <a16:creationId xmlns:a16="http://schemas.microsoft.com/office/drawing/2014/main" id="{2F6E7C38-72F5-4FBB-A38A-F3D30B55C72A}"/>
                </a:ext>
              </a:extLst>
            </p:cNvPr>
            <p:cNvSpPr/>
            <p:nvPr/>
          </p:nvSpPr>
          <p:spPr>
            <a:xfrm>
              <a:off x="3542210" y="2955763"/>
              <a:ext cx="1334806" cy="276999"/>
            </a:xfrm>
            <a:prstGeom prst="rect">
              <a:avLst/>
            </a:prstGeom>
          </p:spPr>
          <p:txBody>
            <a:bodyPr wrap="square">
              <a:spAutoFit/>
            </a:bodyPr>
            <a:lstStyle/>
            <a:p>
              <a:pPr lvl="0"/>
              <a:r>
                <a:rPr lang="en-US" sz="1200" dirty="0">
                  <a:latin typeface="Gotham Medium" panose="02000603030000020004" pitchFamily="2" charset="0"/>
                  <a:cs typeface="Times New Roman" pitchFamily="18" charset="0"/>
                </a:rPr>
                <a:t>Environmental</a:t>
              </a:r>
            </a:p>
          </p:txBody>
        </p:sp>
        <p:sp>
          <p:nvSpPr>
            <p:cNvPr id="128" name="Rectangle 127">
              <a:extLst>
                <a:ext uri="{FF2B5EF4-FFF2-40B4-BE49-F238E27FC236}">
                  <a16:creationId xmlns:a16="http://schemas.microsoft.com/office/drawing/2014/main" id="{5C66170A-C4BF-4F66-9690-17A4F32064D6}"/>
                </a:ext>
              </a:extLst>
            </p:cNvPr>
            <p:cNvSpPr/>
            <p:nvPr/>
          </p:nvSpPr>
          <p:spPr>
            <a:xfrm>
              <a:off x="6463610" y="3827000"/>
              <a:ext cx="1535710" cy="461665"/>
            </a:xfrm>
            <a:prstGeom prst="rect">
              <a:avLst/>
            </a:prstGeom>
          </p:spPr>
          <p:txBody>
            <a:bodyPr wrap="square">
              <a:spAutoFit/>
            </a:bodyPr>
            <a:lstStyle/>
            <a:p>
              <a:pPr lvl="0" algn="ctr"/>
              <a:r>
                <a:rPr lang="en-US" sz="1200" dirty="0">
                  <a:latin typeface="Gotham Medium" panose="02000603030000020004" pitchFamily="2" charset="0"/>
                  <a:cs typeface="Times New Roman" pitchFamily="18" charset="0"/>
                </a:rPr>
                <a:t>Construction</a:t>
              </a:r>
              <a:r>
                <a:rPr lang="en-US" sz="1200" b="1" dirty="0">
                  <a:latin typeface="Calisto MT" pitchFamily="18" charset="0"/>
                  <a:cs typeface="Times New Roman" pitchFamily="18" charset="0"/>
                </a:rPr>
                <a:t> </a:t>
              </a:r>
              <a:r>
                <a:rPr lang="en-US" sz="1200" dirty="0">
                  <a:latin typeface="Gotham Medium" panose="02000603030000020004" pitchFamily="2" charset="0"/>
                  <a:cs typeface="Times New Roman" pitchFamily="18" charset="0"/>
                </a:rPr>
                <a:t>Management</a:t>
              </a:r>
            </a:p>
          </p:txBody>
        </p:sp>
        <p:grpSp>
          <p:nvGrpSpPr>
            <p:cNvPr id="3" name="Group 2">
              <a:extLst>
                <a:ext uri="{FF2B5EF4-FFF2-40B4-BE49-F238E27FC236}">
                  <a16:creationId xmlns:a16="http://schemas.microsoft.com/office/drawing/2014/main" id="{3EB32318-E8EB-4776-B3EE-DED026DC0BB3}"/>
                </a:ext>
              </a:extLst>
            </p:cNvPr>
            <p:cNvGrpSpPr/>
            <p:nvPr/>
          </p:nvGrpSpPr>
          <p:grpSpPr>
            <a:xfrm>
              <a:off x="177654" y="3592723"/>
              <a:ext cx="1472095" cy="1082057"/>
              <a:chOff x="194933" y="3589556"/>
              <a:chExt cx="1472095" cy="1082057"/>
            </a:xfrm>
          </p:grpSpPr>
          <p:sp>
            <p:nvSpPr>
              <p:cNvPr id="56" name="Rounded Rectangle 13">
                <a:extLst>
                  <a:ext uri="{FF2B5EF4-FFF2-40B4-BE49-F238E27FC236}">
                    <a16:creationId xmlns:a16="http://schemas.microsoft.com/office/drawing/2014/main" id="{867D4366-4A1F-4F44-9129-EE4333D7D463}"/>
                  </a:ext>
                </a:extLst>
              </p:cNvPr>
              <p:cNvSpPr/>
              <p:nvPr/>
            </p:nvSpPr>
            <p:spPr>
              <a:xfrm rot="18900000">
                <a:off x="582298" y="3589556"/>
                <a:ext cx="1084730" cy="1082057"/>
              </a:xfrm>
              <a:prstGeom prst="roundRect">
                <a:avLst>
                  <a:gd name="adj" fmla="val 10715"/>
                </a:avLst>
              </a:prstGeom>
              <a:noFill/>
              <a:ln w="635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57" name="Rectangle 56">
                <a:extLst>
                  <a:ext uri="{FF2B5EF4-FFF2-40B4-BE49-F238E27FC236}">
                    <a16:creationId xmlns:a16="http://schemas.microsoft.com/office/drawing/2014/main" id="{A7C6A0D1-518D-412E-A5E1-85C88DF189DF}"/>
                  </a:ext>
                </a:extLst>
              </p:cNvPr>
              <p:cNvSpPr/>
              <p:nvPr/>
            </p:nvSpPr>
            <p:spPr>
              <a:xfrm rot="18900000">
                <a:off x="194933" y="3968275"/>
                <a:ext cx="325419" cy="32461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60" name="Rectangle 59">
              <a:extLst>
                <a:ext uri="{FF2B5EF4-FFF2-40B4-BE49-F238E27FC236}">
                  <a16:creationId xmlns:a16="http://schemas.microsoft.com/office/drawing/2014/main" id="{1D058EB0-46C4-4EBA-8BE6-A3556980DDB9}"/>
                </a:ext>
              </a:extLst>
            </p:cNvPr>
            <p:cNvSpPr/>
            <p:nvPr/>
          </p:nvSpPr>
          <p:spPr>
            <a:xfrm>
              <a:off x="423924" y="3995250"/>
              <a:ext cx="1470940" cy="276999"/>
            </a:xfrm>
            <a:prstGeom prst="rect">
              <a:avLst/>
            </a:prstGeom>
          </p:spPr>
          <p:txBody>
            <a:bodyPr wrap="square">
              <a:spAutoFit/>
            </a:bodyPr>
            <a:lstStyle/>
            <a:p>
              <a:pPr lvl="0" algn="ctr"/>
              <a:r>
                <a:rPr lang="en-US" sz="1200" dirty="0">
                  <a:latin typeface="Gotham Medium" panose="02000603030000020004" pitchFamily="2" charset="0"/>
                  <a:cs typeface="Times New Roman" pitchFamily="18" charset="0"/>
                </a:rPr>
                <a:t>Urban Planning</a:t>
              </a:r>
              <a:endParaRPr lang="en-US" sz="1200" dirty="0">
                <a:latin typeface="Gotham Medium" panose="02000603030000020004" pitchFamily="2" charset="0"/>
              </a:endParaRPr>
            </a:p>
          </p:txBody>
        </p:sp>
      </p:grpSp>
      <p:sp>
        <p:nvSpPr>
          <p:cNvPr id="61" name="Title 1">
            <a:extLst>
              <a:ext uri="{FF2B5EF4-FFF2-40B4-BE49-F238E27FC236}">
                <a16:creationId xmlns:a16="http://schemas.microsoft.com/office/drawing/2014/main" id="{5A1A9470-A022-4F9A-BA47-44A837DE2625}"/>
              </a:ext>
            </a:extLst>
          </p:cNvPr>
          <p:cNvSpPr txBox="1">
            <a:spLocks/>
          </p:cNvSpPr>
          <p:nvPr/>
        </p:nvSpPr>
        <p:spPr>
          <a:xfrm>
            <a:off x="1447800" y="494139"/>
            <a:ext cx="5562600" cy="396018"/>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Civil Engineering – Streams </a:t>
            </a:r>
          </a:p>
        </p:txBody>
      </p:sp>
      <p:sp>
        <p:nvSpPr>
          <p:cNvPr id="62" name="Rectangle 61">
            <a:extLst>
              <a:ext uri="{FF2B5EF4-FFF2-40B4-BE49-F238E27FC236}">
                <a16:creationId xmlns:a16="http://schemas.microsoft.com/office/drawing/2014/main" id="{D6774B39-EF1A-4B1E-B89C-19416A0727D6}"/>
              </a:ext>
            </a:extLst>
          </p:cNvPr>
          <p:cNvSpPr/>
          <p:nvPr/>
        </p:nvSpPr>
        <p:spPr>
          <a:xfrm>
            <a:off x="0" y="532470"/>
            <a:ext cx="1447800" cy="319356"/>
          </a:xfrm>
          <a:prstGeom prst="rect">
            <a:avLst/>
          </a:prstGeom>
          <a:solidFill>
            <a:schemeClr val="tx1">
              <a:lumMod val="60000"/>
              <a:lumOff val="4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Tree>
    <p:extLst>
      <p:ext uri="{BB962C8B-B14F-4D97-AF65-F5344CB8AC3E}">
        <p14:creationId xmlns:p14="http://schemas.microsoft.com/office/powerpoint/2010/main" val="3331650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96"/>
        <p:cNvGrpSpPr/>
        <p:nvPr/>
      </p:nvGrpSpPr>
      <p:grpSpPr>
        <a:xfrm>
          <a:off x="0" y="0"/>
          <a:ext cx="0" cy="0"/>
          <a:chOff x="0" y="0"/>
          <a:chExt cx="0" cy="0"/>
        </a:xfrm>
      </p:grpSpPr>
      <p:sp>
        <p:nvSpPr>
          <p:cNvPr id="10" name="Rectangle 9">
            <a:extLst>
              <a:ext uri="{FF2B5EF4-FFF2-40B4-BE49-F238E27FC236}">
                <a16:creationId xmlns:a16="http://schemas.microsoft.com/office/drawing/2014/main" id="{A664D082-EFDA-4498-9208-5D96E8276D08}"/>
              </a:ext>
            </a:extLst>
          </p:cNvPr>
          <p:cNvSpPr/>
          <p:nvPr/>
        </p:nvSpPr>
        <p:spPr>
          <a:xfrm>
            <a:off x="6705600" y="666750"/>
            <a:ext cx="2438400" cy="4476750"/>
          </a:xfrm>
          <a:prstGeom prst="rect">
            <a:avLst/>
          </a:prstGeom>
          <a:solidFill>
            <a:srgbClr val="FEC63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23" name="Title 1">
            <a:extLst>
              <a:ext uri="{FF2B5EF4-FFF2-40B4-BE49-F238E27FC236}">
                <a16:creationId xmlns:a16="http://schemas.microsoft.com/office/drawing/2014/main" id="{454FADB2-82D3-49F7-9E6D-0EA935642937}"/>
              </a:ext>
            </a:extLst>
          </p:cNvPr>
          <p:cNvSpPr>
            <a:spLocks noGrp="1"/>
          </p:cNvSpPr>
          <p:nvPr>
            <p:ph type="title"/>
          </p:nvPr>
        </p:nvSpPr>
        <p:spPr>
          <a:xfrm>
            <a:off x="1319980" y="385876"/>
            <a:ext cx="5055010" cy="529692"/>
          </a:xfrm>
          <a:effectLst/>
        </p:spPr>
        <p:txBody>
          <a:bodyPr vert="horz" lIns="91440" tIns="45720" rIns="91440" bIns="45720" rtlCol="0" anchor="ctr">
            <a:noAutofit/>
          </a:bodyPr>
          <a:lstStyle/>
          <a:p>
            <a:pPr>
              <a:spcBef>
                <a:spcPct val="0"/>
              </a:spcBef>
            </a:pPr>
            <a:r>
              <a:rPr lang="en-US" sz="2800" kern="1200" dirty="0">
                <a:solidFill>
                  <a:srgbClr val="FF5969"/>
                </a:solidFill>
                <a:latin typeface="Gotham Bold" panose="02000803030000020004" pitchFamily="2" charset="0"/>
                <a:ea typeface="+mj-ea"/>
                <a:cs typeface="+mj-cs"/>
              </a:rPr>
              <a:t>Civil Engineering Scope</a:t>
            </a:r>
          </a:p>
        </p:txBody>
      </p:sp>
      <p:sp>
        <p:nvSpPr>
          <p:cNvPr id="25" name="Rectangle 24">
            <a:extLst>
              <a:ext uri="{FF2B5EF4-FFF2-40B4-BE49-F238E27FC236}">
                <a16:creationId xmlns:a16="http://schemas.microsoft.com/office/drawing/2014/main" id="{D166CE3F-D414-4F72-87AE-6791F213A2E4}"/>
              </a:ext>
            </a:extLst>
          </p:cNvPr>
          <p:cNvSpPr/>
          <p:nvPr/>
        </p:nvSpPr>
        <p:spPr>
          <a:xfrm>
            <a:off x="685800" y="532470"/>
            <a:ext cx="634180" cy="239588"/>
          </a:xfrm>
          <a:prstGeom prst="rect">
            <a:avLst/>
          </a:prstGeom>
          <a:solidFill>
            <a:schemeClr val="tx1">
              <a:lumMod val="60000"/>
              <a:lumOff val="4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2" name="Rectangle 1">
            <a:extLst>
              <a:ext uri="{FF2B5EF4-FFF2-40B4-BE49-F238E27FC236}">
                <a16:creationId xmlns:a16="http://schemas.microsoft.com/office/drawing/2014/main" id="{127B8575-4DAA-4A7E-8532-1E3FC054621B}"/>
              </a:ext>
            </a:extLst>
          </p:cNvPr>
          <p:cNvSpPr/>
          <p:nvPr/>
        </p:nvSpPr>
        <p:spPr>
          <a:xfrm>
            <a:off x="609600" y="1014469"/>
            <a:ext cx="5486399" cy="3438314"/>
          </a:xfrm>
          <a:prstGeom prst="rect">
            <a:avLst/>
          </a:prstGeom>
        </p:spPr>
        <p:txBody>
          <a:bodyPr wrap="square">
            <a:spAutoFit/>
          </a:bodyPr>
          <a:lstStyle/>
          <a:p>
            <a:pPr marL="285750" indent="-285750">
              <a:spcBef>
                <a:spcPts val="600"/>
              </a:spcBef>
              <a:buFont typeface="Wingdings" panose="05000000000000000000" pitchFamily="2" charset="2"/>
              <a:buChar char="§"/>
            </a:pPr>
            <a:r>
              <a:rPr lang="en-US" sz="1600" kern="0" dirty="0">
                <a:solidFill>
                  <a:schemeClr val="bg2"/>
                </a:solidFill>
                <a:latin typeface="Gotham Medium" panose="02000603030000020004" pitchFamily="2" charset="0"/>
                <a:cs typeface="Times New Roman" pitchFamily="18" charset="0"/>
              </a:rPr>
              <a:t>Government Jobs- </a:t>
            </a:r>
          </a:p>
          <a:p>
            <a:pPr marL="742950" lvl="1" indent="-285750">
              <a:spcBef>
                <a:spcPts val="600"/>
              </a:spcBef>
              <a:buFont typeface="Wingdings" panose="05000000000000000000" pitchFamily="2" charset="2"/>
              <a:buChar char="§"/>
            </a:pPr>
            <a:r>
              <a:rPr lang="en-US" sz="1200" kern="0" dirty="0">
                <a:solidFill>
                  <a:srgbClr val="FF0000"/>
                </a:solidFill>
                <a:latin typeface="Gotham Medium" panose="02000603030000020004" pitchFamily="2" charset="0"/>
                <a:cs typeface="Times New Roman" pitchFamily="18" charset="0"/>
              </a:rPr>
              <a:t>UPSC</a:t>
            </a:r>
          </a:p>
          <a:p>
            <a:pPr marL="1200150" lvl="2" indent="-285750">
              <a:spcBef>
                <a:spcPts val="600"/>
              </a:spcBef>
              <a:buFont typeface="Wingdings" panose="05000000000000000000" pitchFamily="2" charset="2"/>
              <a:buChar char="§"/>
            </a:pPr>
            <a:r>
              <a:rPr lang="en-US" sz="1200" kern="0" dirty="0">
                <a:solidFill>
                  <a:schemeClr val="bg2"/>
                </a:solidFill>
                <a:latin typeface="Gotham Medium" panose="02000603030000020004" pitchFamily="2" charset="0"/>
                <a:cs typeface="Times New Roman" pitchFamily="18" charset="0"/>
              </a:rPr>
              <a:t>Railway </a:t>
            </a:r>
          </a:p>
          <a:p>
            <a:pPr marL="1200150" lvl="2" indent="-285750">
              <a:spcBef>
                <a:spcPts val="600"/>
              </a:spcBef>
              <a:buFont typeface="Wingdings" panose="05000000000000000000" pitchFamily="2" charset="2"/>
              <a:buChar char="§"/>
            </a:pPr>
            <a:r>
              <a:rPr lang="en-US" sz="1200" kern="0" dirty="0">
                <a:solidFill>
                  <a:schemeClr val="bg2"/>
                </a:solidFill>
                <a:latin typeface="Gotham Medium" panose="02000603030000020004" pitchFamily="2" charset="0"/>
                <a:cs typeface="Times New Roman" pitchFamily="18" charset="0"/>
              </a:rPr>
              <a:t>NHAI</a:t>
            </a:r>
          </a:p>
          <a:p>
            <a:pPr marL="1200150" lvl="2" indent="-285750">
              <a:spcBef>
                <a:spcPts val="600"/>
              </a:spcBef>
              <a:buFont typeface="Wingdings" panose="05000000000000000000" pitchFamily="2" charset="2"/>
              <a:buChar char="§"/>
            </a:pPr>
            <a:r>
              <a:rPr lang="en-US" sz="1200" kern="0" dirty="0">
                <a:solidFill>
                  <a:schemeClr val="bg2"/>
                </a:solidFill>
                <a:latin typeface="Gotham Medium" panose="02000603030000020004" pitchFamily="2" charset="0"/>
                <a:cs typeface="Times New Roman" pitchFamily="18" charset="0"/>
              </a:rPr>
              <a:t>Defense </a:t>
            </a:r>
          </a:p>
          <a:p>
            <a:pPr marL="1200150" lvl="2" indent="-285750">
              <a:spcBef>
                <a:spcPts val="600"/>
              </a:spcBef>
              <a:buFont typeface="Wingdings" panose="05000000000000000000" pitchFamily="2" charset="2"/>
              <a:buChar char="§"/>
            </a:pPr>
            <a:r>
              <a:rPr lang="en-US" sz="1200" kern="0" dirty="0">
                <a:solidFill>
                  <a:schemeClr val="bg2"/>
                </a:solidFill>
                <a:latin typeface="Gotham Medium" panose="02000603030000020004" pitchFamily="2" charset="0"/>
                <a:cs typeface="Times New Roman" pitchFamily="18" charset="0"/>
              </a:rPr>
              <a:t>CPWD</a:t>
            </a:r>
          </a:p>
          <a:p>
            <a:pPr marL="285750" indent="-285750">
              <a:spcBef>
                <a:spcPts val="600"/>
              </a:spcBef>
              <a:buFont typeface="Wingdings" panose="05000000000000000000" pitchFamily="2" charset="2"/>
              <a:buChar char="§"/>
            </a:pPr>
            <a:endParaRPr lang="en-US" sz="400" kern="0" dirty="0">
              <a:solidFill>
                <a:schemeClr val="bg2"/>
              </a:solidFill>
              <a:latin typeface="Gotham Medium" panose="02000603030000020004" pitchFamily="2" charset="0"/>
              <a:cs typeface="Times New Roman" pitchFamily="18" charset="0"/>
            </a:endParaRPr>
          </a:p>
          <a:p>
            <a:pPr marL="285750" indent="-285750">
              <a:spcBef>
                <a:spcPts val="600"/>
              </a:spcBef>
              <a:buFont typeface="Wingdings" panose="05000000000000000000" pitchFamily="2" charset="2"/>
              <a:buChar char="§"/>
            </a:pPr>
            <a:r>
              <a:rPr lang="en-US" sz="1600" kern="0" dirty="0">
                <a:solidFill>
                  <a:schemeClr val="bg2"/>
                </a:solidFill>
                <a:latin typeface="Gotham Medium" panose="02000603030000020004" pitchFamily="2" charset="0"/>
                <a:cs typeface="Times New Roman" pitchFamily="18" charset="0"/>
              </a:rPr>
              <a:t>Public Sectors Jobs in ONGC, BPCL, HPCL, BHEL</a:t>
            </a:r>
          </a:p>
          <a:p>
            <a:pPr marL="285750" indent="-285750">
              <a:lnSpc>
                <a:spcPct val="150000"/>
              </a:lnSpc>
              <a:spcBef>
                <a:spcPts val="600"/>
              </a:spcBef>
              <a:buFont typeface="Wingdings" panose="05000000000000000000" pitchFamily="2" charset="2"/>
              <a:buChar char="§"/>
            </a:pPr>
            <a:r>
              <a:rPr lang="en-US" sz="1600" kern="0" dirty="0">
                <a:solidFill>
                  <a:schemeClr val="bg2"/>
                </a:solidFill>
                <a:latin typeface="Gotham Medium" panose="02000603030000020004" pitchFamily="2" charset="0"/>
                <a:cs typeface="Times New Roman" pitchFamily="18" charset="0"/>
              </a:rPr>
              <a:t>Private Sector Job in India and Abroad </a:t>
            </a:r>
          </a:p>
          <a:p>
            <a:pPr marL="285750" indent="-285750">
              <a:lnSpc>
                <a:spcPct val="150000"/>
              </a:lnSpc>
              <a:spcBef>
                <a:spcPts val="600"/>
              </a:spcBef>
              <a:buFont typeface="Wingdings" panose="05000000000000000000" pitchFamily="2" charset="2"/>
              <a:buChar char="§"/>
            </a:pPr>
            <a:r>
              <a:rPr lang="en-US" sz="1600" kern="0" dirty="0">
                <a:solidFill>
                  <a:schemeClr val="bg2"/>
                </a:solidFill>
                <a:latin typeface="Gotham Medium" panose="02000603030000020004" pitchFamily="2" charset="0"/>
                <a:cs typeface="Times New Roman" pitchFamily="18" charset="0"/>
              </a:rPr>
              <a:t>Self Employment</a:t>
            </a:r>
          </a:p>
          <a:p>
            <a:pPr marL="285750" indent="-285750">
              <a:lnSpc>
                <a:spcPct val="150000"/>
              </a:lnSpc>
              <a:spcBef>
                <a:spcPts val="600"/>
              </a:spcBef>
              <a:buFont typeface="Wingdings" panose="05000000000000000000" pitchFamily="2" charset="2"/>
              <a:buChar char="§"/>
            </a:pPr>
            <a:r>
              <a:rPr lang="en-US" sz="1600" kern="0" dirty="0">
                <a:solidFill>
                  <a:schemeClr val="bg2"/>
                </a:solidFill>
                <a:latin typeface="Gotham Medium" panose="02000603030000020004" pitchFamily="2" charset="0"/>
                <a:cs typeface="Times New Roman" pitchFamily="18" charset="0"/>
              </a:rPr>
              <a:t>Higher Education </a:t>
            </a:r>
          </a:p>
        </p:txBody>
      </p:sp>
      <p:pic>
        <p:nvPicPr>
          <p:cNvPr id="11" name="Picture 2" descr="barrage">
            <a:extLst>
              <a:ext uri="{FF2B5EF4-FFF2-40B4-BE49-F238E27FC236}">
                <a16:creationId xmlns:a16="http://schemas.microsoft.com/office/drawing/2014/main" id="{BFF23425-A5E6-445B-81EA-905045F8843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148"/>
          <a:stretch/>
        </p:blipFill>
        <p:spPr bwMode="auto">
          <a:xfrm>
            <a:off x="6166401" y="825317"/>
            <a:ext cx="2753073" cy="2003964"/>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Observation urban building business steel Free Photo">
            <a:extLst>
              <a:ext uri="{FF2B5EF4-FFF2-40B4-BE49-F238E27FC236}">
                <a16:creationId xmlns:a16="http://schemas.microsoft.com/office/drawing/2014/main" id="{88D5C189-E660-4AB1-B0BB-D31BE95D5C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66401" y="3011443"/>
            <a:ext cx="2753073" cy="200396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A4E481C-4EEB-449B-ACDA-29E19D97DFE8}"/>
              </a:ext>
            </a:extLst>
          </p:cNvPr>
          <p:cNvSpPr txBox="1"/>
          <p:nvPr/>
        </p:nvSpPr>
        <p:spPr>
          <a:xfrm>
            <a:off x="3136585" y="1352550"/>
            <a:ext cx="2711906" cy="1061829"/>
          </a:xfrm>
          <a:prstGeom prst="rect">
            <a:avLst/>
          </a:prstGeom>
          <a:noFill/>
        </p:spPr>
        <p:txBody>
          <a:bodyPr wrap="square">
            <a:spAutoFit/>
          </a:bodyPr>
          <a:lstStyle/>
          <a:p>
            <a:pPr marL="742950" lvl="1" indent="-285750">
              <a:spcBef>
                <a:spcPts val="600"/>
              </a:spcBef>
              <a:buFont typeface="Wingdings" panose="05000000000000000000" pitchFamily="2" charset="2"/>
              <a:buChar char="§"/>
            </a:pPr>
            <a:r>
              <a:rPr lang="en-US" sz="1200" kern="0" dirty="0">
                <a:solidFill>
                  <a:srgbClr val="FF0000"/>
                </a:solidFill>
                <a:latin typeface="Gotham Medium" panose="02000603030000020004" pitchFamily="2" charset="0"/>
                <a:cs typeface="Times New Roman" pitchFamily="18" charset="0"/>
              </a:rPr>
              <a:t>MPSC</a:t>
            </a:r>
          </a:p>
          <a:p>
            <a:pPr marL="1200150" lvl="2" indent="-285750">
              <a:spcBef>
                <a:spcPts val="600"/>
              </a:spcBef>
              <a:buFont typeface="Wingdings" panose="05000000000000000000" pitchFamily="2" charset="2"/>
              <a:buChar char="§"/>
            </a:pPr>
            <a:r>
              <a:rPr lang="en-US" sz="1200" kern="0" dirty="0">
                <a:solidFill>
                  <a:schemeClr val="bg2"/>
                </a:solidFill>
                <a:latin typeface="Gotham Medium" panose="02000603030000020004" pitchFamily="2" charset="0"/>
                <a:cs typeface="Times New Roman" pitchFamily="18" charset="0"/>
              </a:rPr>
              <a:t>PWD</a:t>
            </a:r>
          </a:p>
          <a:p>
            <a:pPr marL="1200150" lvl="2" indent="-285750">
              <a:spcBef>
                <a:spcPts val="600"/>
              </a:spcBef>
              <a:buFont typeface="Wingdings" panose="05000000000000000000" pitchFamily="2" charset="2"/>
              <a:buChar char="§"/>
            </a:pPr>
            <a:r>
              <a:rPr lang="en-US" sz="1200" kern="0" dirty="0">
                <a:solidFill>
                  <a:schemeClr val="bg2"/>
                </a:solidFill>
                <a:latin typeface="Gotham Medium" panose="02000603030000020004" pitchFamily="2" charset="0"/>
                <a:cs typeface="Times New Roman" pitchFamily="18" charset="0"/>
              </a:rPr>
              <a:t>Irrigation</a:t>
            </a:r>
          </a:p>
          <a:p>
            <a:pPr marL="1200150" lvl="2" indent="-285750">
              <a:spcBef>
                <a:spcPts val="600"/>
              </a:spcBef>
              <a:buFont typeface="Wingdings" panose="05000000000000000000" pitchFamily="2" charset="2"/>
              <a:buChar char="§"/>
            </a:pPr>
            <a:r>
              <a:rPr lang="en-US" sz="1200" kern="0" dirty="0">
                <a:solidFill>
                  <a:schemeClr val="bg2"/>
                </a:solidFill>
                <a:latin typeface="Gotham Medium" panose="02000603030000020004" pitchFamily="2" charset="0"/>
                <a:cs typeface="Times New Roman" pitchFamily="18" charset="0"/>
              </a:rPr>
              <a:t>ZP, Corporation </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50"/>
        <p:cNvGrpSpPr/>
        <p:nvPr/>
      </p:nvGrpSpPr>
      <p:grpSpPr>
        <a:xfrm>
          <a:off x="0" y="0"/>
          <a:ext cx="0" cy="0"/>
          <a:chOff x="0" y="0"/>
          <a:chExt cx="0" cy="0"/>
        </a:xfrm>
      </p:grpSpPr>
      <p:sp>
        <p:nvSpPr>
          <p:cNvPr id="5" name="Google Shape;197;p27">
            <a:extLst>
              <a:ext uri="{FF2B5EF4-FFF2-40B4-BE49-F238E27FC236}">
                <a16:creationId xmlns:a16="http://schemas.microsoft.com/office/drawing/2014/main" id="{61A1D992-FE66-4BF9-BED0-0EF2F18750F1}"/>
              </a:ext>
            </a:extLst>
          </p:cNvPr>
          <p:cNvSpPr/>
          <p:nvPr/>
        </p:nvSpPr>
        <p:spPr>
          <a:xfrm>
            <a:off x="-1" y="133350"/>
            <a:ext cx="1905001" cy="5010150"/>
          </a:xfrm>
          <a:prstGeom prst="rect">
            <a:avLst/>
          </a:prstGeom>
          <a:solidFill>
            <a:srgbClr val="52CBBE"/>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8" name="Picture 2" descr="Pathways to Careers in Mechanical Engineering">
            <a:extLst>
              <a:ext uri="{FF2B5EF4-FFF2-40B4-BE49-F238E27FC236}">
                <a16:creationId xmlns:a16="http://schemas.microsoft.com/office/drawing/2014/main" id="{DD802FB7-5857-4DE0-9585-80A517DEA35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3980"/>
          <a:stretch/>
        </p:blipFill>
        <p:spPr bwMode="auto">
          <a:xfrm>
            <a:off x="337172" y="440621"/>
            <a:ext cx="2893340" cy="211207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Mechanical Engineering Degree, Bachelor of Engineering (BEng) | SIT">
            <a:extLst>
              <a:ext uri="{FF2B5EF4-FFF2-40B4-BE49-F238E27FC236}">
                <a16:creationId xmlns:a16="http://schemas.microsoft.com/office/drawing/2014/main" id="{89815212-627D-4A08-A88F-5C970EE2D49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7172" y="2834807"/>
            <a:ext cx="2893339" cy="2026586"/>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89B17752-15BC-4707-986F-ECB1F60CEBE0}"/>
              </a:ext>
            </a:extLst>
          </p:cNvPr>
          <p:cNvSpPr txBox="1">
            <a:spLocks/>
          </p:cNvSpPr>
          <p:nvPr/>
        </p:nvSpPr>
        <p:spPr>
          <a:xfrm>
            <a:off x="3580435" y="440621"/>
            <a:ext cx="5563565" cy="460771"/>
          </a:xfrm>
          <a:prstGeom prst="rect">
            <a:avLst/>
          </a:prstGeom>
          <a:effectLst/>
        </p:spPr>
        <p:txBody>
          <a:bodyPr vert="horz" lIns="91440" tIns="45720" rIns="91440" bIns="45720" rtlCol="0" anchor="ctr">
            <a:noAutofit/>
          </a:bodyPr>
          <a:lstStyle>
            <a:defPPr>
              <a:defRPr lang="en-US"/>
            </a:defPPr>
            <a:lvl1pPr>
              <a:spcBef>
                <a:spcPct val="0"/>
              </a:spcBef>
              <a:buNone/>
              <a:defRPr sz="2800">
                <a:solidFill>
                  <a:srgbClr val="083D65"/>
                </a:solidFill>
                <a:latin typeface="Gotham Bold" panose="02000803030000020004" pitchFamily="2" charset="0"/>
                <a:ea typeface="+mj-ea"/>
                <a:cs typeface="+mj-cs"/>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rgbClr val="FF5969"/>
                </a:solidFill>
                <a:sym typeface="Montserrat"/>
              </a:rPr>
              <a:t>Mechanical  Engineering</a:t>
            </a:r>
          </a:p>
        </p:txBody>
      </p:sp>
      <p:sp>
        <p:nvSpPr>
          <p:cNvPr id="2" name="Rectangle 1">
            <a:extLst>
              <a:ext uri="{FF2B5EF4-FFF2-40B4-BE49-F238E27FC236}">
                <a16:creationId xmlns:a16="http://schemas.microsoft.com/office/drawing/2014/main" id="{7576E7B4-AB1C-4B8A-9046-B7C32F9085EE}"/>
              </a:ext>
            </a:extLst>
          </p:cNvPr>
          <p:cNvSpPr/>
          <p:nvPr/>
        </p:nvSpPr>
        <p:spPr>
          <a:xfrm>
            <a:off x="3352800" y="1123950"/>
            <a:ext cx="5668033" cy="3831818"/>
          </a:xfrm>
          <a:prstGeom prst="rect">
            <a:avLst/>
          </a:prstGeom>
        </p:spPr>
        <p:txBody>
          <a:bodyPr wrap="square">
            <a:spAutoFit/>
          </a:bodyPr>
          <a:lstStyle/>
          <a:p>
            <a:pPr marL="285750" indent="-285750">
              <a:lnSpc>
                <a:spcPct val="150000"/>
              </a:lnSpc>
              <a:buFont typeface="Wingdings" panose="05000000000000000000" pitchFamily="2" charset="2"/>
              <a:buChar char="§"/>
            </a:pPr>
            <a:r>
              <a:rPr lang="en-US" kern="0" dirty="0">
                <a:solidFill>
                  <a:schemeClr val="bg2"/>
                </a:solidFill>
                <a:latin typeface="Gotham Medium" panose="02000603030000020004" pitchFamily="2" charset="0"/>
                <a:cs typeface="Times New Roman" pitchFamily="18" charset="0"/>
                <a:sym typeface="Lato"/>
              </a:rPr>
              <a:t>Mechanical Engineering applies the principles of </a:t>
            </a:r>
            <a:r>
              <a:rPr lang="en-US" kern="0" dirty="0">
                <a:solidFill>
                  <a:srgbClr val="FF0000"/>
                </a:solidFill>
                <a:latin typeface="Gotham Medium" panose="02000603030000020004" pitchFamily="2" charset="0"/>
                <a:cs typeface="Times New Roman" pitchFamily="18" charset="0"/>
                <a:sym typeface="Lato"/>
              </a:rPr>
              <a:t>mechanics and energy to the design of machines and devices. </a:t>
            </a:r>
          </a:p>
          <a:p>
            <a:pPr marL="285750" indent="-285750">
              <a:lnSpc>
                <a:spcPct val="150000"/>
              </a:lnSpc>
              <a:buFont typeface="Wingdings" panose="05000000000000000000" pitchFamily="2" charset="2"/>
              <a:buChar char="§"/>
            </a:pPr>
            <a:endParaRPr lang="en-US" kern="0" dirty="0">
              <a:solidFill>
                <a:srgbClr val="FF0000"/>
              </a:solidFill>
              <a:latin typeface="Gotham Medium" panose="02000603030000020004" pitchFamily="2" charset="0"/>
              <a:cs typeface="Times New Roman" pitchFamily="18" charset="0"/>
              <a:sym typeface="Lato"/>
            </a:endParaRPr>
          </a:p>
          <a:p>
            <a:pPr marL="285750" indent="-285750">
              <a:lnSpc>
                <a:spcPct val="150000"/>
              </a:lnSpc>
              <a:buFont typeface="Wingdings" panose="05000000000000000000" pitchFamily="2" charset="2"/>
              <a:buChar char="§"/>
            </a:pPr>
            <a:r>
              <a:rPr lang="en-US" kern="0" dirty="0">
                <a:solidFill>
                  <a:schemeClr val="bg2"/>
                </a:solidFill>
                <a:latin typeface="Gotham Medium" panose="02000603030000020004" pitchFamily="2" charset="0"/>
                <a:cs typeface="Times New Roman" pitchFamily="18" charset="0"/>
                <a:sym typeface="Lato"/>
              </a:rPr>
              <a:t>Mechanical Engineer deals with Design, Operation &amp; Maintenance of –</a:t>
            </a:r>
          </a:p>
          <a:p>
            <a:pPr marL="742950" lvl="1" indent="-285750">
              <a:lnSpc>
                <a:spcPct val="150000"/>
              </a:lnSpc>
              <a:buFont typeface="Wingdings" panose="05000000000000000000" pitchFamily="2" charset="2"/>
              <a:buChar char="§"/>
            </a:pPr>
            <a:r>
              <a:rPr lang="en-US" kern="0" dirty="0">
                <a:solidFill>
                  <a:schemeClr val="bg2"/>
                </a:solidFill>
                <a:latin typeface="Gotham Medium" panose="02000603030000020004" pitchFamily="2" charset="0"/>
                <a:cs typeface="Times New Roman" pitchFamily="18" charset="0"/>
                <a:sym typeface="Lato"/>
              </a:rPr>
              <a:t>Machines &amp; its Components </a:t>
            </a:r>
          </a:p>
          <a:p>
            <a:pPr marL="742950" lvl="1" indent="-285750">
              <a:lnSpc>
                <a:spcPct val="150000"/>
              </a:lnSpc>
              <a:buFont typeface="Wingdings" panose="05000000000000000000" pitchFamily="2" charset="2"/>
              <a:buChar char="§"/>
            </a:pPr>
            <a:r>
              <a:rPr lang="en-US" kern="0" dirty="0">
                <a:solidFill>
                  <a:schemeClr val="bg2"/>
                </a:solidFill>
                <a:latin typeface="Gotham Medium" panose="02000603030000020004" pitchFamily="2" charset="0"/>
                <a:cs typeface="Times New Roman" pitchFamily="18" charset="0"/>
                <a:sym typeface="Lato"/>
              </a:rPr>
              <a:t>Machine Tools </a:t>
            </a:r>
          </a:p>
          <a:p>
            <a:pPr marL="742950" lvl="1" indent="-285750">
              <a:lnSpc>
                <a:spcPct val="150000"/>
              </a:lnSpc>
              <a:buFont typeface="Wingdings" panose="05000000000000000000" pitchFamily="2" charset="2"/>
              <a:buChar char="§"/>
            </a:pPr>
            <a:r>
              <a:rPr lang="en-US" kern="0" dirty="0">
                <a:solidFill>
                  <a:schemeClr val="bg2"/>
                </a:solidFill>
                <a:latin typeface="Gotham Medium" panose="02000603030000020004" pitchFamily="2" charset="0"/>
                <a:cs typeface="Times New Roman" pitchFamily="18" charset="0"/>
                <a:sym typeface="Lato"/>
              </a:rPr>
              <a:t>Manufacturing Systems and Process </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50"/>
        <p:cNvGrpSpPr/>
        <p:nvPr/>
      </p:nvGrpSpPr>
      <p:grpSpPr>
        <a:xfrm>
          <a:off x="0" y="0"/>
          <a:ext cx="0" cy="0"/>
          <a:chOff x="0" y="0"/>
          <a:chExt cx="0" cy="0"/>
        </a:xfrm>
      </p:grpSpPr>
      <p:sp>
        <p:nvSpPr>
          <p:cNvPr id="23" name="Google Shape;197;p27">
            <a:extLst>
              <a:ext uri="{FF2B5EF4-FFF2-40B4-BE49-F238E27FC236}">
                <a16:creationId xmlns:a16="http://schemas.microsoft.com/office/drawing/2014/main" id="{164203C6-9CC1-4414-A5F0-F20BB7436FF4}"/>
              </a:ext>
            </a:extLst>
          </p:cNvPr>
          <p:cNvSpPr/>
          <p:nvPr/>
        </p:nvSpPr>
        <p:spPr>
          <a:xfrm>
            <a:off x="-1" y="133350"/>
            <a:ext cx="1905001" cy="5010150"/>
          </a:xfrm>
          <a:prstGeom prst="rect">
            <a:avLst/>
          </a:prstGeom>
          <a:solidFill>
            <a:srgbClr val="FEC63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11" name="Group 10">
            <a:extLst>
              <a:ext uri="{FF2B5EF4-FFF2-40B4-BE49-F238E27FC236}">
                <a16:creationId xmlns:a16="http://schemas.microsoft.com/office/drawing/2014/main" id="{2C1BED3C-E49B-4CF0-9E3B-39279D0C7907}"/>
              </a:ext>
            </a:extLst>
          </p:cNvPr>
          <p:cNvGrpSpPr/>
          <p:nvPr/>
        </p:nvGrpSpPr>
        <p:grpSpPr>
          <a:xfrm>
            <a:off x="3566000" y="1352550"/>
            <a:ext cx="2347812" cy="3382571"/>
            <a:chOff x="4468828" y="1402490"/>
            <a:chExt cx="2241254" cy="3204011"/>
          </a:xfrm>
        </p:grpSpPr>
        <p:grpSp>
          <p:nvGrpSpPr>
            <p:cNvPr id="55" name="Group 54">
              <a:extLst>
                <a:ext uri="{FF2B5EF4-FFF2-40B4-BE49-F238E27FC236}">
                  <a16:creationId xmlns:a16="http://schemas.microsoft.com/office/drawing/2014/main" id="{C80A8F61-A861-4F57-B375-211A7F5C7315}"/>
                </a:ext>
              </a:extLst>
            </p:cNvPr>
            <p:cNvGrpSpPr/>
            <p:nvPr/>
          </p:nvGrpSpPr>
          <p:grpSpPr>
            <a:xfrm>
              <a:off x="4468828" y="1402490"/>
              <a:ext cx="2241254" cy="2668145"/>
              <a:chOff x="4011628" y="1782823"/>
              <a:chExt cx="2241254" cy="2668145"/>
            </a:xfrm>
          </p:grpSpPr>
          <p:sp>
            <p:nvSpPr>
              <p:cNvPr id="50" name="Google Shape;557;p42">
                <a:extLst>
                  <a:ext uri="{FF2B5EF4-FFF2-40B4-BE49-F238E27FC236}">
                    <a16:creationId xmlns:a16="http://schemas.microsoft.com/office/drawing/2014/main" id="{AC9734F9-3AE6-4379-BE9F-A57296FA75D0}"/>
                  </a:ext>
                </a:extLst>
              </p:cNvPr>
              <p:cNvSpPr txBox="1">
                <a:spLocks/>
              </p:cNvSpPr>
              <p:nvPr/>
            </p:nvSpPr>
            <p:spPr>
              <a:xfrm>
                <a:off x="4011628" y="1782823"/>
                <a:ext cx="2236772" cy="309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b="1" kern="0" dirty="0">
                    <a:solidFill>
                      <a:schemeClr val="bg2"/>
                    </a:solidFill>
                    <a:latin typeface="Gotham Bold" panose="02000803030000020004" pitchFamily="2" charset="0"/>
                    <a:ea typeface="Montserrat"/>
                    <a:cs typeface="Montserrat"/>
                    <a:sym typeface="Montserrat"/>
                  </a:rPr>
                  <a:t>Production</a:t>
                </a:r>
              </a:p>
            </p:txBody>
          </p:sp>
          <p:sp>
            <p:nvSpPr>
              <p:cNvPr id="51" name="Google Shape;564;p42">
                <a:extLst>
                  <a:ext uri="{FF2B5EF4-FFF2-40B4-BE49-F238E27FC236}">
                    <a16:creationId xmlns:a16="http://schemas.microsoft.com/office/drawing/2014/main" id="{A18FD4CD-D9C2-4864-93FA-2696FC99F546}"/>
                  </a:ext>
                </a:extLst>
              </p:cNvPr>
              <p:cNvSpPr txBox="1">
                <a:spLocks/>
              </p:cNvSpPr>
              <p:nvPr/>
            </p:nvSpPr>
            <p:spPr>
              <a:xfrm>
                <a:off x="4011628" y="3538196"/>
                <a:ext cx="2236772" cy="309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b="1" kern="0" dirty="0">
                    <a:solidFill>
                      <a:schemeClr val="bg2"/>
                    </a:solidFill>
                    <a:latin typeface="Gotham Bold" panose="02000803030000020004" pitchFamily="2" charset="0"/>
                    <a:sym typeface="Montserrat"/>
                  </a:rPr>
                  <a:t>Automobile</a:t>
                </a:r>
              </a:p>
            </p:txBody>
          </p:sp>
          <p:sp>
            <p:nvSpPr>
              <p:cNvPr id="52" name="Google Shape;566;p42">
                <a:extLst>
                  <a:ext uri="{FF2B5EF4-FFF2-40B4-BE49-F238E27FC236}">
                    <a16:creationId xmlns:a16="http://schemas.microsoft.com/office/drawing/2014/main" id="{D98AEE74-E4C5-48B7-ACA9-6C14DCBB3673}"/>
                  </a:ext>
                </a:extLst>
              </p:cNvPr>
              <p:cNvSpPr txBox="1">
                <a:spLocks/>
              </p:cNvSpPr>
              <p:nvPr/>
            </p:nvSpPr>
            <p:spPr>
              <a:xfrm>
                <a:off x="4011628" y="2370956"/>
                <a:ext cx="2236772" cy="309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b="1" kern="0" dirty="0">
                    <a:solidFill>
                      <a:schemeClr val="bg2"/>
                    </a:solidFill>
                    <a:latin typeface="Gotham Bold" panose="02000803030000020004" pitchFamily="2" charset="0"/>
                    <a:sym typeface="Montserrat"/>
                  </a:rPr>
                  <a:t>Design</a:t>
                </a:r>
              </a:p>
            </p:txBody>
          </p:sp>
          <p:sp>
            <p:nvSpPr>
              <p:cNvPr id="53" name="Google Shape;568;p42">
                <a:extLst>
                  <a:ext uri="{FF2B5EF4-FFF2-40B4-BE49-F238E27FC236}">
                    <a16:creationId xmlns:a16="http://schemas.microsoft.com/office/drawing/2014/main" id="{1052A8A4-7A03-4EB2-AC25-23EF95DFFC05}"/>
                  </a:ext>
                </a:extLst>
              </p:cNvPr>
              <p:cNvSpPr txBox="1">
                <a:spLocks/>
              </p:cNvSpPr>
              <p:nvPr/>
            </p:nvSpPr>
            <p:spPr>
              <a:xfrm>
                <a:off x="4016110" y="4141068"/>
                <a:ext cx="2236772" cy="309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b="1" kern="0" dirty="0">
                    <a:solidFill>
                      <a:schemeClr val="bg2"/>
                    </a:solidFill>
                    <a:latin typeface="Gotham Bold" panose="02000803030000020004" pitchFamily="2" charset="0"/>
                    <a:sym typeface="Montserrat"/>
                  </a:rPr>
                  <a:t>Heat Power</a:t>
                </a:r>
              </a:p>
            </p:txBody>
          </p:sp>
          <p:sp>
            <p:nvSpPr>
              <p:cNvPr id="54" name="Google Shape;570;p42">
                <a:extLst>
                  <a:ext uri="{FF2B5EF4-FFF2-40B4-BE49-F238E27FC236}">
                    <a16:creationId xmlns:a16="http://schemas.microsoft.com/office/drawing/2014/main" id="{B4228C2A-032F-43BC-9ED2-C105CC68C38D}"/>
                  </a:ext>
                </a:extLst>
              </p:cNvPr>
              <p:cNvSpPr txBox="1">
                <a:spLocks/>
              </p:cNvSpPr>
              <p:nvPr/>
            </p:nvSpPr>
            <p:spPr>
              <a:xfrm>
                <a:off x="4011628" y="2963963"/>
                <a:ext cx="2236772" cy="309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b="1" kern="0" dirty="0">
                    <a:solidFill>
                      <a:schemeClr val="bg2"/>
                    </a:solidFill>
                    <a:latin typeface="Gotham Bold" panose="02000803030000020004" pitchFamily="2" charset="0"/>
                    <a:sym typeface="Montserrat"/>
                  </a:rPr>
                  <a:t>Mechatronics</a:t>
                </a:r>
              </a:p>
            </p:txBody>
          </p:sp>
        </p:grpSp>
        <p:sp>
          <p:nvSpPr>
            <p:cNvPr id="8" name="Google Shape;568;p42">
              <a:extLst>
                <a:ext uri="{FF2B5EF4-FFF2-40B4-BE49-F238E27FC236}">
                  <a16:creationId xmlns:a16="http://schemas.microsoft.com/office/drawing/2014/main" id="{08EE958A-AD82-4A3B-B4E2-0A72D1EE5837}"/>
                </a:ext>
              </a:extLst>
            </p:cNvPr>
            <p:cNvSpPr txBox="1">
              <a:spLocks/>
            </p:cNvSpPr>
            <p:nvPr/>
          </p:nvSpPr>
          <p:spPr>
            <a:xfrm>
              <a:off x="4468828" y="4296601"/>
              <a:ext cx="2236772" cy="309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b="1" kern="0" dirty="0">
                  <a:solidFill>
                    <a:schemeClr val="bg2"/>
                  </a:solidFill>
                  <a:latin typeface="Gotham Bold" panose="02000803030000020004" pitchFamily="2" charset="0"/>
                  <a:sym typeface="Montserrat"/>
                </a:rPr>
                <a:t>CAD/CAM/CAE</a:t>
              </a:r>
            </a:p>
          </p:txBody>
        </p:sp>
      </p:grpSp>
      <p:sp>
        <p:nvSpPr>
          <p:cNvPr id="3" name="Title 1">
            <a:extLst>
              <a:ext uri="{FF2B5EF4-FFF2-40B4-BE49-F238E27FC236}">
                <a16:creationId xmlns:a16="http://schemas.microsoft.com/office/drawing/2014/main" id="{82897B42-91B9-424D-8CA3-A46D9F07C8E1}"/>
              </a:ext>
            </a:extLst>
          </p:cNvPr>
          <p:cNvSpPr txBox="1">
            <a:spLocks/>
          </p:cNvSpPr>
          <p:nvPr/>
        </p:nvSpPr>
        <p:spPr>
          <a:xfrm>
            <a:off x="3567685" y="563066"/>
            <a:ext cx="5500115" cy="460771"/>
          </a:xfrm>
          <a:prstGeom prst="rect">
            <a:avLst/>
          </a:prstGeom>
          <a:effectLst/>
        </p:spPr>
        <p:txBody>
          <a:bodyPr vert="horz" lIns="91440" tIns="45720" rIns="91440" bIns="45720" rtlCol="0" anchor="ctr">
            <a:noAutofit/>
          </a:bodyPr>
          <a:lstStyle>
            <a:defPPr>
              <a:defRPr lang="en-US"/>
            </a:defPPr>
            <a:lvl1pPr>
              <a:spcBef>
                <a:spcPct val="0"/>
              </a:spcBef>
              <a:buNone/>
              <a:defRPr sz="2800">
                <a:solidFill>
                  <a:srgbClr val="083D65"/>
                </a:solidFill>
                <a:latin typeface="Gotham Bold" panose="02000803030000020004" pitchFamily="2" charset="0"/>
                <a:ea typeface="+mj-ea"/>
                <a:cs typeface="+mj-cs"/>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dirty="0">
                <a:solidFill>
                  <a:srgbClr val="FF5969"/>
                </a:solidFill>
                <a:sym typeface="Montserrat"/>
              </a:rPr>
              <a:t>Mechanical  Engineering Streams </a:t>
            </a:r>
          </a:p>
        </p:txBody>
      </p:sp>
      <p:pic>
        <p:nvPicPr>
          <p:cNvPr id="14338" name="Picture 2" descr="Production Systems - Department of Industrial and Systems Engineering -  University at Buffalo">
            <a:extLst>
              <a:ext uri="{FF2B5EF4-FFF2-40B4-BE49-F238E27FC236}">
                <a16:creationId xmlns:a16="http://schemas.microsoft.com/office/drawing/2014/main" id="{5592CD2B-CEC6-4028-88C6-08234132351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315" r="20033"/>
          <a:stretch/>
        </p:blipFill>
        <p:spPr bwMode="auto">
          <a:xfrm>
            <a:off x="336330" y="440620"/>
            <a:ext cx="2894181" cy="2112079"/>
          </a:xfrm>
          <a:prstGeom prst="rect">
            <a:avLst/>
          </a:prstGeom>
          <a:noFill/>
          <a:extLst>
            <a:ext uri="{909E8E84-426E-40DD-AFC4-6F175D3DCCD1}">
              <a14:hiddenFill xmlns:a14="http://schemas.microsoft.com/office/drawing/2010/main">
                <a:solidFill>
                  <a:srgbClr val="FFFFFF"/>
                </a:solidFill>
              </a14:hiddenFill>
            </a:ext>
          </a:extLst>
        </p:spPr>
      </p:pic>
      <p:pic>
        <p:nvPicPr>
          <p:cNvPr id="14340" name="Picture 4" descr="The future of automobile innovation - MINING.COM">
            <a:extLst>
              <a:ext uri="{FF2B5EF4-FFF2-40B4-BE49-F238E27FC236}">
                <a16:creationId xmlns:a16="http://schemas.microsoft.com/office/drawing/2014/main" id="{BF29DFF0-27B0-4455-A3AC-7847D277BCD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6330" y="2834806"/>
            <a:ext cx="2893339" cy="20265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3637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51A77B9-C364-4E16-91E1-AC86EEF85DC8}"/>
              </a:ext>
            </a:extLst>
          </p:cNvPr>
          <p:cNvSpPr/>
          <p:nvPr/>
        </p:nvSpPr>
        <p:spPr>
          <a:xfrm>
            <a:off x="0" y="0"/>
            <a:ext cx="9144000" cy="5143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solidFill>
                <a:srgbClr val="163F74"/>
              </a:solidFill>
            </a:endParaRPr>
          </a:p>
        </p:txBody>
      </p:sp>
      <p:pic>
        <p:nvPicPr>
          <p:cNvPr id="33" name="Picture 32">
            <a:extLst>
              <a:ext uri="{FF2B5EF4-FFF2-40B4-BE49-F238E27FC236}">
                <a16:creationId xmlns:a16="http://schemas.microsoft.com/office/drawing/2014/main" id="{B1511274-8843-481B-B7F2-ED49186C6989}"/>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a14:imgEffect>
                  </a14:imgLayer>
                </a14:imgProps>
              </a:ext>
              <a:ext uri="{28A0092B-C50C-407E-A947-70E740481C1C}">
                <a14:useLocalDpi xmlns:a14="http://schemas.microsoft.com/office/drawing/2010/main" val="0"/>
              </a:ext>
            </a:extLst>
          </a:blip>
          <a:srcRect l="12273" r="74948"/>
          <a:stretch/>
        </p:blipFill>
        <p:spPr>
          <a:xfrm>
            <a:off x="-2526" y="0"/>
            <a:ext cx="2068529" cy="5143500"/>
          </a:xfrm>
          <a:prstGeom prst="rect">
            <a:avLst/>
          </a:prstGeom>
        </p:spPr>
      </p:pic>
      <p:sp>
        <p:nvSpPr>
          <p:cNvPr id="8" name="TextBox 7">
            <a:extLst>
              <a:ext uri="{FF2B5EF4-FFF2-40B4-BE49-F238E27FC236}">
                <a16:creationId xmlns:a16="http://schemas.microsoft.com/office/drawing/2014/main" id="{CDBBAC6F-0DED-4F7E-BB7D-716911C51A6E}"/>
              </a:ext>
            </a:extLst>
          </p:cNvPr>
          <p:cNvSpPr txBox="1"/>
          <p:nvPr/>
        </p:nvSpPr>
        <p:spPr>
          <a:xfrm>
            <a:off x="152006" y="1274479"/>
            <a:ext cx="6189876" cy="646331"/>
          </a:xfrm>
          <a:prstGeom prst="rect">
            <a:avLst/>
          </a:prstGeom>
          <a:noFill/>
        </p:spPr>
        <p:txBody>
          <a:bodyPr wrap="square">
            <a:spAutoFit/>
          </a:bodyPr>
          <a:lstStyle/>
          <a:p>
            <a:r>
              <a:rPr lang="en-IN" dirty="0">
                <a:latin typeface="Montserrat SemiBold" panose="00000700000000000000" pitchFamily="2" charset="0"/>
              </a:rPr>
              <a:t>on your Excellent Success and Achievement</a:t>
            </a:r>
            <a:br>
              <a:rPr lang="en-IN" dirty="0">
                <a:latin typeface="Montserrat SemiBold" panose="00000700000000000000" pitchFamily="2" charset="0"/>
              </a:rPr>
            </a:br>
            <a:r>
              <a:rPr lang="en-IN" dirty="0">
                <a:latin typeface="Montserrat SemiBold" panose="00000700000000000000" pitchFamily="2" charset="0"/>
              </a:rPr>
              <a:t>in MHT-CET 2021</a:t>
            </a:r>
          </a:p>
        </p:txBody>
      </p:sp>
      <p:sp>
        <p:nvSpPr>
          <p:cNvPr id="9" name="TextBox 8">
            <a:extLst>
              <a:ext uri="{FF2B5EF4-FFF2-40B4-BE49-F238E27FC236}">
                <a16:creationId xmlns:a16="http://schemas.microsoft.com/office/drawing/2014/main" id="{85A5CEBA-2634-4858-A69C-924822AFB712}"/>
              </a:ext>
            </a:extLst>
          </p:cNvPr>
          <p:cNvSpPr txBox="1"/>
          <p:nvPr/>
        </p:nvSpPr>
        <p:spPr>
          <a:xfrm>
            <a:off x="102516" y="337561"/>
            <a:ext cx="5145961" cy="784830"/>
          </a:xfrm>
          <a:prstGeom prst="rect">
            <a:avLst/>
          </a:prstGeom>
          <a:noFill/>
        </p:spPr>
        <p:txBody>
          <a:bodyPr wrap="none" rtlCol="0">
            <a:spAutoFit/>
          </a:bodyPr>
          <a:lstStyle/>
          <a:p>
            <a:r>
              <a:rPr lang="en-US" sz="4500" b="1" dirty="0">
                <a:solidFill>
                  <a:srgbClr val="163F74"/>
                </a:solidFill>
                <a:latin typeface="Monotype Corsiva" panose="03010101010201010101" pitchFamily="66" charset="0"/>
              </a:rPr>
              <a:t>Heartly </a:t>
            </a:r>
            <a:r>
              <a:rPr lang="en-US" sz="4500" b="1" dirty="0">
                <a:solidFill>
                  <a:srgbClr val="F5835D"/>
                </a:solidFill>
                <a:latin typeface="Monotype Corsiva" panose="03010101010201010101" pitchFamily="66" charset="0"/>
              </a:rPr>
              <a:t>Congratulations</a:t>
            </a:r>
            <a:endParaRPr lang="en-IN" sz="4500" b="1" dirty="0">
              <a:solidFill>
                <a:srgbClr val="F5835D"/>
              </a:solidFill>
              <a:latin typeface="Monotype Corsiva" panose="03010101010201010101" pitchFamily="66" charset="0"/>
            </a:endParaRPr>
          </a:p>
        </p:txBody>
      </p:sp>
      <p:sp>
        <p:nvSpPr>
          <p:cNvPr id="11" name="TextBox 10">
            <a:extLst>
              <a:ext uri="{FF2B5EF4-FFF2-40B4-BE49-F238E27FC236}">
                <a16:creationId xmlns:a16="http://schemas.microsoft.com/office/drawing/2014/main" id="{951C3524-81DE-40B5-836C-DD50B9D26E01}"/>
              </a:ext>
            </a:extLst>
          </p:cNvPr>
          <p:cNvSpPr txBox="1"/>
          <p:nvPr/>
        </p:nvSpPr>
        <p:spPr>
          <a:xfrm>
            <a:off x="152006" y="2225501"/>
            <a:ext cx="6189876" cy="369332"/>
          </a:xfrm>
          <a:prstGeom prst="rect">
            <a:avLst/>
          </a:prstGeom>
          <a:noFill/>
        </p:spPr>
        <p:txBody>
          <a:bodyPr wrap="square">
            <a:spAutoFit/>
          </a:bodyPr>
          <a:lstStyle>
            <a:defPPr>
              <a:defRPr lang="en-US"/>
            </a:defPPr>
            <a:lvl1pPr>
              <a:defRPr sz="2400">
                <a:latin typeface="Montserrat SemiBold" panose="00000700000000000000" pitchFamily="2" charset="0"/>
              </a:defRPr>
            </a:lvl1pPr>
          </a:lstStyle>
          <a:p>
            <a:r>
              <a:rPr lang="en-IN" sz="1800" dirty="0"/>
              <a:t>Wishing you the Best for your Future Endeavours </a:t>
            </a:r>
          </a:p>
        </p:txBody>
      </p:sp>
      <p:pic>
        <p:nvPicPr>
          <p:cNvPr id="13" name="Picture 12">
            <a:extLst>
              <a:ext uri="{FF2B5EF4-FFF2-40B4-BE49-F238E27FC236}">
                <a16:creationId xmlns:a16="http://schemas.microsoft.com/office/drawing/2014/main" id="{4C5B9226-CA80-4A4A-BB9A-BE7C093E6A1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30205" y="548779"/>
            <a:ext cx="2098364" cy="2697896"/>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cxnSp>
        <p:nvCxnSpPr>
          <p:cNvPr id="18" name="Straight Connector 17">
            <a:extLst>
              <a:ext uri="{FF2B5EF4-FFF2-40B4-BE49-F238E27FC236}">
                <a16:creationId xmlns:a16="http://schemas.microsoft.com/office/drawing/2014/main" id="{BD966947-65F5-49FD-A54E-1BF6CA9BB20D}"/>
              </a:ext>
            </a:extLst>
          </p:cNvPr>
          <p:cNvCxnSpPr/>
          <p:nvPr/>
        </p:nvCxnSpPr>
        <p:spPr>
          <a:xfrm>
            <a:off x="152007" y="2078611"/>
            <a:ext cx="1629659" cy="0"/>
          </a:xfrm>
          <a:prstGeom prst="line">
            <a:avLst/>
          </a:prstGeom>
          <a:ln w="28575"/>
        </p:spPr>
        <p:style>
          <a:lnRef idx="3">
            <a:schemeClr val="accent2"/>
          </a:lnRef>
          <a:fillRef idx="0">
            <a:schemeClr val="accent2"/>
          </a:fillRef>
          <a:effectRef idx="2">
            <a:schemeClr val="accent2"/>
          </a:effectRef>
          <a:fontRef idx="minor">
            <a:schemeClr val="tx1"/>
          </a:fontRef>
        </p:style>
      </p:cxnSp>
      <p:cxnSp>
        <p:nvCxnSpPr>
          <p:cNvPr id="19" name="Straight Connector 18">
            <a:extLst>
              <a:ext uri="{FF2B5EF4-FFF2-40B4-BE49-F238E27FC236}">
                <a16:creationId xmlns:a16="http://schemas.microsoft.com/office/drawing/2014/main" id="{96C8DCDE-41F8-466D-A3E0-E810D85F5511}"/>
              </a:ext>
            </a:extLst>
          </p:cNvPr>
          <p:cNvCxnSpPr/>
          <p:nvPr/>
        </p:nvCxnSpPr>
        <p:spPr>
          <a:xfrm>
            <a:off x="152007" y="2744378"/>
            <a:ext cx="1629659" cy="0"/>
          </a:xfrm>
          <a:prstGeom prst="line">
            <a:avLst/>
          </a:prstGeom>
          <a:ln w="28575"/>
        </p:spPr>
        <p:style>
          <a:lnRef idx="3">
            <a:schemeClr val="accent2"/>
          </a:lnRef>
          <a:fillRef idx="0">
            <a:schemeClr val="accent2"/>
          </a:fillRef>
          <a:effectRef idx="2">
            <a:schemeClr val="accent2"/>
          </a:effectRef>
          <a:fontRef idx="minor">
            <a:schemeClr val="tx1"/>
          </a:fontRef>
        </p:style>
      </p:cxnSp>
      <p:sp>
        <p:nvSpPr>
          <p:cNvPr id="20" name="TextBox 19">
            <a:extLst>
              <a:ext uri="{FF2B5EF4-FFF2-40B4-BE49-F238E27FC236}">
                <a16:creationId xmlns:a16="http://schemas.microsoft.com/office/drawing/2014/main" id="{8EEB7723-305C-4F5F-9FBA-1381FAEDB25B}"/>
              </a:ext>
            </a:extLst>
          </p:cNvPr>
          <p:cNvSpPr txBox="1"/>
          <p:nvPr/>
        </p:nvSpPr>
        <p:spPr>
          <a:xfrm>
            <a:off x="134148" y="2957823"/>
            <a:ext cx="2319445" cy="369332"/>
          </a:xfrm>
          <a:prstGeom prst="rect">
            <a:avLst/>
          </a:prstGeom>
          <a:noFill/>
        </p:spPr>
        <p:txBody>
          <a:bodyPr wrap="square">
            <a:spAutoFit/>
          </a:bodyPr>
          <a:lstStyle>
            <a:defPPr>
              <a:defRPr lang="en-US"/>
            </a:defPPr>
            <a:lvl1pPr>
              <a:defRPr sz="2400">
                <a:latin typeface="Montserrat SemiBold" panose="00000700000000000000" pitchFamily="2" charset="0"/>
              </a:defRPr>
            </a:lvl1pPr>
          </a:lstStyle>
          <a:p>
            <a:r>
              <a:rPr lang="en-IN" sz="1800" dirty="0"/>
              <a:t>Best Wishes from</a:t>
            </a:r>
          </a:p>
        </p:txBody>
      </p:sp>
      <p:pic>
        <p:nvPicPr>
          <p:cNvPr id="21" name="Picture 20">
            <a:extLst>
              <a:ext uri="{FF2B5EF4-FFF2-40B4-BE49-F238E27FC236}">
                <a16:creationId xmlns:a16="http://schemas.microsoft.com/office/drawing/2014/main" id="{A83C3B9B-7A50-4C99-B980-3C865F23B7DC}"/>
              </a:ext>
            </a:extLst>
          </p:cNvPr>
          <p:cNvPicPr>
            <a:picLocks noChangeAspect="1"/>
          </p:cNvPicPr>
          <p:nvPr/>
        </p:nvPicPr>
        <p:blipFill>
          <a:blip r:embed="rId5" cstate="print">
            <a:duotone>
              <a:prstClr val="black"/>
              <a:srgbClr val="163F74">
                <a:tint val="45000"/>
                <a:satMod val="400000"/>
              </a:srgbClr>
            </a:duotone>
            <a:extLst>
              <a:ext uri="{28A0092B-C50C-407E-A947-70E740481C1C}">
                <a14:useLocalDpi xmlns:a14="http://schemas.microsoft.com/office/drawing/2010/main" val="0"/>
              </a:ext>
            </a:extLst>
          </a:blip>
          <a:stretch>
            <a:fillRect/>
          </a:stretch>
        </p:blipFill>
        <p:spPr>
          <a:xfrm>
            <a:off x="310775" y="3430855"/>
            <a:ext cx="1743090" cy="1375085"/>
          </a:xfrm>
          <a:prstGeom prst="rect">
            <a:avLst/>
          </a:prstGeom>
        </p:spPr>
      </p:pic>
      <p:sp>
        <p:nvSpPr>
          <p:cNvPr id="23" name="TextBox 22">
            <a:extLst>
              <a:ext uri="{FF2B5EF4-FFF2-40B4-BE49-F238E27FC236}">
                <a16:creationId xmlns:a16="http://schemas.microsoft.com/office/drawing/2014/main" id="{C13CFA73-530A-4328-A4E5-8C2C4BE1DB95}"/>
              </a:ext>
            </a:extLst>
          </p:cNvPr>
          <p:cNvSpPr txBox="1"/>
          <p:nvPr/>
        </p:nvSpPr>
        <p:spPr>
          <a:xfrm>
            <a:off x="5812091" y="3426122"/>
            <a:ext cx="3334943" cy="400110"/>
          </a:xfrm>
          <a:prstGeom prst="rect">
            <a:avLst/>
          </a:prstGeom>
          <a:noFill/>
        </p:spPr>
        <p:txBody>
          <a:bodyPr wrap="square">
            <a:spAutoFit/>
          </a:bodyPr>
          <a:lstStyle/>
          <a:p>
            <a:pPr algn="r"/>
            <a:r>
              <a:rPr lang="en-IN" sz="2000" dirty="0" err="1">
                <a:solidFill>
                  <a:srgbClr val="163F74"/>
                </a:solidFill>
                <a:latin typeface="Montserrat Medium" panose="00000600000000000000" pitchFamily="2" charset="0"/>
              </a:rPr>
              <a:t>Tapan</a:t>
            </a:r>
            <a:r>
              <a:rPr lang="en-IN" sz="2000" dirty="0">
                <a:solidFill>
                  <a:srgbClr val="163F74"/>
                </a:solidFill>
                <a:latin typeface="Montserrat Medium" panose="00000600000000000000" pitchFamily="2" charset="0"/>
              </a:rPr>
              <a:t> </a:t>
            </a:r>
            <a:r>
              <a:rPr lang="en-IN" sz="2000" dirty="0" err="1">
                <a:solidFill>
                  <a:srgbClr val="163F74"/>
                </a:solidFill>
                <a:latin typeface="Montserrat Medium" panose="00000600000000000000" pitchFamily="2" charset="0"/>
              </a:rPr>
              <a:t>Avinash</a:t>
            </a:r>
            <a:r>
              <a:rPr lang="en-IN" sz="2000" dirty="0">
                <a:solidFill>
                  <a:srgbClr val="163F74"/>
                </a:solidFill>
                <a:latin typeface="Montserrat Medium" panose="00000600000000000000" pitchFamily="2" charset="0"/>
              </a:rPr>
              <a:t> </a:t>
            </a:r>
            <a:r>
              <a:rPr lang="en-IN" sz="2000" dirty="0" err="1">
                <a:solidFill>
                  <a:srgbClr val="163F74"/>
                </a:solidFill>
                <a:latin typeface="Montserrat Medium" panose="00000600000000000000" pitchFamily="2" charset="0"/>
              </a:rPr>
              <a:t>Chiknis</a:t>
            </a:r>
            <a:endParaRPr lang="en-IN" sz="2000" dirty="0">
              <a:solidFill>
                <a:srgbClr val="163F74"/>
              </a:solidFill>
              <a:latin typeface="Montserrat Medium" panose="00000600000000000000" pitchFamily="2" charset="0"/>
            </a:endParaRPr>
          </a:p>
        </p:txBody>
      </p:sp>
      <p:sp>
        <p:nvSpPr>
          <p:cNvPr id="25" name="TextBox 24">
            <a:extLst>
              <a:ext uri="{FF2B5EF4-FFF2-40B4-BE49-F238E27FC236}">
                <a16:creationId xmlns:a16="http://schemas.microsoft.com/office/drawing/2014/main" id="{FD211483-C0F8-40D3-808B-0B0769CCF30A}"/>
              </a:ext>
            </a:extLst>
          </p:cNvPr>
          <p:cNvSpPr txBox="1"/>
          <p:nvPr/>
        </p:nvSpPr>
        <p:spPr>
          <a:xfrm>
            <a:off x="6208704" y="3909785"/>
            <a:ext cx="2941365" cy="923330"/>
          </a:xfrm>
          <a:prstGeom prst="rect">
            <a:avLst/>
          </a:prstGeom>
          <a:noFill/>
        </p:spPr>
        <p:txBody>
          <a:bodyPr wrap="square">
            <a:spAutoFit/>
          </a:bodyPr>
          <a:lstStyle/>
          <a:p>
            <a:pPr algn="r">
              <a:spcBef>
                <a:spcPts val="450"/>
              </a:spcBef>
            </a:pPr>
            <a:r>
              <a:rPr lang="en-IN" dirty="0">
                <a:latin typeface="Montserrat SemiBold" panose="00000700000000000000" pitchFamily="2" charset="0"/>
              </a:rPr>
              <a:t>secured </a:t>
            </a:r>
            <a:r>
              <a:rPr lang="en-IN" dirty="0">
                <a:solidFill>
                  <a:srgbClr val="163F74"/>
                </a:solidFill>
                <a:latin typeface="Montserrat ExtraBold" panose="00000900000000000000" pitchFamily="2" charset="0"/>
              </a:rPr>
              <a:t>First Position </a:t>
            </a:r>
            <a:r>
              <a:rPr lang="en-IN" dirty="0">
                <a:latin typeface="Montserrat SemiBold" panose="00000700000000000000" pitchFamily="2" charset="0"/>
              </a:rPr>
              <a:t> with </a:t>
            </a:r>
            <a:r>
              <a:rPr lang="en-IN" dirty="0">
                <a:solidFill>
                  <a:srgbClr val="F5835D"/>
                </a:solidFill>
                <a:latin typeface="Montserrat ExtraBold" panose="00000900000000000000" pitchFamily="2" charset="0"/>
              </a:rPr>
              <a:t>100.00 Percentile </a:t>
            </a:r>
            <a:r>
              <a:rPr lang="en-IN" dirty="0">
                <a:latin typeface="Montserrat SemiBold" panose="00000700000000000000" pitchFamily="2" charset="0"/>
              </a:rPr>
              <a:t>in MHT-CET 2021</a:t>
            </a:r>
          </a:p>
        </p:txBody>
      </p:sp>
    </p:spTree>
    <p:extLst>
      <p:ext uri="{BB962C8B-B14F-4D97-AF65-F5344CB8AC3E}">
        <p14:creationId xmlns:p14="http://schemas.microsoft.com/office/powerpoint/2010/main" val="451426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50"/>
        <p:cNvGrpSpPr/>
        <p:nvPr/>
      </p:nvGrpSpPr>
      <p:grpSpPr>
        <a:xfrm>
          <a:off x="0" y="0"/>
          <a:ext cx="0" cy="0"/>
          <a:chOff x="0" y="0"/>
          <a:chExt cx="0" cy="0"/>
        </a:xfrm>
      </p:grpSpPr>
      <p:sp>
        <p:nvSpPr>
          <p:cNvPr id="23" name="Google Shape;197;p27">
            <a:extLst>
              <a:ext uri="{FF2B5EF4-FFF2-40B4-BE49-F238E27FC236}">
                <a16:creationId xmlns:a16="http://schemas.microsoft.com/office/drawing/2014/main" id="{164203C6-9CC1-4414-A5F0-F20BB7436FF4}"/>
              </a:ext>
            </a:extLst>
          </p:cNvPr>
          <p:cNvSpPr/>
          <p:nvPr/>
        </p:nvSpPr>
        <p:spPr>
          <a:xfrm>
            <a:off x="-1" y="133350"/>
            <a:ext cx="1905001" cy="5010150"/>
          </a:xfrm>
          <a:prstGeom prst="rect">
            <a:avLst/>
          </a:prstGeom>
          <a:solidFill>
            <a:srgbClr val="92D05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 name="Title 1">
            <a:extLst>
              <a:ext uri="{FF2B5EF4-FFF2-40B4-BE49-F238E27FC236}">
                <a16:creationId xmlns:a16="http://schemas.microsoft.com/office/drawing/2014/main" id="{82897B42-91B9-424D-8CA3-A46D9F07C8E1}"/>
              </a:ext>
            </a:extLst>
          </p:cNvPr>
          <p:cNvSpPr txBox="1">
            <a:spLocks/>
          </p:cNvSpPr>
          <p:nvPr/>
        </p:nvSpPr>
        <p:spPr>
          <a:xfrm>
            <a:off x="3307557" y="133350"/>
            <a:ext cx="5500115" cy="814287"/>
          </a:xfrm>
          <a:prstGeom prst="rect">
            <a:avLst/>
          </a:prstGeom>
          <a:effectLst/>
        </p:spPr>
        <p:txBody>
          <a:bodyPr vert="horz" lIns="91440" tIns="45720" rIns="91440" bIns="45720" rtlCol="0" anchor="ctr">
            <a:noAutofit/>
          </a:bodyPr>
          <a:lstStyle>
            <a:defPPr>
              <a:defRPr lang="en-US"/>
            </a:defPPr>
            <a:lvl1pPr>
              <a:spcBef>
                <a:spcPct val="0"/>
              </a:spcBef>
              <a:buNone/>
              <a:defRPr sz="2800">
                <a:solidFill>
                  <a:srgbClr val="083D65"/>
                </a:solidFill>
                <a:latin typeface="Gotham Bold" panose="02000803030000020004" pitchFamily="2" charset="0"/>
                <a:ea typeface="+mj-ea"/>
                <a:cs typeface="+mj-cs"/>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rgbClr val="FF5969"/>
                </a:solidFill>
                <a:sym typeface="Montserrat"/>
              </a:rPr>
              <a:t>Mechanical  Engineering – Scope </a:t>
            </a:r>
          </a:p>
        </p:txBody>
      </p:sp>
      <p:sp>
        <p:nvSpPr>
          <p:cNvPr id="24" name="Content Placeholder 2">
            <a:extLst>
              <a:ext uri="{FF2B5EF4-FFF2-40B4-BE49-F238E27FC236}">
                <a16:creationId xmlns:a16="http://schemas.microsoft.com/office/drawing/2014/main" id="{4914EC3B-ACF4-4538-852F-145031710B99}"/>
              </a:ext>
            </a:extLst>
          </p:cNvPr>
          <p:cNvSpPr txBox="1">
            <a:spLocks/>
          </p:cNvSpPr>
          <p:nvPr/>
        </p:nvSpPr>
        <p:spPr>
          <a:xfrm>
            <a:off x="3565994" y="1030187"/>
            <a:ext cx="5541129" cy="3831205"/>
          </a:xfrm>
          <a:prstGeom prst="rect">
            <a:avLst/>
          </a:prstGeom>
        </p:spPr>
        <p:txBody>
          <a:bodyPr vert="horz" lIns="91440" tIns="45720" rIns="91440" bIns="45720" rtlCol="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42900" indent="-342900">
              <a:lnSpc>
                <a:spcPct val="150000"/>
              </a:lnSpc>
              <a:spcBef>
                <a:spcPts val="600"/>
              </a:spcBef>
              <a:buFont typeface="Wingdings" panose="05000000000000000000" pitchFamily="2" charset="2"/>
              <a:buChar char="§"/>
            </a:pPr>
            <a:r>
              <a:rPr lang="en-US" kern="0" dirty="0">
                <a:solidFill>
                  <a:schemeClr val="bg2"/>
                </a:solidFill>
                <a:latin typeface="Gotham Medium" panose="02000603030000020004" pitchFamily="2" charset="0"/>
              </a:rPr>
              <a:t>Engineering Industry of all kinds</a:t>
            </a:r>
          </a:p>
          <a:p>
            <a:pPr marL="342900" indent="-342900">
              <a:lnSpc>
                <a:spcPct val="150000"/>
              </a:lnSpc>
              <a:spcBef>
                <a:spcPts val="600"/>
              </a:spcBef>
              <a:buFont typeface="Wingdings" panose="05000000000000000000" pitchFamily="2" charset="2"/>
              <a:buChar char="§"/>
            </a:pPr>
            <a:r>
              <a:rPr lang="en-US" kern="0" dirty="0">
                <a:solidFill>
                  <a:schemeClr val="bg2"/>
                </a:solidFill>
                <a:latin typeface="Gotham Medium" panose="02000603030000020004" pitchFamily="2" charset="0"/>
              </a:rPr>
              <a:t>Automobile Engineering</a:t>
            </a:r>
          </a:p>
          <a:p>
            <a:pPr marL="342900" indent="-342900">
              <a:lnSpc>
                <a:spcPct val="150000"/>
              </a:lnSpc>
              <a:spcBef>
                <a:spcPts val="600"/>
              </a:spcBef>
              <a:buFont typeface="Wingdings" panose="05000000000000000000" pitchFamily="2" charset="2"/>
              <a:buChar char="§"/>
            </a:pPr>
            <a:r>
              <a:rPr lang="en-US" kern="0" dirty="0">
                <a:solidFill>
                  <a:schemeClr val="bg2"/>
                </a:solidFill>
                <a:latin typeface="Gotham Medium" panose="02000603030000020004" pitchFamily="2" charset="0"/>
              </a:rPr>
              <a:t>Maintenance of Plants in Process Industry</a:t>
            </a:r>
          </a:p>
          <a:p>
            <a:pPr marL="285750" lvl="1" indent="-285750">
              <a:lnSpc>
                <a:spcPct val="150000"/>
              </a:lnSpc>
              <a:spcBef>
                <a:spcPts val="600"/>
              </a:spcBef>
              <a:buFont typeface="Wingdings" panose="05000000000000000000" pitchFamily="2" charset="2"/>
              <a:buChar char="§"/>
            </a:pPr>
            <a:r>
              <a:rPr lang="en-US" kern="0" dirty="0">
                <a:solidFill>
                  <a:schemeClr val="bg2"/>
                </a:solidFill>
                <a:latin typeface="Gotham Medium" panose="02000603030000020004" pitchFamily="2" charset="0"/>
              </a:rPr>
              <a:t> Textile, Chemical, Food processing, Pharmacy etc.</a:t>
            </a:r>
          </a:p>
          <a:p>
            <a:pPr marL="342900" indent="-342900">
              <a:lnSpc>
                <a:spcPct val="150000"/>
              </a:lnSpc>
              <a:spcBef>
                <a:spcPts val="600"/>
              </a:spcBef>
              <a:buFont typeface="Wingdings" panose="05000000000000000000" pitchFamily="2" charset="2"/>
              <a:buChar char="§"/>
            </a:pPr>
            <a:r>
              <a:rPr lang="en-US" kern="0" dirty="0">
                <a:solidFill>
                  <a:schemeClr val="bg2"/>
                </a:solidFill>
                <a:latin typeface="Gotham Medium" panose="02000603030000020004" pitchFamily="2" charset="0"/>
              </a:rPr>
              <a:t>Manufacturing Sector</a:t>
            </a:r>
          </a:p>
          <a:p>
            <a:pPr marL="342900" indent="-342900">
              <a:lnSpc>
                <a:spcPct val="150000"/>
              </a:lnSpc>
              <a:spcBef>
                <a:spcPts val="600"/>
              </a:spcBef>
              <a:buFont typeface="Wingdings" panose="05000000000000000000" pitchFamily="2" charset="2"/>
              <a:buChar char="§"/>
            </a:pPr>
            <a:r>
              <a:rPr lang="en-US" kern="0" dirty="0">
                <a:solidFill>
                  <a:schemeClr val="bg2"/>
                </a:solidFill>
                <a:latin typeface="Gotham Medium" panose="02000603030000020004" pitchFamily="2" charset="0"/>
              </a:rPr>
              <a:t>Armed Forces, Defense Industry, Space Research</a:t>
            </a:r>
          </a:p>
          <a:p>
            <a:pPr marL="342900" indent="-342900">
              <a:lnSpc>
                <a:spcPct val="150000"/>
              </a:lnSpc>
              <a:spcBef>
                <a:spcPts val="600"/>
              </a:spcBef>
              <a:buFont typeface="Wingdings" panose="05000000000000000000" pitchFamily="2" charset="2"/>
              <a:buChar char="§"/>
            </a:pPr>
            <a:r>
              <a:rPr lang="en-US" kern="0" dirty="0">
                <a:solidFill>
                  <a:schemeClr val="bg2"/>
                </a:solidFill>
                <a:latin typeface="Gotham Medium" panose="02000603030000020004" pitchFamily="2" charset="0"/>
              </a:rPr>
              <a:t>Emerging Field of Mechatronics</a:t>
            </a:r>
          </a:p>
          <a:p>
            <a:pPr marL="342900" indent="-342900">
              <a:lnSpc>
                <a:spcPct val="150000"/>
              </a:lnSpc>
              <a:spcBef>
                <a:spcPts val="600"/>
              </a:spcBef>
              <a:buFont typeface="Wingdings" panose="05000000000000000000" pitchFamily="2" charset="2"/>
              <a:buChar char="§"/>
            </a:pPr>
            <a:r>
              <a:rPr lang="en-US" kern="0" dirty="0">
                <a:solidFill>
                  <a:schemeClr val="bg2"/>
                </a:solidFill>
                <a:latin typeface="Gotham Medium" panose="02000603030000020004" pitchFamily="2" charset="0"/>
              </a:rPr>
              <a:t>Growing Areas of CAD/CAM/CAE,</a:t>
            </a:r>
          </a:p>
          <a:p>
            <a:pPr marL="342900" indent="-342900">
              <a:lnSpc>
                <a:spcPct val="150000"/>
              </a:lnSpc>
              <a:spcBef>
                <a:spcPts val="600"/>
              </a:spcBef>
              <a:buFont typeface="Wingdings" panose="05000000000000000000" pitchFamily="2" charset="2"/>
              <a:buChar char="§"/>
            </a:pPr>
            <a:r>
              <a:rPr lang="en-US" kern="0" dirty="0">
                <a:solidFill>
                  <a:schemeClr val="bg2"/>
                </a:solidFill>
                <a:latin typeface="Gotham Medium" panose="02000603030000020004" pitchFamily="2" charset="0"/>
              </a:rPr>
              <a:t>Robotics &amp; Automation</a:t>
            </a:r>
          </a:p>
          <a:p>
            <a:pPr marL="342900" indent="-342900">
              <a:lnSpc>
                <a:spcPct val="150000"/>
              </a:lnSpc>
              <a:spcBef>
                <a:spcPts val="600"/>
              </a:spcBef>
              <a:buFont typeface="Wingdings" panose="05000000000000000000" pitchFamily="2" charset="2"/>
              <a:buChar char="§"/>
            </a:pPr>
            <a:r>
              <a:rPr lang="en-US" kern="0" dirty="0">
                <a:solidFill>
                  <a:schemeClr val="bg2"/>
                </a:solidFill>
                <a:latin typeface="Gotham Medium" panose="02000603030000020004" pitchFamily="2" charset="0"/>
              </a:rPr>
              <a:t>UPSC &amp; MPSC</a:t>
            </a:r>
          </a:p>
        </p:txBody>
      </p:sp>
      <p:pic>
        <p:nvPicPr>
          <p:cNvPr id="21" name="Picture 14" descr="Related image">
            <a:extLst>
              <a:ext uri="{FF2B5EF4-FFF2-40B4-BE49-F238E27FC236}">
                <a16:creationId xmlns:a16="http://schemas.microsoft.com/office/drawing/2014/main" id="{AA44DB9A-AB7E-49B9-9F67-9DACC8CB290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336328" y="2834806"/>
            <a:ext cx="2893337" cy="2026586"/>
          </a:xfrm>
          <a:prstGeom prst="rect">
            <a:avLst/>
          </a:prstGeom>
          <a:extLst>
            <a:ext uri="{909E8E84-426E-40DD-AFC4-6F175D3DCCD1}">
              <a14:hiddenFill xmlns:a14="http://schemas.microsoft.com/office/drawing/2010/main">
                <a:solidFill>
                  <a:srgbClr val="FFFFFF"/>
                </a:solidFill>
              </a14:hiddenFill>
            </a:ext>
          </a:extLst>
        </p:spPr>
      </p:pic>
      <p:pic>
        <p:nvPicPr>
          <p:cNvPr id="16386" name="Picture 2" descr="Make in India: A Glorious Path Towards Self-Reliance - Wire &amp;amp; Cable India">
            <a:extLst>
              <a:ext uri="{FF2B5EF4-FFF2-40B4-BE49-F238E27FC236}">
                <a16:creationId xmlns:a16="http://schemas.microsoft.com/office/drawing/2014/main" id="{074E7F7F-D8D1-497D-876A-31E9C9120B5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6328" y="440620"/>
            <a:ext cx="2893337" cy="2112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5673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450"/>
        <p:cNvGrpSpPr/>
        <p:nvPr/>
      </p:nvGrpSpPr>
      <p:grpSpPr>
        <a:xfrm>
          <a:off x="0" y="0"/>
          <a:ext cx="0" cy="0"/>
          <a:chOff x="0" y="0"/>
          <a:chExt cx="0" cy="0"/>
        </a:xfrm>
      </p:grpSpPr>
      <p:sp>
        <p:nvSpPr>
          <p:cNvPr id="23" name="Google Shape;197;p27">
            <a:extLst>
              <a:ext uri="{FF2B5EF4-FFF2-40B4-BE49-F238E27FC236}">
                <a16:creationId xmlns:a16="http://schemas.microsoft.com/office/drawing/2014/main" id="{164203C6-9CC1-4414-A5F0-F20BB7436FF4}"/>
              </a:ext>
            </a:extLst>
          </p:cNvPr>
          <p:cNvSpPr/>
          <p:nvPr/>
        </p:nvSpPr>
        <p:spPr>
          <a:xfrm>
            <a:off x="7435739" y="666750"/>
            <a:ext cx="1708262" cy="4476750"/>
          </a:xfrm>
          <a:prstGeom prst="rect">
            <a:avLst/>
          </a:prstGeom>
          <a:solidFill>
            <a:srgbClr val="FF5969"/>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1026" name="Picture 2">
            <a:extLst>
              <a:ext uri="{FF2B5EF4-FFF2-40B4-BE49-F238E27FC236}">
                <a16:creationId xmlns:a16="http://schemas.microsoft.com/office/drawing/2014/main" id="{53B787CB-C2A9-4E56-AC73-7EFD36B1488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72200" y="802228"/>
            <a:ext cx="2817136" cy="20505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lectrical &amp;amp; Electronics Engineering">
            <a:extLst>
              <a:ext uri="{FF2B5EF4-FFF2-40B4-BE49-F238E27FC236}">
                <a16:creationId xmlns:a16="http://schemas.microsoft.com/office/drawing/2014/main" id="{82B337CF-1FA4-4A5C-8DC5-A5DB48E2ABD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72200" y="2988302"/>
            <a:ext cx="2817136" cy="1973213"/>
          </a:xfrm>
          <a:prstGeom prst="rect">
            <a:avLst/>
          </a:prstGeom>
          <a:noFill/>
          <a:extLst>
            <a:ext uri="{909E8E84-426E-40DD-AFC4-6F175D3DCCD1}">
              <a14:hiddenFill xmlns:a14="http://schemas.microsoft.com/office/drawing/2010/main">
                <a:solidFill>
                  <a:srgbClr val="FFFFFF"/>
                </a:solidFill>
              </a14:hiddenFill>
            </a:ext>
          </a:extLst>
        </p:spPr>
      </p:pic>
      <p:sp>
        <p:nvSpPr>
          <p:cNvPr id="9" name="Google Shape;188;p26">
            <a:extLst>
              <a:ext uri="{FF2B5EF4-FFF2-40B4-BE49-F238E27FC236}">
                <a16:creationId xmlns:a16="http://schemas.microsoft.com/office/drawing/2014/main" id="{7FC98059-8F29-4E64-B256-3499F710ED9E}"/>
              </a:ext>
            </a:extLst>
          </p:cNvPr>
          <p:cNvSpPr txBox="1">
            <a:spLocks/>
          </p:cNvSpPr>
          <p:nvPr/>
        </p:nvSpPr>
        <p:spPr>
          <a:xfrm>
            <a:off x="609601" y="306454"/>
            <a:ext cx="4648200" cy="569678"/>
          </a:xfrm>
          <a:prstGeom prst="rect">
            <a:avLst/>
          </a:prstGeom>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800" kern="0" dirty="0">
                <a:solidFill>
                  <a:srgbClr val="FF5969"/>
                </a:solidFill>
                <a:latin typeface="Gotham Bold" panose="02000803030000020004" pitchFamily="2" charset="0"/>
              </a:rPr>
              <a:t>Electrical Engineering</a:t>
            </a:r>
          </a:p>
        </p:txBody>
      </p:sp>
      <p:sp>
        <p:nvSpPr>
          <p:cNvPr id="10" name="Google Shape;191;p26">
            <a:extLst>
              <a:ext uri="{FF2B5EF4-FFF2-40B4-BE49-F238E27FC236}">
                <a16:creationId xmlns:a16="http://schemas.microsoft.com/office/drawing/2014/main" id="{33A048E6-6447-4903-BE9C-C91D13C11271}"/>
              </a:ext>
            </a:extLst>
          </p:cNvPr>
          <p:cNvSpPr/>
          <p:nvPr/>
        </p:nvSpPr>
        <p:spPr>
          <a:xfrm>
            <a:off x="1" y="440620"/>
            <a:ext cx="609600" cy="302330"/>
          </a:xfrm>
          <a:prstGeom prst="rect">
            <a:avLst/>
          </a:prstGeom>
          <a:solidFill>
            <a:srgbClr val="52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 name="Content Placeholder 2">
            <a:extLst>
              <a:ext uri="{FF2B5EF4-FFF2-40B4-BE49-F238E27FC236}">
                <a16:creationId xmlns:a16="http://schemas.microsoft.com/office/drawing/2014/main" id="{8A55264F-0626-4F95-9ADF-FBBEEDFFCB25}"/>
              </a:ext>
            </a:extLst>
          </p:cNvPr>
          <p:cNvSpPr txBox="1">
            <a:spLocks/>
          </p:cNvSpPr>
          <p:nvPr/>
        </p:nvSpPr>
        <p:spPr>
          <a:xfrm>
            <a:off x="457200" y="938068"/>
            <a:ext cx="5530739" cy="3707984"/>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spcBef>
                <a:spcPts val="1200"/>
              </a:spcBef>
              <a:buFont typeface="Wingdings" panose="05000000000000000000" pitchFamily="2" charset="2"/>
              <a:buChar char="§"/>
            </a:pPr>
            <a:r>
              <a:rPr lang="en-US" sz="1600" dirty="0">
                <a:solidFill>
                  <a:schemeClr val="bg2"/>
                </a:solidFill>
                <a:latin typeface="Gotham Medium" panose="02000603030000020004" pitchFamily="2" charset="0"/>
              </a:rPr>
              <a:t>Electrical engineering deals with the generation, transmission, distribution and use of electrical power and its control.</a:t>
            </a:r>
          </a:p>
          <a:p>
            <a:pPr>
              <a:lnSpc>
                <a:spcPct val="150000"/>
              </a:lnSpc>
              <a:spcBef>
                <a:spcPts val="1200"/>
              </a:spcBef>
              <a:buFont typeface="Wingdings" panose="05000000000000000000" pitchFamily="2" charset="2"/>
              <a:buChar char="§"/>
            </a:pPr>
            <a:r>
              <a:rPr lang="en-US" sz="1600" dirty="0">
                <a:solidFill>
                  <a:schemeClr val="bg2"/>
                </a:solidFill>
                <a:latin typeface="Gotham Medium" panose="02000603030000020004" pitchFamily="2" charset="0"/>
              </a:rPr>
              <a:t>Electrical engineers work with equipment that produce &amp; distribute electricity such as generators, transmission lines, transformers, lighting and wiring in buildings.</a:t>
            </a:r>
          </a:p>
        </p:txBody>
      </p:sp>
    </p:spTree>
    <p:extLst>
      <p:ext uri="{BB962C8B-B14F-4D97-AF65-F5344CB8AC3E}">
        <p14:creationId xmlns:p14="http://schemas.microsoft.com/office/powerpoint/2010/main" val="679543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sp>
        <p:nvSpPr>
          <p:cNvPr id="186" name="Google Shape;186;p26"/>
          <p:cNvSpPr/>
          <p:nvPr/>
        </p:nvSpPr>
        <p:spPr>
          <a:xfrm>
            <a:off x="0" y="3943350"/>
            <a:ext cx="9144000" cy="1200150"/>
          </a:xfrm>
          <a:prstGeom prst="rect">
            <a:avLst/>
          </a:prstGeom>
          <a:solidFill>
            <a:srgbClr val="00A0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188;p26">
            <a:extLst>
              <a:ext uri="{FF2B5EF4-FFF2-40B4-BE49-F238E27FC236}">
                <a16:creationId xmlns:a16="http://schemas.microsoft.com/office/drawing/2014/main" id="{1AD99EC3-589A-4A9E-A3CD-E6ED29A7EB38}"/>
              </a:ext>
            </a:extLst>
          </p:cNvPr>
          <p:cNvSpPr txBox="1">
            <a:spLocks/>
          </p:cNvSpPr>
          <p:nvPr/>
        </p:nvSpPr>
        <p:spPr>
          <a:xfrm>
            <a:off x="1362461" y="576726"/>
            <a:ext cx="5876539" cy="531345"/>
          </a:xfrm>
          <a:prstGeom prst="rect">
            <a:avLst/>
          </a:prstGeom>
        </p:spPr>
        <p:txBody>
          <a:bodyPr spcFirstLastPara="1" vert="horz" wrap="square" lIns="91425" tIns="91425" rIns="91425" bIns="91425" rtlCol="0" anchor="b" anchorCtr="0">
            <a:noAutofit/>
          </a:bodyPr>
          <a:lstStyle>
            <a:lvl1pPr lvl="0" algn="ctr" defTabSz="914400" rtl="0" eaLnBrk="1" latinLnBrk="0" hangingPunct="1">
              <a:spcBef>
                <a:spcPts val="0"/>
              </a:spcBef>
              <a:spcAft>
                <a:spcPts val="0"/>
              </a:spcAft>
              <a:buSzPts val="2800"/>
              <a:buNone/>
              <a:defRPr sz="4400" kern="1200">
                <a:solidFill>
                  <a:schemeClr val="tx1"/>
                </a:solidFill>
                <a:latin typeface="+mj-lt"/>
                <a:ea typeface="+mj-ea"/>
                <a:cs typeface="+mj-cs"/>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pPr algn="l"/>
            <a:r>
              <a:rPr lang="en-US" sz="2800" dirty="0">
                <a:solidFill>
                  <a:srgbClr val="FF5969"/>
                </a:solidFill>
                <a:latin typeface="Gotham Bold" panose="02000803030000020004" pitchFamily="2" charset="0"/>
              </a:rPr>
              <a:t>Electrical Engineering Scope </a:t>
            </a:r>
          </a:p>
        </p:txBody>
      </p:sp>
      <p:sp>
        <p:nvSpPr>
          <p:cNvPr id="15" name="Google Shape;191;p26">
            <a:extLst>
              <a:ext uri="{FF2B5EF4-FFF2-40B4-BE49-F238E27FC236}">
                <a16:creationId xmlns:a16="http://schemas.microsoft.com/office/drawing/2014/main" id="{3EF54595-05E6-4C79-A60C-615FE5722CEE}"/>
              </a:ext>
            </a:extLst>
          </p:cNvPr>
          <p:cNvSpPr/>
          <p:nvPr/>
        </p:nvSpPr>
        <p:spPr>
          <a:xfrm>
            <a:off x="0" y="687449"/>
            <a:ext cx="1362461" cy="309900"/>
          </a:xfrm>
          <a:prstGeom prst="rect">
            <a:avLst/>
          </a:prstGeom>
          <a:solidFill>
            <a:schemeClr val="tx1">
              <a:lumMod val="50000"/>
              <a:lumOff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Rectangle 7">
            <a:extLst>
              <a:ext uri="{FF2B5EF4-FFF2-40B4-BE49-F238E27FC236}">
                <a16:creationId xmlns:a16="http://schemas.microsoft.com/office/drawing/2014/main" id="{F35A37F4-3E9D-458A-8B42-D9D10BDCA747}"/>
              </a:ext>
            </a:extLst>
          </p:cNvPr>
          <p:cNvSpPr/>
          <p:nvPr/>
        </p:nvSpPr>
        <p:spPr>
          <a:xfrm>
            <a:off x="190498" y="1059976"/>
            <a:ext cx="8953502" cy="1646605"/>
          </a:xfrm>
          <a:prstGeom prst="rect">
            <a:avLst/>
          </a:prstGeom>
        </p:spPr>
        <p:txBody>
          <a:bodyPr wrap="square">
            <a:spAutoFit/>
          </a:bodyPr>
          <a:lstStyle/>
          <a:p>
            <a:pPr marL="285750" indent="-285750">
              <a:lnSpc>
                <a:spcPct val="150000"/>
              </a:lnSpc>
              <a:spcBef>
                <a:spcPts val="600"/>
              </a:spcBef>
              <a:buFont typeface="Wingdings" panose="05000000000000000000" pitchFamily="2" charset="2"/>
              <a:buChar char="§"/>
            </a:pPr>
            <a:r>
              <a:rPr lang="en-US" sz="1600" dirty="0">
                <a:latin typeface="Gotham Medium" panose="02000603030000020004" pitchFamily="2" charset="0"/>
              </a:rPr>
              <a:t>Any type of power plants. e.g. Atomic, Hydro, Thermal, Wind power plants.</a:t>
            </a:r>
          </a:p>
          <a:p>
            <a:pPr marL="285750" indent="-285750">
              <a:lnSpc>
                <a:spcPct val="150000"/>
              </a:lnSpc>
              <a:spcBef>
                <a:spcPts val="600"/>
              </a:spcBef>
              <a:buFont typeface="Wingdings" panose="05000000000000000000" pitchFamily="2" charset="2"/>
              <a:buChar char="§"/>
            </a:pPr>
            <a:r>
              <a:rPr lang="en-US" sz="1600" dirty="0">
                <a:latin typeface="Gotham Medium" panose="02000603030000020004" pitchFamily="2" charset="0"/>
              </a:rPr>
              <a:t>Private and public sector like railways, civil aviation, electricity board and utility companies, electrical design and consultancy firms and all types of manufacturing industries.</a:t>
            </a:r>
          </a:p>
        </p:txBody>
      </p:sp>
      <p:pic>
        <p:nvPicPr>
          <p:cNvPr id="13" name="Picture 2" descr="Related image">
            <a:extLst>
              <a:ext uri="{FF2B5EF4-FFF2-40B4-BE49-F238E27FC236}">
                <a16:creationId xmlns:a16="http://schemas.microsoft.com/office/drawing/2014/main" id="{B20FFF8D-1A45-455F-AC8E-4F623B76C14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7200"/>
                    </a14:imgEffect>
                  </a14:imgLayer>
                </a14:imgProps>
              </a:ext>
              <a:ext uri="{28A0092B-C50C-407E-A947-70E740481C1C}">
                <a14:useLocalDpi xmlns:a14="http://schemas.microsoft.com/office/drawing/2010/main" val="0"/>
              </a:ext>
            </a:extLst>
          </a:blip>
          <a:srcRect t="4421"/>
          <a:stretch/>
        </p:blipFill>
        <p:spPr bwMode="auto">
          <a:xfrm>
            <a:off x="190498" y="2928938"/>
            <a:ext cx="8724902" cy="2028824"/>
          </a:xfrm>
          <a:prstGeom prst="rect">
            <a:avLst/>
          </a:prstGeom>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96"/>
        <p:cNvGrpSpPr/>
        <p:nvPr/>
      </p:nvGrpSpPr>
      <p:grpSpPr>
        <a:xfrm>
          <a:off x="0" y="0"/>
          <a:ext cx="0" cy="0"/>
          <a:chOff x="0" y="0"/>
          <a:chExt cx="0" cy="0"/>
        </a:xfrm>
      </p:grpSpPr>
      <p:sp>
        <p:nvSpPr>
          <p:cNvPr id="22" name="Google Shape;197;p27">
            <a:extLst>
              <a:ext uri="{FF2B5EF4-FFF2-40B4-BE49-F238E27FC236}">
                <a16:creationId xmlns:a16="http://schemas.microsoft.com/office/drawing/2014/main" id="{AADF2F76-B281-4672-81B8-49F59EABD7F0}"/>
              </a:ext>
            </a:extLst>
          </p:cNvPr>
          <p:cNvSpPr/>
          <p:nvPr/>
        </p:nvSpPr>
        <p:spPr>
          <a:xfrm>
            <a:off x="7435739" y="666750"/>
            <a:ext cx="1708262" cy="4476750"/>
          </a:xfrm>
          <a:prstGeom prst="rect">
            <a:avLst/>
          </a:prstGeom>
          <a:solidFill>
            <a:srgbClr val="FEC63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2050" name="Picture 2" descr="SIRT Bhopal: B.E Electronics &amp;amp; Communications Engineering | B.E in EXTC">
            <a:extLst>
              <a:ext uri="{FF2B5EF4-FFF2-40B4-BE49-F238E27FC236}">
                <a16:creationId xmlns:a16="http://schemas.microsoft.com/office/drawing/2014/main" id="{26253E84-C421-454D-BEB8-A264CF7581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2200" y="3007352"/>
            <a:ext cx="2817136" cy="197321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D:\Imagies\12_MImage_995195_171824099673390_460126472_n.jpg">
            <a:extLst>
              <a:ext uri="{FF2B5EF4-FFF2-40B4-BE49-F238E27FC236}">
                <a16:creationId xmlns:a16="http://schemas.microsoft.com/office/drawing/2014/main" id="{020D0EB8-EFC8-40A0-A196-4434F692B6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72200" y="843471"/>
            <a:ext cx="2817136" cy="2050596"/>
          </a:xfrm>
          <a:prstGeom prst="rect">
            <a:avLst/>
          </a:prstGeom>
          <a:extLst>
            <a:ext uri="{909E8E84-426E-40DD-AFC4-6F175D3DCCD1}">
              <a14:hiddenFill xmlns:a14="http://schemas.microsoft.com/office/drawing/2010/main">
                <a:solidFill>
                  <a:srgbClr val="FFFFFF"/>
                </a:solidFill>
              </a14:hiddenFill>
            </a:ext>
          </a:extLst>
        </p:spPr>
      </p:pic>
      <p:sp>
        <p:nvSpPr>
          <p:cNvPr id="24" name="Content Placeholder 2">
            <a:extLst>
              <a:ext uri="{FF2B5EF4-FFF2-40B4-BE49-F238E27FC236}">
                <a16:creationId xmlns:a16="http://schemas.microsoft.com/office/drawing/2014/main" id="{0B74BE61-244A-463D-AA14-E4AB75A2DA4E}"/>
              </a:ext>
            </a:extLst>
          </p:cNvPr>
          <p:cNvSpPr txBox="1">
            <a:spLocks/>
          </p:cNvSpPr>
          <p:nvPr/>
        </p:nvSpPr>
        <p:spPr>
          <a:xfrm>
            <a:off x="0" y="818071"/>
            <a:ext cx="6096000" cy="3793549"/>
          </a:xfrm>
          <a:prstGeom prst="rect">
            <a:avLst/>
          </a:prstGeom>
          <a:noFill/>
          <a:ln>
            <a:noFill/>
          </a:ln>
        </p:spPr>
        <p:txBody>
          <a:bodyPr spcFirstLastPara="1" vert="horz" wrap="square" lIns="91440" tIns="45720" rIns="91440" bIns="45720" rtlCol="0"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1pPr>
            <a:lvl2pPr marL="914400" marR="0" lvl="1"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2pPr>
            <a:lvl3pPr marL="1371600" marR="0" lvl="2"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3pPr>
            <a:lvl4pPr marL="1828800" marR="0" lvl="3"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4pPr>
            <a:lvl5pPr marL="2286000" marR="0" lvl="4"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5pPr>
            <a:lvl6pPr marL="2743200" marR="0" lvl="5"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6pPr>
            <a:lvl7pPr marL="3200400" marR="0" lvl="6"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7pPr>
            <a:lvl8pPr marL="3657600" marR="0" lvl="7"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8pPr>
            <a:lvl9pPr marL="4114800" marR="0" lvl="8"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9pPr>
          </a:lstStyle>
          <a:p>
            <a:pPr>
              <a:lnSpc>
                <a:spcPct val="150000"/>
              </a:lnSpc>
              <a:buFont typeface="Wingdings" pitchFamily="2" charset="2"/>
              <a:buChar char="§"/>
            </a:pPr>
            <a:r>
              <a:rPr lang="en-US" sz="1600" kern="0" dirty="0">
                <a:solidFill>
                  <a:schemeClr val="tx1"/>
                </a:solidFill>
                <a:latin typeface="Gotham Medium" panose="02000603030000020004" pitchFamily="2" charset="0"/>
                <a:cs typeface="Times New Roman" pitchFamily="18" charset="0"/>
              </a:rPr>
              <a:t>Electronics = Electron + Dynamics.</a:t>
            </a:r>
          </a:p>
          <a:p>
            <a:pPr>
              <a:lnSpc>
                <a:spcPct val="150000"/>
              </a:lnSpc>
              <a:buFont typeface="Wingdings" pitchFamily="2" charset="2"/>
              <a:buChar char="§"/>
            </a:pPr>
            <a:r>
              <a:rPr lang="en-US" sz="1600" kern="0" dirty="0">
                <a:solidFill>
                  <a:srgbClr val="FF0000"/>
                </a:solidFill>
                <a:latin typeface="Gotham Medium" panose="02000603030000020004" pitchFamily="2" charset="0"/>
                <a:cs typeface="Times New Roman" pitchFamily="18" charset="0"/>
              </a:rPr>
              <a:t>Electrical engineers are usually concerned with using electricity to transmit energy, while Electronics engineers are concerned with using electricity to transmit information.</a:t>
            </a:r>
          </a:p>
          <a:p>
            <a:pPr>
              <a:lnSpc>
                <a:spcPct val="150000"/>
              </a:lnSpc>
              <a:buFont typeface="Wingdings" pitchFamily="2" charset="2"/>
              <a:buChar char="§"/>
            </a:pPr>
            <a:r>
              <a:rPr lang="en-US" sz="1600" kern="0" dirty="0">
                <a:solidFill>
                  <a:schemeClr val="tx1"/>
                </a:solidFill>
                <a:latin typeface="Gotham Medium" panose="02000603030000020004" pitchFamily="2" charset="0"/>
                <a:cs typeface="Times New Roman" pitchFamily="18" charset="0"/>
              </a:rPr>
              <a:t>The main difference between electrical and electronic circuits is that electrical circuits have no decision making (processing) capability, whilst electronic circuits do. </a:t>
            </a:r>
          </a:p>
          <a:p>
            <a:pPr>
              <a:lnSpc>
                <a:spcPct val="150000"/>
              </a:lnSpc>
              <a:buFont typeface="Wingdings" pitchFamily="2" charset="2"/>
              <a:buChar char="§"/>
            </a:pPr>
            <a:r>
              <a:rPr lang="en-US" sz="1600" kern="0" dirty="0">
                <a:solidFill>
                  <a:schemeClr val="tx1"/>
                </a:solidFill>
                <a:latin typeface="Gotham Medium" panose="02000603030000020004" pitchFamily="2" charset="0"/>
                <a:cs typeface="Times New Roman" pitchFamily="18" charset="0"/>
              </a:rPr>
              <a:t>It is a control of flow of electrons using Semi- conductor devices in circuit.</a:t>
            </a:r>
          </a:p>
        </p:txBody>
      </p:sp>
      <p:sp>
        <p:nvSpPr>
          <p:cNvPr id="13" name="Google Shape;188;p26">
            <a:extLst>
              <a:ext uri="{FF2B5EF4-FFF2-40B4-BE49-F238E27FC236}">
                <a16:creationId xmlns:a16="http://schemas.microsoft.com/office/drawing/2014/main" id="{105BA8F5-0F58-4361-B567-D8BF963327F9}"/>
              </a:ext>
            </a:extLst>
          </p:cNvPr>
          <p:cNvSpPr txBox="1">
            <a:spLocks/>
          </p:cNvSpPr>
          <p:nvPr/>
        </p:nvSpPr>
        <p:spPr>
          <a:xfrm>
            <a:off x="1412011" y="343111"/>
            <a:ext cx="4656326" cy="531345"/>
          </a:xfrm>
          <a:prstGeom prst="rect">
            <a:avLst/>
          </a:prstGeom>
        </p:spPr>
        <p:txBody>
          <a:bodyPr spcFirstLastPara="1" vert="horz" wrap="square" lIns="91425" tIns="91425" rIns="91425" bIns="91425" rtlCol="0" anchor="b" anchorCtr="0">
            <a:noAutofit/>
          </a:bodyPr>
          <a:lstStyle>
            <a:lvl1pPr lvl="0" algn="ctr" defTabSz="914400" rtl="0" eaLnBrk="1" latinLnBrk="0" hangingPunct="1">
              <a:spcBef>
                <a:spcPts val="0"/>
              </a:spcBef>
              <a:spcAft>
                <a:spcPts val="0"/>
              </a:spcAft>
              <a:buSzPts val="2800"/>
              <a:buNone/>
              <a:defRPr sz="4400" kern="1200">
                <a:solidFill>
                  <a:schemeClr val="tx1"/>
                </a:solidFill>
                <a:latin typeface="+mj-lt"/>
                <a:ea typeface="+mj-ea"/>
                <a:cs typeface="+mj-cs"/>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pPr algn="l"/>
            <a:r>
              <a:rPr lang="en-US" sz="2800" dirty="0">
                <a:solidFill>
                  <a:srgbClr val="FF5969"/>
                </a:solidFill>
                <a:latin typeface="Gotham Bold" panose="02000803030000020004" pitchFamily="2" charset="0"/>
              </a:rPr>
              <a:t>Electronics Engineering</a:t>
            </a:r>
          </a:p>
        </p:txBody>
      </p:sp>
      <p:sp>
        <p:nvSpPr>
          <p:cNvPr id="14" name="Google Shape;191;p26">
            <a:extLst>
              <a:ext uri="{FF2B5EF4-FFF2-40B4-BE49-F238E27FC236}">
                <a16:creationId xmlns:a16="http://schemas.microsoft.com/office/drawing/2014/main" id="{9DD7C159-E565-4375-B170-9ADDBE705ADD}"/>
              </a:ext>
            </a:extLst>
          </p:cNvPr>
          <p:cNvSpPr/>
          <p:nvPr/>
        </p:nvSpPr>
        <p:spPr>
          <a:xfrm>
            <a:off x="0" y="441870"/>
            <a:ext cx="1384349" cy="309900"/>
          </a:xfrm>
          <a:prstGeom prst="rect">
            <a:avLst/>
          </a:prstGeom>
          <a:solidFill>
            <a:schemeClr val="tx1">
              <a:lumMod val="50000"/>
              <a:lumOff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274940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sp>
        <p:nvSpPr>
          <p:cNvPr id="186" name="Google Shape;186;p26"/>
          <p:cNvSpPr/>
          <p:nvPr/>
        </p:nvSpPr>
        <p:spPr>
          <a:xfrm>
            <a:off x="0" y="3790950"/>
            <a:ext cx="9144000" cy="1352549"/>
          </a:xfrm>
          <a:prstGeom prst="rect">
            <a:avLst/>
          </a:prstGeom>
          <a:solidFill>
            <a:srgbClr val="92D05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2" name="Google Shape;192;p26"/>
          <p:cNvSpPr/>
          <p:nvPr/>
        </p:nvSpPr>
        <p:spPr>
          <a:xfrm>
            <a:off x="844175" y="3370799"/>
            <a:ext cx="103200" cy="10581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88;p26">
            <a:extLst>
              <a:ext uri="{FF2B5EF4-FFF2-40B4-BE49-F238E27FC236}">
                <a16:creationId xmlns:a16="http://schemas.microsoft.com/office/drawing/2014/main" id="{1AD99EC3-589A-4A9E-A3CD-E6ED29A7EB38}"/>
              </a:ext>
            </a:extLst>
          </p:cNvPr>
          <p:cNvSpPr txBox="1">
            <a:spLocks/>
          </p:cNvSpPr>
          <p:nvPr/>
        </p:nvSpPr>
        <p:spPr>
          <a:xfrm>
            <a:off x="190498" y="237405"/>
            <a:ext cx="6790940" cy="949388"/>
          </a:xfrm>
          <a:prstGeom prst="rect">
            <a:avLst/>
          </a:prstGeom>
        </p:spPr>
        <p:txBody>
          <a:bodyPr spcFirstLastPara="1" vert="horz" wrap="square" lIns="91425" tIns="91425" rIns="91425" bIns="91425" rtlCol="0" anchor="b" anchorCtr="0">
            <a:noAutofit/>
          </a:bodyPr>
          <a:lstStyle>
            <a:lvl1pPr lvl="0" algn="ctr" defTabSz="914400" rtl="0" eaLnBrk="1" latinLnBrk="0" hangingPunct="1">
              <a:spcBef>
                <a:spcPts val="0"/>
              </a:spcBef>
              <a:spcAft>
                <a:spcPts val="0"/>
              </a:spcAft>
              <a:buSzPts val="2800"/>
              <a:buNone/>
              <a:defRPr sz="4400" kern="1200">
                <a:solidFill>
                  <a:schemeClr val="tx1"/>
                </a:solidFill>
                <a:latin typeface="+mj-lt"/>
                <a:ea typeface="+mj-ea"/>
                <a:cs typeface="+mj-cs"/>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pPr algn="l"/>
            <a:r>
              <a:rPr lang="en-US" sz="2800" dirty="0">
                <a:solidFill>
                  <a:srgbClr val="FF5969"/>
                </a:solidFill>
                <a:latin typeface="Gotham Bold" panose="02000803030000020004" pitchFamily="2" charset="0"/>
              </a:rPr>
              <a:t>Electronics &amp; Tele-Communication Engineering</a:t>
            </a:r>
          </a:p>
        </p:txBody>
      </p:sp>
      <p:sp>
        <p:nvSpPr>
          <p:cNvPr id="15" name="Google Shape;191;p26">
            <a:extLst>
              <a:ext uri="{FF2B5EF4-FFF2-40B4-BE49-F238E27FC236}">
                <a16:creationId xmlns:a16="http://schemas.microsoft.com/office/drawing/2014/main" id="{3EF54595-05E6-4C79-A60C-615FE5722CEE}"/>
              </a:ext>
            </a:extLst>
          </p:cNvPr>
          <p:cNvSpPr/>
          <p:nvPr/>
        </p:nvSpPr>
        <p:spPr>
          <a:xfrm>
            <a:off x="1" y="272139"/>
            <a:ext cx="190498" cy="796477"/>
          </a:xfrm>
          <a:prstGeom prst="rect">
            <a:avLst/>
          </a:prstGeom>
          <a:solidFill>
            <a:srgbClr val="52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Rectangle 7">
            <a:extLst>
              <a:ext uri="{FF2B5EF4-FFF2-40B4-BE49-F238E27FC236}">
                <a16:creationId xmlns:a16="http://schemas.microsoft.com/office/drawing/2014/main" id="{F35A37F4-3E9D-458A-8B42-D9D10BDCA747}"/>
              </a:ext>
            </a:extLst>
          </p:cNvPr>
          <p:cNvSpPr/>
          <p:nvPr/>
        </p:nvSpPr>
        <p:spPr>
          <a:xfrm>
            <a:off x="190498" y="1292804"/>
            <a:ext cx="8424001" cy="1222322"/>
          </a:xfrm>
          <a:prstGeom prst="rect">
            <a:avLst/>
          </a:prstGeom>
        </p:spPr>
        <p:txBody>
          <a:bodyPr wrap="square">
            <a:spAutoFit/>
          </a:bodyPr>
          <a:lstStyle/>
          <a:p>
            <a:pPr marL="285750" indent="-285750">
              <a:lnSpc>
                <a:spcPct val="150000"/>
              </a:lnSpc>
              <a:spcBef>
                <a:spcPts val="600"/>
              </a:spcBef>
              <a:buFont typeface="Wingdings" panose="05000000000000000000" pitchFamily="2" charset="2"/>
              <a:buChar char="§"/>
            </a:pPr>
            <a:r>
              <a:rPr lang="en-US" sz="1600" dirty="0">
                <a:latin typeface="Gotham Medium" panose="02000603030000020004" pitchFamily="2" charset="0"/>
              </a:rPr>
              <a:t>It deals with transfer of Information on channel (Wired / Wireless) over short/ long distance  using Electronics.</a:t>
            </a:r>
          </a:p>
          <a:p>
            <a:pPr marL="285750" indent="-285750">
              <a:lnSpc>
                <a:spcPct val="150000"/>
              </a:lnSpc>
              <a:spcBef>
                <a:spcPts val="600"/>
              </a:spcBef>
              <a:buFont typeface="Wingdings" panose="05000000000000000000" pitchFamily="2" charset="2"/>
              <a:buChar char="§"/>
            </a:pPr>
            <a:r>
              <a:rPr lang="en-US" sz="1600" dirty="0">
                <a:latin typeface="Gotham Medium" panose="02000603030000020004" pitchFamily="2" charset="0"/>
              </a:rPr>
              <a:t>Voice, Picture and Data are some examples of Information.</a:t>
            </a:r>
          </a:p>
        </p:txBody>
      </p:sp>
      <p:pic>
        <p:nvPicPr>
          <p:cNvPr id="9" name="Picture 4" descr="Image result for electronics and telecommunication">
            <a:extLst>
              <a:ext uri="{FF2B5EF4-FFF2-40B4-BE49-F238E27FC236}">
                <a16:creationId xmlns:a16="http://schemas.microsoft.com/office/drawing/2014/main" id="{C1AAA536-64B5-44A4-AD23-886D9D019C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498" y="2800350"/>
            <a:ext cx="8724902" cy="2153519"/>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9230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450"/>
        <p:cNvGrpSpPr/>
        <p:nvPr/>
      </p:nvGrpSpPr>
      <p:grpSpPr>
        <a:xfrm>
          <a:off x="0" y="0"/>
          <a:ext cx="0" cy="0"/>
          <a:chOff x="0" y="0"/>
          <a:chExt cx="0" cy="0"/>
        </a:xfrm>
      </p:grpSpPr>
      <p:sp>
        <p:nvSpPr>
          <p:cNvPr id="5" name="Google Shape;197;p27">
            <a:extLst>
              <a:ext uri="{FF2B5EF4-FFF2-40B4-BE49-F238E27FC236}">
                <a16:creationId xmlns:a16="http://schemas.microsoft.com/office/drawing/2014/main" id="{61A1D992-FE66-4BF9-BED0-0EF2F18750F1}"/>
              </a:ext>
            </a:extLst>
          </p:cNvPr>
          <p:cNvSpPr/>
          <p:nvPr/>
        </p:nvSpPr>
        <p:spPr>
          <a:xfrm>
            <a:off x="-1" y="133350"/>
            <a:ext cx="1905001" cy="5010150"/>
          </a:xfrm>
          <a:prstGeom prst="rect">
            <a:avLst/>
          </a:prstGeom>
          <a:solidFill>
            <a:srgbClr val="52CBBE"/>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0" name="Title 1">
            <a:extLst>
              <a:ext uri="{FF2B5EF4-FFF2-40B4-BE49-F238E27FC236}">
                <a16:creationId xmlns:a16="http://schemas.microsoft.com/office/drawing/2014/main" id="{89B17752-15BC-4707-986F-ECB1F60CEBE0}"/>
              </a:ext>
            </a:extLst>
          </p:cNvPr>
          <p:cNvSpPr txBox="1">
            <a:spLocks/>
          </p:cNvSpPr>
          <p:nvPr/>
        </p:nvSpPr>
        <p:spPr>
          <a:xfrm>
            <a:off x="3459713" y="438218"/>
            <a:ext cx="5563565" cy="845987"/>
          </a:xfrm>
          <a:prstGeom prst="rect">
            <a:avLst/>
          </a:prstGeom>
          <a:effectLst/>
        </p:spPr>
        <p:txBody>
          <a:bodyPr vert="horz" lIns="91440" tIns="45720" rIns="91440" bIns="45720" rtlCol="0" anchor="ctr">
            <a:noAutofit/>
          </a:bodyPr>
          <a:lstStyle>
            <a:defPPr>
              <a:defRPr lang="en-US"/>
            </a:defPPr>
            <a:lvl1pPr>
              <a:spcBef>
                <a:spcPct val="0"/>
              </a:spcBef>
              <a:buNone/>
              <a:defRPr sz="2800">
                <a:solidFill>
                  <a:srgbClr val="083D65"/>
                </a:solidFill>
                <a:latin typeface="Gotham Bold" panose="02000803030000020004" pitchFamily="2" charset="0"/>
                <a:ea typeface="+mj-ea"/>
                <a:cs typeface="+mj-cs"/>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rgbClr val="FF5969"/>
                </a:solidFill>
                <a:sym typeface="Montserrat"/>
              </a:rPr>
              <a:t>Electronics Engineering  Streams -</a:t>
            </a:r>
          </a:p>
        </p:txBody>
      </p:sp>
      <p:pic>
        <p:nvPicPr>
          <p:cNvPr id="25" name="Picture 2" descr="Global Industrial Electronics Market, Global Industrial Electronics Industry,  Industrial Electronics Market Research Report - Ken Research">
            <a:extLst>
              <a:ext uri="{FF2B5EF4-FFF2-40B4-BE49-F238E27FC236}">
                <a16:creationId xmlns:a16="http://schemas.microsoft.com/office/drawing/2014/main" id="{C2F82FDE-E8E4-4BBD-AC77-D7CAEBFD3A1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890"/>
          <a:stretch/>
        </p:blipFill>
        <p:spPr bwMode="auto">
          <a:xfrm>
            <a:off x="337172" y="439958"/>
            <a:ext cx="2893339" cy="211207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Industrial Electronics – A2Z Control sytems">
            <a:extLst>
              <a:ext uri="{FF2B5EF4-FFF2-40B4-BE49-F238E27FC236}">
                <a16:creationId xmlns:a16="http://schemas.microsoft.com/office/drawing/2014/main" id="{DCE6729A-5B91-4933-8D9C-9A5D535EFD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7172" y="2834807"/>
            <a:ext cx="2893339" cy="2026586"/>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D521537A-D52C-4204-A325-A0264390C90C}"/>
              </a:ext>
            </a:extLst>
          </p:cNvPr>
          <p:cNvGrpSpPr/>
          <p:nvPr/>
        </p:nvGrpSpPr>
        <p:grpSpPr>
          <a:xfrm>
            <a:off x="3459713" y="1472949"/>
            <a:ext cx="5141606" cy="3422812"/>
            <a:chOff x="3459713" y="1372944"/>
            <a:chExt cx="5141606" cy="3422812"/>
          </a:xfrm>
        </p:grpSpPr>
        <p:sp>
          <p:nvSpPr>
            <p:cNvPr id="11" name="Google Shape;557;p42">
              <a:extLst>
                <a:ext uri="{FF2B5EF4-FFF2-40B4-BE49-F238E27FC236}">
                  <a16:creationId xmlns:a16="http://schemas.microsoft.com/office/drawing/2014/main" id="{263B2C20-AC57-4F7C-B3F5-8F4EC6008A9F}"/>
                </a:ext>
              </a:extLst>
            </p:cNvPr>
            <p:cNvSpPr txBox="1">
              <a:spLocks/>
            </p:cNvSpPr>
            <p:nvPr/>
          </p:nvSpPr>
          <p:spPr>
            <a:xfrm>
              <a:off x="3459713" y="2452333"/>
              <a:ext cx="5141606" cy="27698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kern="0" dirty="0">
                  <a:solidFill>
                    <a:schemeClr val="tx1"/>
                  </a:solidFill>
                  <a:latin typeface="Gotham Medium" panose="02000603030000020004" pitchFamily="2" charset="0"/>
                  <a:ea typeface="Montserrat"/>
                  <a:cs typeface="Montserrat"/>
                  <a:sym typeface="Montserrat"/>
                </a:rPr>
                <a:t>Electronics  &amp; Tele-Communication </a:t>
              </a:r>
            </a:p>
          </p:txBody>
        </p:sp>
        <p:sp>
          <p:nvSpPr>
            <p:cNvPr id="12" name="Google Shape;564;p42">
              <a:extLst>
                <a:ext uri="{FF2B5EF4-FFF2-40B4-BE49-F238E27FC236}">
                  <a16:creationId xmlns:a16="http://schemas.microsoft.com/office/drawing/2014/main" id="{89B23D43-B1F8-45A9-8D01-5F5925C8D982}"/>
                </a:ext>
              </a:extLst>
            </p:cNvPr>
            <p:cNvSpPr txBox="1">
              <a:spLocks/>
            </p:cNvSpPr>
            <p:nvPr/>
          </p:nvSpPr>
          <p:spPr>
            <a:xfrm>
              <a:off x="3459714" y="3485551"/>
              <a:ext cx="3907105" cy="27698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kern="0" dirty="0">
                  <a:solidFill>
                    <a:schemeClr val="tx1"/>
                  </a:solidFill>
                  <a:latin typeface="Gotham Medium" panose="02000603030000020004" pitchFamily="2" charset="0"/>
                  <a:sym typeface="Montserrat"/>
                </a:rPr>
                <a:t>Instrumentation &amp; Control</a:t>
              </a:r>
            </a:p>
          </p:txBody>
        </p:sp>
        <p:sp>
          <p:nvSpPr>
            <p:cNvPr id="13" name="Google Shape;566;p42">
              <a:extLst>
                <a:ext uri="{FF2B5EF4-FFF2-40B4-BE49-F238E27FC236}">
                  <a16:creationId xmlns:a16="http://schemas.microsoft.com/office/drawing/2014/main" id="{27E3EBC4-732C-492B-9BBC-C308003A78A7}"/>
                </a:ext>
              </a:extLst>
            </p:cNvPr>
            <p:cNvSpPr txBox="1">
              <a:spLocks/>
            </p:cNvSpPr>
            <p:nvPr/>
          </p:nvSpPr>
          <p:spPr>
            <a:xfrm>
              <a:off x="3459713" y="1935724"/>
              <a:ext cx="4239894" cy="27698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kern="0" dirty="0">
                  <a:solidFill>
                    <a:schemeClr val="tx1"/>
                  </a:solidFill>
                  <a:latin typeface="Gotham Medium" panose="02000603030000020004" pitchFamily="2" charset="0"/>
                  <a:sym typeface="Montserrat"/>
                </a:rPr>
                <a:t>Electronics &amp; Communication</a:t>
              </a:r>
            </a:p>
          </p:txBody>
        </p:sp>
        <p:sp>
          <p:nvSpPr>
            <p:cNvPr id="14" name="Google Shape;568;p42">
              <a:extLst>
                <a:ext uri="{FF2B5EF4-FFF2-40B4-BE49-F238E27FC236}">
                  <a16:creationId xmlns:a16="http://schemas.microsoft.com/office/drawing/2014/main" id="{8D9332A7-48DC-4EA1-B28C-97FDED09CE48}"/>
                </a:ext>
              </a:extLst>
            </p:cNvPr>
            <p:cNvSpPr txBox="1">
              <a:spLocks/>
            </p:cNvSpPr>
            <p:nvPr/>
          </p:nvSpPr>
          <p:spPr>
            <a:xfrm>
              <a:off x="3464555" y="4002160"/>
              <a:ext cx="3737664" cy="27698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kern="0" dirty="0">
                  <a:solidFill>
                    <a:schemeClr val="tx1"/>
                  </a:solidFill>
                  <a:latin typeface="Gotham Medium" panose="02000603030000020004" pitchFamily="2" charset="0"/>
                  <a:sym typeface="Montserrat"/>
                </a:rPr>
                <a:t>Industrial Electronics</a:t>
              </a:r>
            </a:p>
          </p:txBody>
        </p:sp>
        <p:sp>
          <p:nvSpPr>
            <p:cNvPr id="15" name="Google Shape;570;p42">
              <a:extLst>
                <a:ext uri="{FF2B5EF4-FFF2-40B4-BE49-F238E27FC236}">
                  <a16:creationId xmlns:a16="http://schemas.microsoft.com/office/drawing/2014/main" id="{B5CCD535-042B-4336-BBBA-4E607CB295DE}"/>
                </a:ext>
              </a:extLst>
            </p:cNvPr>
            <p:cNvSpPr txBox="1">
              <a:spLocks/>
            </p:cNvSpPr>
            <p:nvPr/>
          </p:nvSpPr>
          <p:spPr>
            <a:xfrm>
              <a:off x="3459714" y="2968942"/>
              <a:ext cx="2415833" cy="27698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kern="0" dirty="0">
                  <a:solidFill>
                    <a:schemeClr val="tx1"/>
                  </a:solidFill>
                  <a:latin typeface="Gotham Medium" panose="02000603030000020004" pitchFamily="2" charset="0"/>
                  <a:sym typeface="Montserrat"/>
                </a:rPr>
                <a:t>Instrumentation</a:t>
              </a:r>
            </a:p>
          </p:txBody>
        </p:sp>
        <p:sp>
          <p:nvSpPr>
            <p:cNvPr id="17" name="Google Shape;568;p42">
              <a:extLst>
                <a:ext uri="{FF2B5EF4-FFF2-40B4-BE49-F238E27FC236}">
                  <a16:creationId xmlns:a16="http://schemas.microsoft.com/office/drawing/2014/main" id="{3AF2D0D4-AC1D-45F6-A501-2F93B226EA61}"/>
                </a:ext>
              </a:extLst>
            </p:cNvPr>
            <p:cNvSpPr txBox="1">
              <a:spLocks/>
            </p:cNvSpPr>
            <p:nvPr/>
          </p:nvSpPr>
          <p:spPr>
            <a:xfrm>
              <a:off x="3459714" y="4518767"/>
              <a:ext cx="3989405" cy="27698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kern="0" dirty="0">
                  <a:solidFill>
                    <a:schemeClr val="tx1"/>
                  </a:solidFill>
                  <a:latin typeface="Gotham Medium" panose="02000603030000020004" pitchFamily="2" charset="0"/>
                  <a:sym typeface="Montserrat"/>
                </a:rPr>
                <a:t>Bio-Medical Engineering</a:t>
              </a:r>
            </a:p>
          </p:txBody>
        </p:sp>
        <p:sp>
          <p:nvSpPr>
            <p:cNvPr id="16" name="TextBox 15">
              <a:extLst>
                <a:ext uri="{FF2B5EF4-FFF2-40B4-BE49-F238E27FC236}">
                  <a16:creationId xmlns:a16="http://schemas.microsoft.com/office/drawing/2014/main" id="{BD4F8DB0-9B9C-4255-9687-BDDE5358FF50}"/>
                </a:ext>
              </a:extLst>
            </p:cNvPr>
            <p:cNvSpPr txBox="1"/>
            <p:nvPr/>
          </p:nvSpPr>
          <p:spPr>
            <a:xfrm>
              <a:off x="3459713" y="1372944"/>
              <a:ext cx="4572000" cy="369332"/>
            </a:xfrm>
            <a:prstGeom prst="rect">
              <a:avLst/>
            </a:prstGeom>
            <a:noFill/>
          </p:spPr>
          <p:txBody>
            <a:bodyPr wrap="square">
              <a:spAutoFit/>
            </a:bodyPr>
            <a:lstStyle/>
            <a:p>
              <a:pPr marL="285750" indent="-285750">
                <a:lnSpc>
                  <a:spcPct val="100000"/>
                </a:lnSpc>
                <a:buFont typeface="Wingdings" panose="05000000000000000000" pitchFamily="2" charset="2"/>
                <a:buChar char="§"/>
              </a:pPr>
              <a:r>
                <a:rPr lang="en-US" kern="0" dirty="0">
                  <a:solidFill>
                    <a:schemeClr val="tx1"/>
                  </a:solidFill>
                  <a:latin typeface="Gotham Medium" panose="02000603030000020004" pitchFamily="2" charset="0"/>
                  <a:ea typeface="Montserrat"/>
                  <a:cs typeface="Montserrat"/>
                  <a:sym typeface="Montserrat"/>
                </a:rPr>
                <a:t>Electronics</a:t>
              </a:r>
            </a:p>
          </p:txBody>
        </p:sp>
      </p:grpSp>
    </p:spTree>
    <p:extLst>
      <p:ext uri="{BB962C8B-B14F-4D97-AF65-F5344CB8AC3E}">
        <p14:creationId xmlns:p14="http://schemas.microsoft.com/office/powerpoint/2010/main" val="83656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450"/>
        <p:cNvGrpSpPr/>
        <p:nvPr/>
      </p:nvGrpSpPr>
      <p:grpSpPr>
        <a:xfrm>
          <a:off x="0" y="0"/>
          <a:ext cx="0" cy="0"/>
          <a:chOff x="0" y="0"/>
          <a:chExt cx="0" cy="0"/>
        </a:xfrm>
      </p:grpSpPr>
      <p:sp>
        <p:nvSpPr>
          <p:cNvPr id="5" name="Google Shape;197;p27">
            <a:extLst>
              <a:ext uri="{FF2B5EF4-FFF2-40B4-BE49-F238E27FC236}">
                <a16:creationId xmlns:a16="http://schemas.microsoft.com/office/drawing/2014/main" id="{61A1D992-FE66-4BF9-BED0-0EF2F18750F1}"/>
              </a:ext>
            </a:extLst>
          </p:cNvPr>
          <p:cNvSpPr/>
          <p:nvPr/>
        </p:nvSpPr>
        <p:spPr>
          <a:xfrm>
            <a:off x="-1" y="133350"/>
            <a:ext cx="1905001" cy="5010150"/>
          </a:xfrm>
          <a:prstGeom prst="rect">
            <a:avLst/>
          </a:prstGeom>
          <a:solidFill>
            <a:srgbClr val="FEC63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28" name="Picture 4" descr="Center of Excellence for Power Electronics &amp; Drives - ABESIT">
            <a:extLst>
              <a:ext uri="{FF2B5EF4-FFF2-40B4-BE49-F238E27FC236}">
                <a16:creationId xmlns:a16="http://schemas.microsoft.com/office/drawing/2014/main" id="{8ED1CE77-BACB-4D29-94B4-6F836EFAB980}"/>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5294"/>
          <a:stretch/>
        </p:blipFill>
        <p:spPr bwMode="auto">
          <a:xfrm>
            <a:off x="337172" y="2834807"/>
            <a:ext cx="2893339" cy="202658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Different Types of WAN Technologies - Data Networking Services | bSimplify">
            <a:extLst>
              <a:ext uri="{FF2B5EF4-FFF2-40B4-BE49-F238E27FC236}">
                <a16:creationId xmlns:a16="http://schemas.microsoft.com/office/drawing/2014/main" id="{208C3DED-C0F5-4CFD-8C0F-C6972506CBD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7172" y="439958"/>
            <a:ext cx="2893339" cy="2112078"/>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89B17752-15BC-4707-986F-ECB1F60CEBE0}"/>
              </a:ext>
            </a:extLst>
          </p:cNvPr>
          <p:cNvSpPr txBox="1">
            <a:spLocks/>
          </p:cNvSpPr>
          <p:nvPr/>
        </p:nvSpPr>
        <p:spPr>
          <a:xfrm>
            <a:off x="3459713" y="582763"/>
            <a:ext cx="5563565" cy="460771"/>
          </a:xfrm>
          <a:prstGeom prst="rect">
            <a:avLst/>
          </a:prstGeom>
          <a:effectLst/>
        </p:spPr>
        <p:txBody>
          <a:bodyPr vert="horz" lIns="91440" tIns="45720" rIns="91440" bIns="45720" rtlCol="0" anchor="ctr">
            <a:noAutofit/>
          </a:bodyPr>
          <a:lstStyle>
            <a:defPPr>
              <a:defRPr lang="en-US"/>
            </a:defPPr>
            <a:lvl1pPr>
              <a:spcBef>
                <a:spcPct val="0"/>
              </a:spcBef>
              <a:buNone/>
              <a:defRPr sz="2800">
                <a:solidFill>
                  <a:srgbClr val="083D65"/>
                </a:solidFill>
                <a:latin typeface="Gotham Bold" panose="02000803030000020004" pitchFamily="2" charset="0"/>
                <a:ea typeface="+mj-ea"/>
                <a:cs typeface="+mj-cs"/>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rgbClr val="FF5969"/>
                </a:solidFill>
                <a:sym typeface="Montserrat"/>
              </a:rPr>
              <a:t>Electronics Engineering – Scope </a:t>
            </a:r>
          </a:p>
        </p:txBody>
      </p:sp>
      <p:sp>
        <p:nvSpPr>
          <p:cNvPr id="26" name="Content Placeholder 2">
            <a:extLst>
              <a:ext uri="{FF2B5EF4-FFF2-40B4-BE49-F238E27FC236}">
                <a16:creationId xmlns:a16="http://schemas.microsoft.com/office/drawing/2014/main" id="{CED5C228-1E6F-4ECC-B72C-38294D844684}"/>
              </a:ext>
            </a:extLst>
          </p:cNvPr>
          <p:cNvSpPr txBox="1">
            <a:spLocks/>
          </p:cNvSpPr>
          <p:nvPr/>
        </p:nvSpPr>
        <p:spPr>
          <a:xfrm>
            <a:off x="3445107" y="1200150"/>
            <a:ext cx="5361721" cy="4057122"/>
          </a:xfrm>
          <a:prstGeom prst="rect">
            <a:avLst/>
          </a:prstGeom>
        </p:spPr>
        <p:txBody>
          <a:bodyPr spcFirstLastPara="1" vert="horz" wrap="square" lIns="91440" tIns="45720" rIns="91440" bIns="45720" rtlCol="0" anchor="t" anchorCtr="0">
            <a:normAutofit/>
          </a:bodyPr>
          <a:lstStyle>
            <a:lvl1pPr marL="342900" lvl="0" indent="-342900" algn="l" defTabSz="914400" rtl="0" eaLnBrk="1" latinLnBrk="0" hangingPunct="1">
              <a:lnSpc>
                <a:spcPct val="100000"/>
              </a:lnSpc>
              <a:spcBef>
                <a:spcPts val="0"/>
              </a:spcBef>
              <a:spcAft>
                <a:spcPts val="0"/>
              </a:spcAft>
              <a:buSzPts val="1400"/>
              <a:buFont typeface="Arial" pitchFamily="34" charset="0"/>
              <a:buNone/>
              <a:defRPr sz="1400" kern="1200">
                <a:solidFill>
                  <a:schemeClr val="tx1"/>
                </a:solidFill>
                <a:latin typeface="+mn-lt"/>
                <a:ea typeface="+mn-ea"/>
                <a:cs typeface="+mn-cs"/>
              </a:defRPr>
            </a:lvl1pPr>
            <a:lvl2pPr marL="742950" lvl="1" indent="-285750" algn="l" defTabSz="914400" rtl="0" eaLnBrk="1" latinLnBrk="0" hangingPunct="1">
              <a:lnSpc>
                <a:spcPct val="100000"/>
              </a:lnSpc>
              <a:spcBef>
                <a:spcPts val="0"/>
              </a:spcBef>
              <a:spcAft>
                <a:spcPts val="0"/>
              </a:spcAft>
              <a:buSzPts val="1400"/>
              <a:buFont typeface="Arial" pitchFamily="34" charset="0"/>
              <a:buNone/>
              <a:defRPr sz="2800" kern="1200">
                <a:solidFill>
                  <a:schemeClr val="tx1"/>
                </a:solidFill>
                <a:latin typeface="+mn-lt"/>
                <a:ea typeface="+mn-ea"/>
                <a:cs typeface="+mn-cs"/>
              </a:defRPr>
            </a:lvl2pPr>
            <a:lvl3pPr marL="1143000" lvl="2" indent="-228600" algn="l" defTabSz="914400" rtl="0" eaLnBrk="1" latinLnBrk="0" hangingPunct="1">
              <a:lnSpc>
                <a:spcPct val="100000"/>
              </a:lnSpc>
              <a:spcBef>
                <a:spcPts val="0"/>
              </a:spcBef>
              <a:spcAft>
                <a:spcPts val="0"/>
              </a:spcAft>
              <a:buSzPts val="1400"/>
              <a:buFont typeface="Arial" pitchFamily="34" charset="0"/>
              <a:buNone/>
              <a:defRPr sz="2400" kern="1200">
                <a:solidFill>
                  <a:schemeClr val="tx1"/>
                </a:solidFill>
                <a:latin typeface="+mn-lt"/>
                <a:ea typeface="+mn-ea"/>
                <a:cs typeface="+mn-cs"/>
              </a:defRPr>
            </a:lvl3pPr>
            <a:lvl4pPr marL="1600200" lvl="3" indent="-228600" algn="l" defTabSz="914400" rtl="0" eaLnBrk="1" latinLnBrk="0" hangingPunct="1">
              <a:lnSpc>
                <a:spcPct val="100000"/>
              </a:lnSpc>
              <a:spcBef>
                <a:spcPts val="0"/>
              </a:spcBef>
              <a:spcAft>
                <a:spcPts val="0"/>
              </a:spcAft>
              <a:buSzPts val="1400"/>
              <a:buFont typeface="Arial" pitchFamily="34" charset="0"/>
              <a:buNone/>
              <a:defRPr sz="2000" kern="1200">
                <a:solidFill>
                  <a:schemeClr val="tx1"/>
                </a:solidFill>
                <a:latin typeface="+mn-lt"/>
                <a:ea typeface="+mn-ea"/>
                <a:cs typeface="+mn-cs"/>
              </a:defRPr>
            </a:lvl4pPr>
            <a:lvl5pPr marL="2057400" lvl="4" indent="-228600" algn="l" defTabSz="914400" rtl="0" eaLnBrk="1" latinLnBrk="0" hangingPunct="1">
              <a:lnSpc>
                <a:spcPct val="100000"/>
              </a:lnSpc>
              <a:spcBef>
                <a:spcPts val="0"/>
              </a:spcBef>
              <a:spcAft>
                <a:spcPts val="0"/>
              </a:spcAft>
              <a:buSzPts val="1400"/>
              <a:buFont typeface="Arial" pitchFamily="34" charset="0"/>
              <a:buNone/>
              <a:defRPr sz="2000" kern="1200">
                <a:solidFill>
                  <a:schemeClr val="tx1"/>
                </a:solidFill>
                <a:latin typeface="+mn-lt"/>
                <a:ea typeface="+mn-ea"/>
                <a:cs typeface="+mn-cs"/>
              </a:defRPr>
            </a:lvl5pPr>
            <a:lvl6pPr marL="2514600" lvl="5" indent="-228600" algn="l" defTabSz="914400" rtl="0" eaLnBrk="1" latinLnBrk="0" hangingPunct="1">
              <a:lnSpc>
                <a:spcPct val="100000"/>
              </a:lnSpc>
              <a:spcBef>
                <a:spcPts val="0"/>
              </a:spcBef>
              <a:spcAft>
                <a:spcPts val="0"/>
              </a:spcAft>
              <a:buSzPts val="1400"/>
              <a:buFont typeface="Arial" pitchFamily="34" charset="0"/>
              <a:buNone/>
              <a:defRPr sz="2000" kern="1200">
                <a:solidFill>
                  <a:schemeClr val="tx1"/>
                </a:solidFill>
                <a:latin typeface="+mn-lt"/>
                <a:ea typeface="+mn-ea"/>
                <a:cs typeface="+mn-cs"/>
              </a:defRPr>
            </a:lvl6pPr>
            <a:lvl7pPr marL="2971800" lvl="6" indent="-228600" algn="l" defTabSz="914400" rtl="0" eaLnBrk="1" latinLnBrk="0" hangingPunct="1">
              <a:lnSpc>
                <a:spcPct val="100000"/>
              </a:lnSpc>
              <a:spcBef>
                <a:spcPts val="0"/>
              </a:spcBef>
              <a:spcAft>
                <a:spcPts val="0"/>
              </a:spcAft>
              <a:buSzPts val="1400"/>
              <a:buFont typeface="Arial" pitchFamily="34" charset="0"/>
              <a:buNone/>
              <a:defRPr sz="2000" kern="1200">
                <a:solidFill>
                  <a:schemeClr val="tx1"/>
                </a:solidFill>
                <a:latin typeface="+mn-lt"/>
                <a:ea typeface="+mn-ea"/>
                <a:cs typeface="+mn-cs"/>
              </a:defRPr>
            </a:lvl7pPr>
            <a:lvl8pPr marL="3429000" lvl="7" indent="-228600" algn="l" defTabSz="914400" rtl="0" eaLnBrk="1" latinLnBrk="0" hangingPunct="1">
              <a:lnSpc>
                <a:spcPct val="100000"/>
              </a:lnSpc>
              <a:spcBef>
                <a:spcPts val="0"/>
              </a:spcBef>
              <a:spcAft>
                <a:spcPts val="0"/>
              </a:spcAft>
              <a:buSzPts val="1400"/>
              <a:buFont typeface="Arial" pitchFamily="34" charset="0"/>
              <a:buNone/>
              <a:defRPr sz="2000" kern="1200">
                <a:solidFill>
                  <a:schemeClr val="tx1"/>
                </a:solidFill>
                <a:latin typeface="+mn-lt"/>
                <a:ea typeface="+mn-ea"/>
                <a:cs typeface="+mn-cs"/>
              </a:defRPr>
            </a:lvl8pPr>
            <a:lvl9pPr marL="3886200" lvl="8" indent="-228600" algn="l" defTabSz="914400" rtl="0" eaLnBrk="1" latinLnBrk="0" hangingPunct="1">
              <a:lnSpc>
                <a:spcPct val="100000"/>
              </a:lnSpc>
              <a:spcBef>
                <a:spcPts val="0"/>
              </a:spcBef>
              <a:spcAft>
                <a:spcPts val="0"/>
              </a:spcAft>
              <a:buSzPts val="1400"/>
              <a:buFont typeface="Arial" pitchFamily="34" charset="0"/>
              <a:buNone/>
              <a:defRPr sz="2000" kern="1200">
                <a:solidFill>
                  <a:schemeClr val="tx1"/>
                </a:solidFill>
                <a:latin typeface="+mn-lt"/>
                <a:ea typeface="+mn-ea"/>
                <a:cs typeface="+mn-cs"/>
              </a:defRPr>
            </a:lvl9pPr>
          </a:lstStyle>
          <a:p>
            <a:pPr>
              <a:lnSpc>
                <a:spcPct val="150000"/>
              </a:lnSpc>
              <a:spcBef>
                <a:spcPts val="600"/>
              </a:spcBef>
              <a:buFont typeface="Wingdings" pitchFamily="2" charset="2"/>
              <a:buChar char="§"/>
            </a:pPr>
            <a:r>
              <a:rPr lang="en-US" sz="1600" dirty="0">
                <a:latin typeface="Gotham Medium" panose="02000603030000020004" pitchFamily="2" charset="0"/>
              </a:rPr>
              <a:t>Consumer Electronics Industry</a:t>
            </a:r>
          </a:p>
          <a:p>
            <a:pPr>
              <a:lnSpc>
                <a:spcPct val="150000"/>
              </a:lnSpc>
              <a:spcBef>
                <a:spcPts val="600"/>
              </a:spcBef>
              <a:buFont typeface="Wingdings" pitchFamily="2" charset="2"/>
              <a:buChar char="§"/>
            </a:pPr>
            <a:r>
              <a:rPr lang="en-US" sz="1600" dirty="0">
                <a:latin typeface="Gotham Medium" panose="02000603030000020004" pitchFamily="2" charset="0"/>
              </a:rPr>
              <a:t>Telecommunication industry </a:t>
            </a:r>
          </a:p>
          <a:p>
            <a:pPr lvl="1">
              <a:lnSpc>
                <a:spcPct val="150000"/>
              </a:lnSpc>
              <a:spcBef>
                <a:spcPts val="600"/>
              </a:spcBef>
              <a:buFont typeface="Wingdings" pitchFamily="2" charset="2"/>
              <a:buChar char="§"/>
            </a:pPr>
            <a:r>
              <a:rPr lang="en-US" sz="1600" dirty="0">
                <a:latin typeface="Gotham Medium" panose="02000603030000020004" pitchFamily="2" charset="0"/>
              </a:rPr>
              <a:t>Space, Mobile, Wireless, Microwave, Radio Communication etc.</a:t>
            </a:r>
          </a:p>
          <a:p>
            <a:pPr>
              <a:lnSpc>
                <a:spcPct val="150000"/>
              </a:lnSpc>
              <a:spcBef>
                <a:spcPts val="600"/>
              </a:spcBef>
              <a:buFont typeface="Wingdings" pitchFamily="2" charset="2"/>
              <a:buChar char="§"/>
            </a:pPr>
            <a:r>
              <a:rPr lang="en-US" sz="1600" dirty="0">
                <a:latin typeface="Gotham Medium" panose="02000603030000020004" pitchFamily="2" charset="0"/>
              </a:rPr>
              <a:t>Networking field</a:t>
            </a:r>
          </a:p>
          <a:p>
            <a:pPr>
              <a:lnSpc>
                <a:spcPct val="150000"/>
              </a:lnSpc>
              <a:spcBef>
                <a:spcPts val="600"/>
              </a:spcBef>
              <a:buFont typeface="Wingdings" pitchFamily="2" charset="2"/>
              <a:buChar char="§"/>
            </a:pPr>
            <a:r>
              <a:rPr lang="en-US" sz="1600" dirty="0">
                <a:latin typeface="Gotham Medium" panose="02000603030000020004" pitchFamily="2" charset="0"/>
              </a:rPr>
              <a:t>Power Electronics</a:t>
            </a:r>
          </a:p>
          <a:p>
            <a:pPr>
              <a:lnSpc>
                <a:spcPct val="150000"/>
              </a:lnSpc>
              <a:spcBef>
                <a:spcPts val="600"/>
              </a:spcBef>
              <a:buFont typeface="Wingdings" pitchFamily="2" charset="2"/>
              <a:buChar char="§"/>
            </a:pPr>
            <a:r>
              <a:rPr lang="en-US" sz="1600" dirty="0">
                <a:latin typeface="Gotham Medium" panose="02000603030000020004" pitchFamily="2" charset="0"/>
              </a:rPr>
              <a:t>Opportunities in Other industries like Steel, Petroleum  and Chemical Industry, Directing Control and Testing  Production Process</a:t>
            </a:r>
          </a:p>
        </p:txBody>
      </p:sp>
    </p:spTree>
    <p:extLst>
      <p:ext uri="{BB962C8B-B14F-4D97-AF65-F5344CB8AC3E}">
        <p14:creationId xmlns:p14="http://schemas.microsoft.com/office/powerpoint/2010/main" val="1071706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sp>
        <p:nvSpPr>
          <p:cNvPr id="186" name="Google Shape;186;p26"/>
          <p:cNvSpPr/>
          <p:nvPr/>
        </p:nvSpPr>
        <p:spPr>
          <a:xfrm>
            <a:off x="0" y="3867150"/>
            <a:ext cx="9144000" cy="1276349"/>
          </a:xfrm>
          <a:prstGeom prst="rect">
            <a:avLst/>
          </a:prstGeom>
          <a:solidFill>
            <a:srgbClr val="FF596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2" name="Google Shape;192;p26"/>
          <p:cNvSpPr/>
          <p:nvPr/>
        </p:nvSpPr>
        <p:spPr>
          <a:xfrm>
            <a:off x="844175" y="3370799"/>
            <a:ext cx="103200" cy="10581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88;p26">
            <a:extLst>
              <a:ext uri="{FF2B5EF4-FFF2-40B4-BE49-F238E27FC236}">
                <a16:creationId xmlns:a16="http://schemas.microsoft.com/office/drawing/2014/main" id="{1AD99EC3-589A-4A9E-A3CD-E6ED29A7EB38}"/>
              </a:ext>
            </a:extLst>
          </p:cNvPr>
          <p:cNvSpPr txBox="1">
            <a:spLocks/>
          </p:cNvSpPr>
          <p:nvPr/>
        </p:nvSpPr>
        <p:spPr>
          <a:xfrm>
            <a:off x="304800" y="576726"/>
            <a:ext cx="7061539" cy="531345"/>
          </a:xfrm>
          <a:prstGeom prst="rect">
            <a:avLst/>
          </a:prstGeom>
        </p:spPr>
        <p:txBody>
          <a:bodyPr spcFirstLastPara="1" vert="horz" wrap="square" lIns="91425" tIns="91425" rIns="91425" bIns="91425" rtlCol="0" anchor="b" anchorCtr="0">
            <a:noAutofit/>
          </a:bodyPr>
          <a:lstStyle>
            <a:lvl1pPr lvl="0" algn="ctr" defTabSz="914400" rtl="0" eaLnBrk="1" latinLnBrk="0" hangingPunct="1">
              <a:spcBef>
                <a:spcPts val="0"/>
              </a:spcBef>
              <a:spcAft>
                <a:spcPts val="0"/>
              </a:spcAft>
              <a:buSzPts val="2800"/>
              <a:buNone/>
              <a:defRPr sz="4400" kern="1200">
                <a:solidFill>
                  <a:schemeClr val="tx1"/>
                </a:solidFill>
                <a:latin typeface="+mj-lt"/>
                <a:ea typeface="+mj-ea"/>
                <a:cs typeface="+mj-cs"/>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pPr algn="l"/>
            <a:r>
              <a:rPr lang="en-US" sz="2800" dirty="0">
                <a:solidFill>
                  <a:srgbClr val="FF5969"/>
                </a:solidFill>
                <a:latin typeface="Gotham Bold" panose="02000803030000020004" pitchFamily="2" charset="0"/>
              </a:rPr>
              <a:t>Computer Science and Engineering</a:t>
            </a:r>
          </a:p>
        </p:txBody>
      </p:sp>
      <p:sp>
        <p:nvSpPr>
          <p:cNvPr id="15" name="Google Shape;191;p26">
            <a:extLst>
              <a:ext uri="{FF2B5EF4-FFF2-40B4-BE49-F238E27FC236}">
                <a16:creationId xmlns:a16="http://schemas.microsoft.com/office/drawing/2014/main" id="{3EF54595-05E6-4C79-A60C-615FE5722CEE}"/>
              </a:ext>
            </a:extLst>
          </p:cNvPr>
          <p:cNvSpPr/>
          <p:nvPr/>
        </p:nvSpPr>
        <p:spPr>
          <a:xfrm>
            <a:off x="1" y="687449"/>
            <a:ext cx="273424" cy="309900"/>
          </a:xfrm>
          <a:prstGeom prst="rect">
            <a:avLst/>
          </a:prstGeom>
          <a:solidFill>
            <a:srgbClr val="52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Rectangle 7">
            <a:extLst>
              <a:ext uri="{FF2B5EF4-FFF2-40B4-BE49-F238E27FC236}">
                <a16:creationId xmlns:a16="http://schemas.microsoft.com/office/drawing/2014/main" id="{F35A37F4-3E9D-458A-8B42-D9D10BDCA747}"/>
              </a:ext>
            </a:extLst>
          </p:cNvPr>
          <p:cNvSpPr/>
          <p:nvPr/>
        </p:nvSpPr>
        <p:spPr>
          <a:xfrm>
            <a:off x="273424" y="1083444"/>
            <a:ext cx="8839200" cy="1569660"/>
          </a:xfrm>
          <a:prstGeom prst="rect">
            <a:avLst/>
          </a:prstGeom>
        </p:spPr>
        <p:txBody>
          <a:bodyPr wrap="square">
            <a:spAutoFit/>
          </a:bodyPr>
          <a:lstStyle/>
          <a:p>
            <a:pPr marL="285750" indent="-285750">
              <a:lnSpc>
                <a:spcPct val="150000"/>
              </a:lnSpc>
              <a:buFont typeface="Wingdings" panose="05000000000000000000" pitchFamily="2" charset="2"/>
              <a:buChar char="§"/>
            </a:pPr>
            <a:r>
              <a:rPr lang="en-US" sz="1600" dirty="0">
                <a:latin typeface="Gotham Medium" panose="02000603030000020004" pitchFamily="2" charset="0"/>
              </a:rPr>
              <a:t>A Computer Engineer, also called a software engineer, is responsible for </a:t>
            </a:r>
            <a:r>
              <a:rPr lang="en-US" sz="1600" dirty="0">
                <a:solidFill>
                  <a:srgbClr val="FF0000"/>
                </a:solidFill>
                <a:latin typeface="Gotham Medium" panose="02000603030000020004" pitchFamily="2" charset="0"/>
              </a:rPr>
              <a:t>developing, testing and evaluating the software that make our computers work.</a:t>
            </a:r>
            <a:r>
              <a:rPr lang="en-US" sz="1600" dirty="0">
                <a:latin typeface="Gotham Medium" panose="02000603030000020004" pitchFamily="2" charset="0"/>
              </a:rPr>
              <a:t> </a:t>
            </a:r>
          </a:p>
          <a:p>
            <a:pPr marL="285750" indent="-285750">
              <a:lnSpc>
                <a:spcPct val="150000"/>
              </a:lnSpc>
              <a:buFont typeface="Wingdings" panose="05000000000000000000" pitchFamily="2" charset="2"/>
              <a:buChar char="§"/>
            </a:pPr>
            <a:r>
              <a:rPr lang="en-US" sz="1600" dirty="0">
                <a:latin typeface="Gotham Medium" panose="02000603030000020004" pitchFamily="2" charset="0"/>
              </a:rPr>
              <a:t>Students will learn the computer science principles that are critical to development of software, hardware and networking of computer systems.</a:t>
            </a:r>
          </a:p>
        </p:txBody>
      </p:sp>
      <p:pic>
        <p:nvPicPr>
          <p:cNvPr id="9" name="Picture 2" descr="D:\Imagies\Computer Science 1.jpg">
            <a:extLst>
              <a:ext uri="{FF2B5EF4-FFF2-40B4-BE49-F238E27FC236}">
                <a16:creationId xmlns:a16="http://schemas.microsoft.com/office/drawing/2014/main" id="{957FB441-11CC-41EC-B875-08E4A9D4F28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2449"/>
          <a:stretch/>
        </p:blipFill>
        <p:spPr bwMode="auto">
          <a:xfrm>
            <a:off x="273424" y="2684249"/>
            <a:ext cx="8612726" cy="2268134"/>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924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96"/>
        <p:cNvGrpSpPr/>
        <p:nvPr/>
      </p:nvGrpSpPr>
      <p:grpSpPr>
        <a:xfrm>
          <a:off x="0" y="0"/>
          <a:ext cx="0" cy="0"/>
          <a:chOff x="0" y="0"/>
          <a:chExt cx="0" cy="0"/>
        </a:xfrm>
      </p:grpSpPr>
      <p:sp>
        <p:nvSpPr>
          <p:cNvPr id="19" name="Google Shape;188;p26">
            <a:extLst>
              <a:ext uri="{FF2B5EF4-FFF2-40B4-BE49-F238E27FC236}">
                <a16:creationId xmlns:a16="http://schemas.microsoft.com/office/drawing/2014/main" id="{A95ECD70-FC74-4D41-B115-ECC08506CD09}"/>
              </a:ext>
            </a:extLst>
          </p:cNvPr>
          <p:cNvSpPr txBox="1">
            <a:spLocks/>
          </p:cNvSpPr>
          <p:nvPr/>
        </p:nvSpPr>
        <p:spPr>
          <a:xfrm>
            <a:off x="330591" y="344477"/>
            <a:ext cx="7933940" cy="531345"/>
          </a:xfrm>
          <a:prstGeom prst="rect">
            <a:avLst/>
          </a:prstGeom>
        </p:spPr>
        <p:txBody>
          <a:bodyPr spcFirstLastPara="1" vert="horz" wrap="square" lIns="91425" tIns="91425" rIns="91425" bIns="91425" rtlCol="0" anchor="b" anchorCtr="0">
            <a:noAutofit/>
          </a:bodyPr>
          <a:lstStyle>
            <a:lvl1pPr lvl="0" algn="ctr" defTabSz="914400" rtl="0" eaLnBrk="1" latinLnBrk="0" hangingPunct="1">
              <a:spcBef>
                <a:spcPts val="0"/>
              </a:spcBef>
              <a:spcAft>
                <a:spcPts val="0"/>
              </a:spcAft>
              <a:buSzPts val="2800"/>
              <a:buNone/>
              <a:defRPr sz="4400" kern="1200">
                <a:solidFill>
                  <a:schemeClr val="tx1"/>
                </a:solidFill>
                <a:latin typeface="+mj-lt"/>
                <a:ea typeface="+mj-ea"/>
                <a:cs typeface="+mj-cs"/>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pPr algn="l"/>
            <a:r>
              <a:rPr lang="en-US" sz="2800" dirty="0">
                <a:solidFill>
                  <a:srgbClr val="FF5969"/>
                </a:solidFill>
                <a:latin typeface="Gotham Bold" panose="02000803030000020004" pitchFamily="2" charset="0"/>
              </a:rPr>
              <a:t>Computer Science and Engineering Scope</a:t>
            </a:r>
          </a:p>
        </p:txBody>
      </p:sp>
      <p:sp>
        <p:nvSpPr>
          <p:cNvPr id="20" name="Google Shape;191;p26">
            <a:extLst>
              <a:ext uri="{FF2B5EF4-FFF2-40B4-BE49-F238E27FC236}">
                <a16:creationId xmlns:a16="http://schemas.microsoft.com/office/drawing/2014/main" id="{BD679194-7E4E-4B1D-BB24-F041C7E0CB92}"/>
              </a:ext>
            </a:extLst>
          </p:cNvPr>
          <p:cNvSpPr/>
          <p:nvPr/>
        </p:nvSpPr>
        <p:spPr>
          <a:xfrm>
            <a:off x="4483" y="455200"/>
            <a:ext cx="300317" cy="309900"/>
          </a:xfrm>
          <a:prstGeom prst="rect">
            <a:avLst/>
          </a:prstGeom>
          <a:solidFill>
            <a:srgbClr val="52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3" name="Group 2">
            <a:extLst>
              <a:ext uri="{FF2B5EF4-FFF2-40B4-BE49-F238E27FC236}">
                <a16:creationId xmlns:a16="http://schemas.microsoft.com/office/drawing/2014/main" id="{D6DDBB50-BFEE-4DA6-90AB-18E4A5864280}"/>
              </a:ext>
            </a:extLst>
          </p:cNvPr>
          <p:cNvGrpSpPr/>
          <p:nvPr/>
        </p:nvGrpSpPr>
        <p:grpSpPr>
          <a:xfrm>
            <a:off x="4876800" y="1014723"/>
            <a:ext cx="3120565" cy="4064429"/>
            <a:chOff x="5867400" y="928941"/>
            <a:chExt cx="3120565" cy="4064429"/>
          </a:xfrm>
        </p:grpSpPr>
        <p:sp>
          <p:nvSpPr>
            <p:cNvPr id="198" name="Google Shape;198;p27"/>
            <p:cNvSpPr/>
            <p:nvPr/>
          </p:nvSpPr>
          <p:spPr>
            <a:xfrm>
              <a:off x="5867400" y="928941"/>
              <a:ext cx="3117088" cy="1965900"/>
            </a:xfrm>
            <a:prstGeom prst="rect">
              <a:avLst/>
            </a:prstGeom>
            <a:solidFill>
              <a:srgbClr val="52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1" name="Google Shape;201;p27"/>
            <p:cNvSpPr/>
            <p:nvPr/>
          </p:nvSpPr>
          <p:spPr>
            <a:xfrm>
              <a:off x="5870877" y="3027470"/>
              <a:ext cx="3117088" cy="1965900"/>
            </a:xfrm>
            <a:prstGeom prst="rect">
              <a:avLst/>
            </a:prstGeom>
            <a:solidFill>
              <a:srgbClr val="FEC63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22" name="Picture 6" descr="https://kauaicomputerrepair.com/wp-content/uploads/Three-Best-Smartphones-Wallpaper.jpg">
              <a:extLst>
                <a:ext uri="{FF2B5EF4-FFF2-40B4-BE49-F238E27FC236}">
                  <a16:creationId xmlns:a16="http://schemas.microsoft.com/office/drawing/2014/main" id="{555F5552-F0C6-4342-9C80-364F3E9660C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69782" y="1022999"/>
              <a:ext cx="2936912" cy="1777351"/>
            </a:xfrm>
            <a:prstGeom prst="rect">
              <a:avLst/>
            </a:prstGeom>
            <a:extLst>
              <a:ext uri="{909E8E84-426E-40DD-AFC4-6F175D3DCCD1}">
                <a14:hiddenFill xmlns:a14="http://schemas.microsoft.com/office/drawing/2010/main">
                  <a:solidFill>
                    <a:srgbClr val="FFFFFF"/>
                  </a:solidFill>
                </a14:hiddenFill>
              </a:ext>
            </a:extLst>
          </p:spPr>
        </p:pic>
        <p:pic>
          <p:nvPicPr>
            <p:cNvPr id="23" name="Picture 8" descr="https://www.bluenetvista.com/wp-content/uploads/2018/10/top-ecommerce-websites-in-India.jpg">
              <a:extLst>
                <a:ext uri="{FF2B5EF4-FFF2-40B4-BE49-F238E27FC236}">
                  <a16:creationId xmlns:a16="http://schemas.microsoft.com/office/drawing/2014/main" id="{25E0CACB-EB56-4712-A712-9E6E6BDFD6A6}"/>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2956"/>
            <a:stretch/>
          </p:blipFill>
          <p:spPr bwMode="auto">
            <a:xfrm>
              <a:off x="5994986" y="3105150"/>
              <a:ext cx="2916189" cy="1805778"/>
            </a:xfrm>
            <a:prstGeom prst="rect">
              <a:avLst/>
            </a:prstGeom>
            <a:extLst>
              <a:ext uri="{909E8E84-426E-40DD-AFC4-6F175D3DCCD1}">
                <a14:hiddenFill xmlns:a14="http://schemas.microsoft.com/office/drawing/2010/main">
                  <a:solidFill>
                    <a:srgbClr val="FFFFFF"/>
                  </a:solidFill>
                </a14:hiddenFill>
              </a:ext>
            </a:extLst>
          </p:spPr>
        </p:pic>
      </p:grpSp>
      <p:sp>
        <p:nvSpPr>
          <p:cNvPr id="2" name="Rectangle 1">
            <a:extLst>
              <a:ext uri="{FF2B5EF4-FFF2-40B4-BE49-F238E27FC236}">
                <a16:creationId xmlns:a16="http://schemas.microsoft.com/office/drawing/2014/main" id="{99F3B293-B86C-4989-AE72-DE1ADF371129}"/>
              </a:ext>
            </a:extLst>
          </p:cNvPr>
          <p:cNvSpPr/>
          <p:nvPr/>
        </p:nvSpPr>
        <p:spPr>
          <a:xfrm>
            <a:off x="304800" y="904001"/>
            <a:ext cx="4674382" cy="3915367"/>
          </a:xfrm>
          <a:prstGeom prst="rect">
            <a:avLst/>
          </a:prstGeom>
        </p:spPr>
        <p:txBody>
          <a:bodyPr wrap="square">
            <a:spAutoFit/>
          </a:bodyPr>
          <a:lstStyle/>
          <a:p>
            <a:pPr marL="285750" indent="-285750">
              <a:lnSpc>
                <a:spcPct val="150000"/>
              </a:lnSpc>
              <a:buFont typeface="Wingdings" panose="05000000000000000000" pitchFamily="2" charset="2"/>
              <a:buChar char="§"/>
            </a:pPr>
            <a:r>
              <a:rPr lang="en-US" sz="2000" b="1" dirty="0">
                <a:latin typeface="Gotham Medium" panose="02000603030000020004" pitchFamily="2" charset="0"/>
              </a:rPr>
              <a:t>Hardware-focused careers</a:t>
            </a:r>
            <a:endParaRPr lang="en-US" sz="2000" dirty="0">
              <a:latin typeface="Gotham Medium" panose="02000603030000020004" pitchFamily="2" charset="0"/>
            </a:endParaRPr>
          </a:p>
          <a:p>
            <a:pPr marL="742950" lvl="1" indent="-285750">
              <a:lnSpc>
                <a:spcPct val="150000"/>
              </a:lnSpc>
              <a:buFont typeface="Wingdings" panose="05000000000000000000" pitchFamily="2" charset="2"/>
              <a:buChar char="§"/>
            </a:pPr>
            <a:r>
              <a:rPr lang="en-US" sz="1600" dirty="0">
                <a:latin typeface="Gotham Medium" panose="02000603030000020004" pitchFamily="2" charset="0"/>
              </a:rPr>
              <a:t>IT security professional</a:t>
            </a:r>
          </a:p>
          <a:p>
            <a:pPr marL="742950" lvl="1" indent="-285750">
              <a:lnSpc>
                <a:spcPct val="150000"/>
              </a:lnSpc>
              <a:buFont typeface="Wingdings" panose="05000000000000000000" pitchFamily="2" charset="2"/>
              <a:buChar char="§"/>
            </a:pPr>
            <a:r>
              <a:rPr lang="en-US" sz="1600" dirty="0">
                <a:latin typeface="Gotham Medium" panose="02000603030000020004" pitchFamily="2" charset="0"/>
              </a:rPr>
              <a:t>Desktop support specialist</a:t>
            </a:r>
          </a:p>
          <a:p>
            <a:pPr marL="742950" lvl="1" indent="-285750">
              <a:lnSpc>
                <a:spcPct val="150000"/>
              </a:lnSpc>
              <a:buFont typeface="Wingdings" panose="05000000000000000000" pitchFamily="2" charset="2"/>
              <a:buChar char="§"/>
            </a:pPr>
            <a:r>
              <a:rPr lang="en-US" sz="1600" dirty="0">
                <a:latin typeface="Gotham Medium" panose="02000603030000020004" pitchFamily="2" charset="0"/>
              </a:rPr>
              <a:t>Network support engineer</a:t>
            </a:r>
          </a:p>
          <a:p>
            <a:pPr marL="742950" lvl="1" indent="-285750">
              <a:lnSpc>
                <a:spcPct val="150000"/>
              </a:lnSpc>
              <a:buFont typeface="Wingdings" panose="05000000000000000000" pitchFamily="2" charset="2"/>
              <a:buChar char="§"/>
            </a:pPr>
            <a:r>
              <a:rPr lang="en-US" sz="1600" dirty="0">
                <a:latin typeface="Gotham Medium" panose="02000603030000020004" pitchFamily="2" charset="0"/>
              </a:rPr>
              <a:t>Server/system administrator</a:t>
            </a:r>
          </a:p>
          <a:p>
            <a:pPr marL="285750" indent="-285750">
              <a:lnSpc>
                <a:spcPct val="150000"/>
              </a:lnSpc>
              <a:buFont typeface="Wingdings" panose="05000000000000000000" pitchFamily="2" charset="2"/>
              <a:buChar char="§"/>
            </a:pPr>
            <a:r>
              <a:rPr lang="en-US" sz="2000" b="1" dirty="0">
                <a:latin typeface="Gotham Medium" panose="02000603030000020004" pitchFamily="2" charset="0"/>
              </a:rPr>
              <a:t>Software-focused careers</a:t>
            </a:r>
            <a:endParaRPr lang="en-US" sz="2000" dirty="0">
              <a:latin typeface="Gotham Medium" panose="02000603030000020004" pitchFamily="2" charset="0"/>
            </a:endParaRPr>
          </a:p>
          <a:p>
            <a:pPr marL="742950" lvl="1" indent="-285750">
              <a:lnSpc>
                <a:spcPct val="150000"/>
              </a:lnSpc>
              <a:buFont typeface="Wingdings" panose="05000000000000000000" pitchFamily="2" charset="2"/>
              <a:buChar char="§"/>
            </a:pPr>
            <a:r>
              <a:rPr lang="en-US" sz="1600" dirty="0">
                <a:latin typeface="Gotham Medium" panose="02000603030000020004" pitchFamily="2" charset="0"/>
              </a:rPr>
              <a:t>Database designer</a:t>
            </a:r>
          </a:p>
          <a:p>
            <a:pPr marL="742950" lvl="1" indent="-285750">
              <a:lnSpc>
                <a:spcPct val="150000"/>
              </a:lnSpc>
              <a:buFont typeface="Wingdings" panose="05000000000000000000" pitchFamily="2" charset="2"/>
              <a:buChar char="§"/>
            </a:pPr>
            <a:r>
              <a:rPr lang="en-US" sz="1600" dirty="0">
                <a:latin typeface="Gotham Medium" panose="02000603030000020004" pitchFamily="2" charset="0"/>
              </a:rPr>
              <a:t>Application developer</a:t>
            </a:r>
          </a:p>
          <a:p>
            <a:pPr marL="742950" lvl="1" indent="-285750">
              <a:lnSpc>
                <a:spcPct val="150000"/>
              </a:lnSpc>
              <a:buFont typeface="Wingdings" panose="05000000000000000000" pitchFamily="2" charset="2"/>
              <a:buChar char="§"/>
            </a:pPr>
            <a:r>
              <a:rPr lang="en-US" sz="1600" dirty="0">
                <a:latin typeface="Gotham Medium" panose="02000603030000020004" pitchFamily="2" charset="0"/>
              </a:rPr>
              <a:t>E-commerce specialist</a:t>
            </a:r>
          </a:p>
          <a:p>
            <a:pPr marL="742950" lvl="1" indent="-285750">
              <a:lnSpc>
                <a:spcPct val="150000"/>
              </a:lnSpc>
              <a:buFont typeface="Wingdings" panose="05000000000000000000" pitchFamily="2" charset="2"/>
              <a:buChar char="§"/>
            </a:pPr>
            <a:r>
              <a:rPr lang="en-US" sz="1600" dirty="0">
                <a:latin typeface="Gotham Medium" panose="02000603030000020004" pitchFamily="2" charset="0"/>
              </a:rPr>
              <a:t>Software engineer</a:t>
            </a:r>
            <a:endParaRPr lang="en-US" dirty="0">
              <a:latin typeface="Gotham Medium" panose="02000603030000020004" pitchFamily="2"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grpSp>
        <p:nvGrpSpPr>
          <p:cNvPr id="3" name="Group 2">
            <a:extLst>
              <a:ext uri="{FF2B5EF4-FFF2-40B4-BE49-F238E27FC236}">
                <a16:creationId xmlns:a16="http://schemas.microsoft.com/office/drawing/2014/main" id="{0D62177E-7EF9-4B76-9878-4FAA3B4F9D8C}"/>
              </a:ext>
            </a:extLst>
          </p:cNvPr>
          <p:cNvGrpSpPr/>
          <p:nvPr/>
        </p:nvGrpSpPr>
        <p:grpSpPr>
          <a:xfrm>
            <a:off x="247825" y="2993880"/>
            <a:ext cx="8896176" cy="2149620"/>
            <a:chOff x="92795" y="2993880"/>
            <a:chExt cx="8896176" cy="2149620"/>
          </a:xfrm>
        </p:grpSpPr>
        <p:sp>
          <p:nvSpPr>
            <p:cNvPr id="160" name="Google Shape;160;p24"/>
            <p:cNvSpPr/>
            <p:nvPr/>
          </p:nvSpPr>
          <p:spPr>
            <a:xfrm>
              <a:off x="92795" y="4019550"/>
              <a:ext cx="8896176" cy="1123950"/>
            </a:xfrm>
            <a:prstGeom prst="rect">
              <a:avLst/>
            </a:prstGeom>
            <a:solidFill>
              <a:srgbClr val="FF596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 name="Group 1">
              <a:extLst>
                <a:ext uri="{FF2B5EF4-FFF2-40B4-BE49-F238E27FC236}">
                  <a16:creationId xmlns:a16="http://schemas.microsoft.com/office/drawing/2014/main" id="{36012BFC-DE3B-4F1C-815B-2626CD5B2B32}"/>
                </a:ext>
              </a:extLst>
            </p:cNvPr>
            <p:cNvGrpSpPr/>
            <p:nvPr/>
          </p:nvGrpSpPr>
          <p:grpSpPr>
            <a:xfrm>
              <a:off x="327071" y="2993880"/>
              <a:ext cx="8467540" cy="1949370"/>
              <a:chOff x="327071" y="2993880"/>
              <a:chExt cx="8467540" cy="1949370"/>
            </a:xfrm>
          </p:grpSpPr>
          <p:sp>
            <p:nvSpPr>
              <p:cNvPr id="151" name="Google Shape;151;p24"/>
              <p:cNvSpPr/>
              <p:nvPr/>
            </p:nvSpPr>
            <p:spPr>
              <a:xfrm>
                <a:off x="327071" y="2993880"/>
                <a:ext cx="2750640" cy="1949370"/>
              </a:xfrm>
              <a:prstGeom prst="rect">
                <a:avLst/>
              </a:prstGeom>
              <a:solidFill>
                <a:srgbClr val="FEC63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4" name="Google Shape;154;p24"/>
              <p:cNvSpPr/>
              <p:nvPr/>
            </p:nvSpPr>
            <p:spPr>
              <a:xfrm>
                <a:off x="3185521" y="2993880"/>
                <a:ext cx="2750640" cy="1949370"/>
              </a:xfrm>
              <a:prstGeom prst="rect">
                <a:avLst/>
              </a:prstGeom>
              <a:solidFill>
                <a:srgbClr val="52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61" name="Google Shape;161;p24"/>
              <p:cNvSpPr/>
              <p:nvPr/>
            </p:nvSpPr>
            <p:spPr>
              <a:xfrm>
                <a:off x="6043971" y="2993880"/>
                <a:ext cx="2750640" cy="1949370"/>
              </a:xfrm>
              <a:prstGeom prst="rect">
                <a:avLst/>
              </a:prstGeom>
              <a:solidFill>
                <a:srgbClr val="92D05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sp>
        <p:nvSpPr>
          <p:cNvPr id="25" name="Google Shape;188;p26">
            <a:extLst>
              <a:ext uri="{FF2B5EF4-FFF2-40B4-BE49-F238E27FC236}">
                <a16:creationId xmlns:a16="http://schemas.microsoft.com/office/drawing/2014/main" id="{A02E14EF-4841-4493-83FD-F3F9EE36C2C2}"/>
              </a:ext>
            </a:extLst>
          </p:cNvPr>
          <p:cNvSpPr txBox="1">
            <a:spLocks/>
          </p:cNvSpPr>
          <p:nvPr/>
        </p:nvSpPr>
        <p:spPr>
          <a:xfrm>
            <a:off x="551198" y="338457"/>
            <a:ext cx="7933940" cy="531345"/>
          </a:xfrm>
          <a:prstGeom prst="rect">
            <a:avLst/>
          </a:prstGeom>
        </p:spPr>
        <p:txBody>
          <a:bodyPr spcFirstLastPara="1" vert="horz" wrap="square" lIns="91425" tIns="91425" rIns="91425" bIns="91425" rtlCol="0" anchor="b" anchorCtr="0">
            <a:noAutofit/>
          </a:bodyPr>
          <a:lstStyle>
            <a:lvl1pPr lvl="0" algn="ctr" defTabSz="914400" rtl="0" eaLnBrk="1" latinLnBrk="0" hangingPunct="1">
              <a:spcBef>
                <a:spcPts val="0"/>
              </a:spcBef>
              <a:spcAft>
                <a:spcPts val="0"/>
              </a:spcAft>
              <a:buSzPts val="2800"/>
              <a:buNone/>
              <a:defRPr sz="4400" kern="1200">
                <a:solidFill>
                  <a:schemeClr val="tx1"/>
                </a:solidFill>
                <a:latin typeface="+mj-lt"/>
                <a:ea typeface="+mj-ea"/>
                <a:cs typeface="+mj-cs"/>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pPr algn="l"/>
            <a:r>
              <a:rPr lang="en-US" sz="2800" dirty="0">
                <a:solidFill>
                  <a:srgbClr val="FF5969"/>
                </a:solidFill>
                <a:latin typeface="Gotham Bold" panose="02000803030000020004" pitchFamily="2" charset="0"/>
              </a:rPr>
              <a:t>Computer Science and Engineering Scope</a:t>
            </a:r>
          </a:p>
        </p:txBody>
      </p:sp>
      <p:sp>
        <p:nvSpPr>
          <p:cNvPr id="26" name="Google Shape;191;p26">
            <a:extLst>
              <a:ext uri="{FF2B5EF4-FFF2-40B4-BE49-F238E27FC236}">
                <a16:creationId xmlns:a16="http://schemas.microsoft.com/office/drawing/2014/main" id="{5142C047-3649-4914-B9BA-741F37E3F77C}"/>
              </a:ext>
            </a:extLst>
          </p:cNvPr>
          <p:cNvSpPr/>
          <p:nvPr/>
        </p:nvSpPr>
        <p:spPr>
          <a:xfrm>
            <a:off x="482101" y="438150"/>
            <a:ext cx="69097" cy="2209800"/>
          </a:xfrm>
          <a:prstGeom prst="rect">
            <a:avLst/>
          </a:prstGeom>
          <a:solidFill>
            <a:srgbClr val="92D05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29" name="Picture 2" descr="https://www.androidpolice.com/wp-content/uploads/2019/05/Pubg-728x410.jpg">
            <a:extLst>
              <a:ext uri="{FF2B5EF4-FFF2-40B4-BE49-F238E27FC236}">
                <a16:creationId xmlns:a16="http://schemas.microsoft.com/office/drawing/2014/main" id="{9BE3D6CB-4BFB-46A2-AEE0-2D3191EA0C5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1198" y="3061767"/>
            <a:ext cx="2594994" cy="1806625"/>
          </a:xfrm>
          <a:prstGeom prst="rect">
            <a:avLst/>
          </a:prstGeom>
          <a:extLst>
            <a:ext uri="{909E8E84-426E-40DD-AFC4-6F175D3DCCD1}">
              <a14:hiddenFill xmlns:a14="http://schemas.microsoft.com/office/drawing/2010/main">
                <a:solidFill>
                  <a:srgbClr val="FFFFFF"/>
                </a:solidFill>
              </a14:hiddenFill>
            </a:ext>
          </a:extLst>
        </p:spPr>
      </p:pic>
      <p:pic>
        <p:nvPicPr>
          <p:cNvPr id="31" name="Picture 2">
            <a:extLst>
              <a:ext uri="{FF2B5EF4-FFF2-40B4-BE49-F238E27FC236}">
                <a16:creationId xmlns:a16="http://schemas.microsoft.com/office/drawing/2014/main" id="{70701B47-DC4D-470C-BB22-574364C9BB3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06805" y="3097480"/>
            <a:ext cx="2613739" cy="176993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7" name="Group 6">
            <a:extLst>
              <a:ext uri="{FF2B5EF4-FFF2-40B4-BE49-F238E27FC236}">
                <a16:creationId xmlns:a16="http://schemas.microsoft.com/office/drawing/2014/main" id="{65D0E570-0DA1-4894-92C1-1316F9DF471D}"/>
              </a:ext>
            </a:extLst>
          </p:cNvPr>
          <p:cNvGrpSpPr/>
          <p:nvPr/>
        </p:nvGrpSpPr>
        <p:grpSpPr>
          <a:xfrm>
            <a:off x="658862" y="869802"/>
            <a:ext cx="7492817" cy="1924663"/>
            <a:chOff x="1041584" y="914096"/>
            <a:chExt cx="7492817" cy="1924663"/>
          </a:xfrm>
        </p:grpSpPr>
        <p:sp>
          <p:nvSpPr>
            <p:cNvPr id="5" name="Rectangle 4">
              <a:extLst>
                <a:ext uri="{FF2B5EF4-FFF2-40B4-BE49-F238E27FC236}">
                  <a16:creationId xmlns:a16="http://schemas.microsoft.com/office/drawing/2014/main" id="{BEFB9418-7255-4D99-AF27-FBC51384A601}"/>
                </a:ext>
              </a:extLst>
            </p:cNvPr>
            <p:cNvSpPr/>
            <p:nvPr/>
          </p:nvSpPr>
          <p:spPr>
            <a:xfrm>
              <a:off x="1041584" y="915412"/>
              <a:ext cx="3116654" cy="1923347"/>
            </a:xfrm>
            <a:prstGeom prst="rect">
              <a:avLst/>
            </a:prstGeom>
          </p:spPr>
          <p:txBody>
            <a:bodyPr wrap="square">
              <a:spAutoFit/>
            </a:bodyPr>
            <a:lstStyle/>
            <a:p>
              <a:pPr marL="285750" indent="-285750">
                <a:lnSpc>
                  <a:spcPct val="150000"/>
                </a:lnSpc>
                <a:buFont typeface="Wingdings" panose="05000000000000000000" pitchFamily="2" charset="2"/>
                <a:buChar char="§"/>
              </a:pPr>
              <a:r>
                <a:rPr lang="en-US" sz="1600" dirty="0">
                  <a:latin typeface="Gotham Medium" panose="02000603030000020004" pitchFamily="2" charset="0"/>
                </a:rPr>
                <a:t>System Software</a:t>
              </a:r>
            </a:p>
            <a:p>
              <a:pPr marL="285750" indent="-285750">
                <a:lnSpc>
                  <a:spcPct val="150000"/>
                </a:lnSpc>
                <a:buFont typeface="Wingdings" panose="05000000000000000000" pitchFamily="2" charset="2"/>
                <a:buChar char="§"/>
              </a:pPr>
              <a:r>
                <a:rPr lang="en-US" sz="1600" dirty="0">
                  <a:latin typeface="Gotham Medium" panose="02000603030000020004" pitchFamily="2" charset="0"/>
                </a:rPr>
                <a:t>Application Software</a:t>
              </a:r>
            </a:p>
            <a:p>
              <a:pPr marL="285750" indent="-285750">
                <a:lnSpc>
                  <a:spcPct val="150000"/>
                </a:lnSpc>
                <a:buFont typeface="Wingdings" panose="05000000000000000000" pitchFamily="2" charset="2"/>
                <a:buChar char="§"/>
              </a:pPr>
              <a:r>
                <a:rPr lang="en-US" sz="1600" dirty="0">
                  <a:latin typeface="Gotham Medium" panose="02000603030000020004" pitchFamily="2" charset="0"/>
                </a:rPr>
                <a:t>Hardware &amp; Networking</a:t>
              </a:r>
            </a:p>
            <a:p>
              <a:pPr marL="285750" indent="-285750">
                <a:lnSpc>
                  <a:spcPct val="150000"/>
                </a:lnSpc>
                <a:buFont typeface="Wingdings" panose="05000000000000000000" pitchFamily="2" charset="2"/>
                <a:buChar char="§"/>
              </a:pPr>
              <a:r>
                <a:rPr lang="en-US" sz="1600" dirty="0">
                  <a:latin typeface="Gotham Medium" panose="02000603030000020004" pitchFamily="2" charset="0"/>
                </a:rPr>
                <a:t>Management</a:t>
              </a:r>
            </a:p>
            <a:p>
              <a:pPr marL="285750" indent="-285750">
                <a:lnSpc>
                  <a:spcPct val="150000"/>
                </a:lnSpc>
                <a:buFont typeface="Wingdings" panose="05000000000000000000" pitchFamily="2" charset="2"/>
                <a:buChar char="§"/>
              </a:pPr>
              <a:r>
                <a:rPr lang="en-US" sz="1600" dirty="0">
                  <a:latin typeface="Gotham Medium" panose="02000603030000020004" pitchFamily="2" charset="0"/>
                </a:rPr>
                <a:t>Finance and Accounting</a:t>
              </a:r>
            </a:p>
          </p:txBody>
        </p:sp>
        <p:sp>
          <p:nvSpPr>
            <p:cNvPr id="6" name="Rectangle 5">
              <a:extLst>
                <a:ext uri="{FF2B5EF4-FFF2-40B4-BE49-F238E27FC236}">
                  <a16:creationId xmlns:a16="http://schemas.microsoft.com/office/drawing/2014/main" id="{346C24A0-A58D-455F-9D22-87A5C7A2EACD}"/>
                </a:ext>
              </a:extLst>
            </p:cNvPr>
            <p:cNvSpPr/>
            <p:nvPr/>
          </p:nvSpPr>
          <p:spPr>
            <a:xfrm>
              <a:off x="4482987" y="914096"/>
              <a:ext cx="4051414" cy="1923347"/>
            </a:xfrm>
            <a:prstGeom prst="rect">
              <a:avLst/>
            </a:prstGeom>
          </p:spPr>
          <p:txBody>
            <a:bodyPr wrap="square">
              <a:spAutoFit/>
            </a:bodyPr>
            <a:lstStyle/>
            <a:p>
              <a:pPr marL="285750" indent="-285750">
                <a:lnSpc>
                  <a:spcPct val="150000"/>
                </a:lnSpc>
                <a:buFont typeface="Wingdings" panose="05000000000000000000" pitchFamily="2" charset="2"/>
                <a:buChar char="§"/>
              </a:pPr>
              <a:r>
                <a:rPr lang="en-US" sz="1600" dirty="0">
                  <a:latin typeface="Gotham Medium" panose="02000603030000020004" pitchFamily="2" charset="0"/>
                </a:rPr>
                <a:t>Advertisement / Marketing / Sales</a:t>
              </a:r>
            </a:p>
            <a:p>
              <a:pPr marL="285750" indent="-285750">
                <a:lnSpc>
                  <a:spcPct val="150000"/>
                </a:lnSpc>
                <a:buFont typeface="Wingdings" panose="05000000000000000000" pitchFamily="2" charset="2"/>
                <a:buChar char="§"/>
              </a:pPr>
              <a:r>
                <a:rPr lang="en-US" sz="1600" dirty="0">
                  <a:latin typeface="Gotham Medium" panose="02000603030000020004" pitchFamily="2" charset="0"/>
                </a:rPr>
                <a:t>Legal: Especially Cyber Law </a:t>
              </a:r>
            </a:p>
            <a:p>
              <a:pPr marL="285750" indent="-285750">
                <a:lnSpc>
                  <a:spcPct val="150000"/>
                </a:lnSpc>
                <a:buFont typeface="Wingdings" panose="05000000000000000000" pitchFamily="2" charset="2"/>
                <a:buChar char="§"/>
              </a:pPr>
              <a:r>
                <a:rPr lang="en-US" sz="1600" dirty="0">
                  <a:latin typeface="Gotham Medium" panose="02000603030000020004" pitchFamily="2" charset="0"/>
                </a:rPr>
                <a:t>Consultants </a:t>
              </a:r>
            </a:p>
            <a:p>
              <a:pPr marL="285750" indent="-285750">
                <a:lnSpc>
                  <a:spcPct val="150000"/>
                </a:lnSpc>
                <a:buFont typeface="Wingdings" panose="05000000000000000000" pitchFamily="2" charset="2"/>
                <a:buChar char="§"/>
              </a:pPr>
              <a:r>
                <a:rPr lang="en-US" sz="1600" dirty="0">
                  <a:latin typeface="Gotham Medium" panose="02000603030000020004" pitchFamily="2" charset="0"/>
                </a:rPr>
                <a:t>E-commerce</a:t>
              </a:r>
            </a:p>
            <a:p>
              <a:pPr marL="285750" indent="-285750">
                <a:lnSpc>
                  <a:spcPct val="150000"/>
                </a:lnSpc>
                <a:buFont typeface="Wingdings" panose="05000000000000000000" pitchFamily="2" charset="2"/>
                <a:buChar char="§"/>
              </a:pPr>
              <a:r>
                <a:rPr lang="en-US" sz="1600" dirty="0">
                  <a:latin typeface="Gotham Medium" panose="02000603030000020004" pitchFamily="2" charset="0"/>
                </a:rPr>
                <a:t>Entertainment Industry</a:t>
              </a:r>
            </a:p>
          </p:txBody>
        </p:sp>
      </p:grpSp>
      <p:pic>
        <p:nvPicPr>
          <p:cNvPr id="25602" name="Picture 2" descr="Custom Mobile App Development for Business to Overcome COVID-19">
            <a:extLst>
              <a:ext uri="{FF2B5EF4-FFF2-40B4-BE49-F238E27FC236}">
                <a16:creationId xmlns:a16="http://schemas.microsoft.com/office/drawing/2014/main" id="{AE56958B-7DDD-43F1-9E60-EAFC2CB30CE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936" r="12768"/>
          <a:stretch/>
        </p:blipFill>
        <p:spPr bwMode="auto">
          <a:xfrm>
            <a:off x="6268368" y="3061768"/>
            <a:ext cx="2627807" cy="178178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Zurich Resilience Solutions - Risk Engineering | Zurich Insurance">
            <a:extLst>
              <a:ext uri="{FF2B5EF4-FFF2-40B4-BE49-F238E27FC236}">
                <a16:creationId xmlns:a16="http://schemas.microsoft.com/office/drawing/2014/main" id="{B978FA7D-FF6C-4673-9CB3-6DD4CBE6FC0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72" y="-1465"/>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3" name="object 42">
            <a:extLst>
              <a:ext uri="{FF2B5EF4-FFF2-40B4-BE49-F238E27FC236}">
                <a16:creationId xmlns:a16="http://schemas.microsoft.com/office/drawing/2014/main" id="{6EBAE930-F8E8-413E-A6B6-84857CD67245}"/>
              </a:ext>
            </a:extLst>
          </p:cNvPr>
          <p:cNvSpPr/>
          <p:nvPr/>
        </p:nvSpPr>
        <p:spPr>
          <a:xfrm>
            <a:off x="0" y="-1465"/>
            <a:ext cx="9144000" cy="5143500"/>
          </a:xfrm>
          <a:custGeom>
            <a:avLst/>
            <a:gdLst/>
            <a:ahLst/>
            <a:cxnLst/>
            <a:rect l="l" t="t" r="r" b="b"/>
            <a:pathLst>
              <a:path w="1476375" h="1476375">
                <a:moveTo>
                  <a:pt x="1475905" y="0"/>
                </a:moveTo>
                <a:lnTo>
                  <a:pt x="0" y="0"/>
                </a:lnTo>
                <a:lnTo>
                  <a:pt x="0" y="1475892"/>
                </a:lnTo>
                <a:lnTo>
                  <a:pt x="1475905" y="1475892"/>
                </a:lnTo>
                <a:lnTo>
                  <a:pt x="1475905" y="0"/>
                </a:lnTo>
                <a:close/>
              </a:path>
            </a:pathLst>
          </a:custGeom>
          <a:solidFill>
            <a:schemeClr val="tx1">
              <a:lumMod val="95000"/>
              <a:lumOff val="5000"/>
              <a:alpha val="49804"/>
            </a:schemeClr>
          </a:solidFill>
          <a:ln>
            <a:noFill/>
          </a:ln>
        </p:spPr>
        <p:style>
          <a:lnRef idx="0">
            <a:scrgbClr r="0" g="0" b="0"/>
          </a:lnRef>
          <a:fillRef idx="0">
            <a:scrgbClr r="0" g="0" b="0"/>
          </a:fillRef>
          <a:effectRef idx="0">
            <a:scrgbClr r="0" g="0" b="0"/>
          </a:effectRef>
          <a:fontRef idx="minor">
            <a:schemeClr val="lt1"/>
          </a:fontRef>
        </p:style>
        <p:txBody>
          <a:bodyPr wrap="square" lIns="0" tIns="0" rIns="0" bIns="0" rtlCol="0"/>
          <a:lstStyle/>
          <a:p>
            <a:endParaRPr sz="1125" dirty="0">
              <a:solidFill>
                <a:schemeClr val="bg1"/>
              </a:solidFill>
            </a:endParaRPr>
          </a:p>
        </p:txBody>
      </p:sp>
      <p:sp>
        <p:nvSpPr>
          <p:cNvPr id="25" name="Rectangle 24">
            <a:extLst>
              <a:ext uri="{FF2B5EF4-FFF2-40B4-BE49-F238E27FC236}">
                <a16:creationId xmlns:a16="http://schemas.microsoft.com/office/drawing/2014/main" id="{E60DAD31-2ECF-455F-A02A-AABF4A2BDEFE}"/>
              </a:ext>
            </a:extLst>
          </p:cNvPr>
          <p:cNvSpPr/>
          <p:nvPr/>
        </p:nvSpPr>
        <p:spPr>
          <a:xfrm>
            <a:off x="4876800" y="1082960"/>
            <a:ext cx="4268372" cy="1828706"/>
          </a:xfrm>
          <a:prstGeom prst="rect">
            <a:avLst/>
          </a:prstGeom>
          <a:solidFill>
            <a:srgbClr val="FF5969">
              <a:alpha val="90000"/>
            </a:srgbClr>
          </a:solidFill>
          <a:ln w="12700" cap="flat" cmpd="sng" algn="ctr">
            <a:noFill/>
            <a:prstDash val="solid"/>
            <a:miter lim="800000"/>
          </a:ln>
          <a:effectLst/>
        </p:spPr>
        <p:txBody>
          <a:bodyPr rtlCol="0" anchor="ctr"/>
          <a:lstStyle/>
          <a:p>
            <a:pPr algn="ctr" defTabSz="685800">
              <a:defRPr/>
            </a:pPr>
            <a:endParaRPr lang="en-US" sz="1350" kern="0" dirty="0">
              <a:latin typeface="Bahnschrift Light"/>
            </a:endParaRPr>
          </a:p>
        </p:txBody>
      </p:sp>
      <p:sp>
        <p:nvSpPr>
          <p:cNvPr id="8" name="Rectangle 7">
            <a:extLst>
              <a:ext uri="{FF2B5EF4-FFF2-40B4-BE49-F238E27FC236}">
                <a16:creationId xmlns:a16="http://schemas.microsoft.com/office/drawing/2014/main" id="{F6182997-F199-49CF-88BC-181B8A7E2467}"/>
              </a:ext>
            </a:extLst>
          </p:cNvPr>
          <p:cNvSpPr/>
          <p:nvPr/>
        </p:nvSpPr>
        <p:spPr>
          <a:xfrm>
            <a:off x="5073748" y="1027817"/>
            <a:ext cx="4070252" cy="1938992"/>
          </a:xfrm>
          <a:prstGeom prst="rect">
            <a:avLst/>
          </a:prstGeom>
        </p:spPr>
        <p:txBody>
          <a:bodyPr wrap="square">
            <a:spAutoFit/>
          </a:bodyPr>
          <a:lstStyle/>
          <a:p>
            <a:pPr marL="11545">
              <a:spcBef>
                <a:spcPts val="72"/>
              </a:spcBef>
              <a:defRPr/>
            </a:pPr>
            <a:r>
              <a:rPr lang="en-IN" sz="4000" b="1"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rPr>
              <a:t>Engineering Admissions </a:t>
            </a:r>
            <a:r>
              <a:rPr lang="en-IN" sz="3600" b="1"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rPr>
              <a:t>2021-22</a:t>
            </a:r>
            <a:endParaRPr lang="en-IN" sz="4000" b="1"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endParaRPr>
          </a:p>
        </p:txBody>
      </p:sp>
      <p:grpSp>
        <p:nvGrpSpPr>
          <p:cNvPr id="2" name="Group 1">
            <a:extLst>
              <a:ext uri="{FF2B5EF4-FFF2-40B4-BE49-F238E27FC236}">
                <a16:creationId xmlns:a16="http://schemas.microsoft.com/office/drawing/2014/main" id="{AD771F6F-694E-4337-A3BF-705ADD1BAAD7}"/>
              </a:ext>
            </a:extLst>
          </p:cNvPr>
          <p:cNvGrpSpPr/>
          <p:nvPr/>
        </p:nvGrpSpPr>
        <p:grpSpPr>
          <a:xfrm>
            <a:off x="5800403" y="4187803"/>
            <a:ext cx="3267397" cy="726029"/>
            <a:chOff x="5148941" y="3794080"/>
            <a:chExt cx="3429001" cy="726029"/>
          </a:xfrm>
        </p:grpSpPr>
        <p:grpSp>
          <p:nvGrpSpPr>
            <p:cNvPr id="15" name="Group 14">
              <a:extLst>
                <a:ext uri="{FF2B5EF4-FFF2-40B4-BE49-F238E27FC236}">
                  <a16:creationId xmlns:a16="http://schemas.microsoft.com/office/drawing/2014/main" id="{92DC8A9E-60E4-4689-972C-C242E21E1B16}"/>
                </a:ext>
              </a:extLst>
            </p:cNvPr>
            <p:cNvGrpSpPr/>
            <p:nvPr/>
          </p:nvGrpSpPr>
          <p:grpSpPr>
            <a:xfrm>
              <a:off x="5246912" y="3794080"/>
              <a:ext cx="3233059" cy="342813"/>
              <a:chOff x="5805714" y="2837545"/>
              <a:chExt cx="4310744" cy="818816"/>
            </a:xfrm>
          </p:grpSpPr>
          <p:sp>
            <p:nvSpPr>
              <p:cNvPr id="17" name="Title 1">
                <a:extLst>
                  <a:ext uri="{FF2B5EF4-FFF2-40B4-BE49-F238E27FC236}">
                    <a16:creationId xmlns:a16="http://schemas.microsoft.com/office/drawing/2014/main" id="{EACA626E-FFAC-46EB-955C-508C7E5AFAC2}"/>
                  </a:ext>
                </a:extLst>
              </p:cNvPr>
              <p:cNvSpPr txBox="1">
                <a:spLocks/>
              </p:cNvSpPr>
              <p:nvPr/>
            </p:nvSpPr>
            <p:spPr>
              <a:xfrm>
                <a:off x="5805714" y="2837545"/>
                <a:ext cx="4310744" cy="661617"/>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2000" b="1" dirty="0">
                    <a:solidFill>
                      <a:schemeClr val="bg1"/>
                    </a:solidFill>
                    <a:latin typeface="Gotham Medium" panose="02000603030000020004" pitchFamily="2" charset="0"/>
                  </a:rPr>
                  <a:t>Dr. </a:t>
                </a:r>
                <a:r>
                  <a:rPr lang="en-US" sz="2000" b="1" dirty="0" err="1">
                    <a:solidFill>
                      <a:schemeClr val="bg1"/>
                    </a:solidFill>
                    <a:latin typeface="Gotham Medium" panose="02000603030000020004" pitchFamily="2" charset="0"/>
                  </a:rPr>
                  <a:t>Anilkumar</a:t>
                </a:r>
                <a:r>
                  <a:rPr lang="en-US" sz="2000" b="1" dirty="0">
                    <a:solidFill>
                      <a:schemeClr val="bg1"/>
                    </a:solidFill>
                    <a:latin typeface="Gotham Medium" panose="02000603030000020004" pitchFamily="2" charset="0"/>
                  </a:rPr>
                  <a:t> Gupta</a:t>
                </a:r>
              </a:p>
            </p:txBody>
          </p:sp>
          <p:sp>
            <p:nvSpPr>
              <p:cNvPr id="18" name="Rectangle 17">
                <a:extLst>
                  <a:ext uri="{FF2B5EF4-FFF2-40B4-BE49-F238E27FC236}">
                    <a16:creationId xmlns:a16="http://schemas.microsoft.com/office/drawing/2014/main" id="{44D191D3-5B57-4932-8B14-8C516F88F4C7}"/>
                  </a:ext>
                </a:extLst>
              </p:cNvPr>
              <p:cNvSpPr/>
              <p:nvPr/>
            </p:nvSpPr>
            <p:spPr>
              <a:xfrm flipV="1">
                <a:off x="7594057" y="3559860"/>
                <a:ext cx="2520648" cy="96501"/>
              </a:xfrm>
              <a:prstGeom prst="rect">
                <a:avLst/>
              </a:prstGeom>
              <a:solidFill>
                <a:srgbClr val="52CB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ID" sz="1200" dirty="0"/>
              </a:p>
            </p:txBody>
          </p:sp>
        </p:grpSp>
        <p:sp>
          <p:nvSpPr>
            <p:cNvPr id="12" name="Rectangle 11">
              <a:extLst>
                <a:ext uri="{FF2B5EF4-FFF2-40B4-BE49-F238E27FC236}">
                  <a16:creationId xmlns:a16="http://schemas.microsoft.com/office/drawing/2014/main" id="{2C00D215-F751-4980-A262-1042E6465B07}"/>
                </a:ext>
              </a:extLst>
            </p:cNvPr>
            <p:cNvSpPr/>
            <p:nvPr/>
          </p:nvSpPr>
          <p:spPr>
            <a:xfrm>
              <a:off x="5148941" y="4243110"/>
              <a:ext cx="3429001" cy="276999"/>
            </a:xfrm>
            <a:prstGeom prst="rect">
              <a:avLst/>
            </a:prstGeom>
          </p:spPr>
          <p:txBody>
            <a:bodyPr wrap="square">
              <a:spAutoFit/>
            </a:bodyPr>
            <a:lstStyle/>
            <a:p>
              <a:pPr algn="r"/>
              <a:r>
                <a:rPr lang="en-IN" altLang="en-US" sz="1200" dirty="0">
                  <a:solidFill>
                    <a:schemeClr val="bg1"/>
                  </a:solidFill>
                  <a:latin typeface="Gotham Narrow Book" pitchFamily="50" charset="0"/>
                  <a:cs typeface="Times New Roman" pitchFamily="18" charset="0"/>
                </a:rPr>
                <a:t>Executive Director, DYP Group, Kolhapur.</a:t>
              </a:r>
              <a:endParaRPr lang="en-US" altLang="en-US" sz="1200" dirty="0">
                <a:solidFill>
                  <a:schemeClr val="bg1"/>
                </a:solidFill>
                <a:latin typeface="Gotham Narrow Book" pitchFamily="50" charset="0"/>
                <a:cs typeface="Times New Roman" pitchFamily="18" charset="0"/>
              </a:endParaRPr>
            </a:p>
          </p:txBody>
        </p:sp>
      </p:grpSp>
      <p:pic>
        <p:nvPicPr>
          <p:cNvPr id="5" name="Picture 4">
            <a:extLst>
              <a:ext uri="{FF2B5EF4-FFF2-40B4-BE49-F238E27FC236}">
                <a16:creationId xmlns:a16="http://schemas.microsoft.com/office/drawing/2014/main" id="{8EEB9669-71BC-4A2D-8E28-1311C55F955D}"/>
              </a:ext>
            </a:extLst>
          </p:cNvPr>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906393" y="93060"/>
            <a:ext cx="1066800" cy="841574"/>
          </a:xfrm>
          <a:prstGeom prst="rect">
            <a:avLst/>
          </a:prstGeom>
        </p:spPr>
      </p:pic>
    </p:spTree>
    <p:extLst>
      <p:ext uri="{BB962C8B-B14F-4D97-AF65-F5344CB8AC3E}">
        <p14:creationId xmlns:p14="http://schemas.microsoft.com/office/powerpoint/2010/main" val="27056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Content Placeholder 2"/>
          <p:cNvSpPr txBox="1">
            <a:spLocks/>
          </p:cNvSpPr>
          <p:nvPr/>
        </p:nvSpPr>
        <p:spPr>
          <a:xfrm>
            <a:off x="1784718" y="968932"/>
            <a:ext cx="7359282" cy="3950792"/>
          </a:xfrm>
          <a:prstGeom prst="rect">
            <a:avLst/>
          </a:prstGeom>
        </p:spPr>
        <p:txBody>
          <a:bodyPr vert="horz" lIns="91440" tIns="45720" rIns="91440" bIns="45720" rtlCol="0">
            <a:noAutofit/>
          </a:bodyPr>
          <a:lstStyle>
            <a:lvl1pPr marL="342892" indent="-342892" algn="l" defTabSz="91437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31" indent="-285743" algn="l" defTabSz="91437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72" indent="-228594" algn="l" defTabSz="91437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60"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48"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spcBef>
                <a:spcPts val="600"/>
              </a:spcBef>
              <a:buFont typeface="Wingdings" panose="05000000000000000000" pitchFamily="2" charset="2"/>
              <a:buChar char="§"/>
            </a:pPr>
            <a:r>
              <a:rPr lang="en-US" sz="1600" dirty="0">
                <a:latin typeface="Gotham Medium" panose="02000603030000020004" pitchFamily="2" charset="0"/>
              </a:rPr>
              <a:t>Artificial intelligence (AI) is a branch of computer science concerned with </a:t>
            </a:r>
            <a:r>
              <a:rPr lang="en-US" sz="1600" dirty="0">
                <a:solidFill>
                  <a:srgbClr val="FF0000"/>
                </a:solidFill>
                <a:latin typeface="Gotham Medium" panose="02000603030000020004" pitchFamily="2" charset="0"/>
              </a:rPr>
              <a:t>building smart machines capable of performing tasks that typically require human intelligence.</a:t>
            </a:r>
          </a:p>
          <a:p>
            <a:pPr>
              <a:lnSpc>
                <a:spcPct val="150000"/>
              </a:lnSpc>
              <a:spcBef>
                <a:spcPts val="600"/>
              </a:spcBef>
              <a:buFont typeface="Wingdings" panose="05000000000000000000" pitchFamily="2" charset="2"/>
              <a:buChar char="§"/>
            </a:pPr>
            <a:r>
              <a:rPr lang="en-US" sz="1600" dirty="0">
                <a:latin typeface="Gotham Medium" panose="02000603030000020004" pitchFamily="2" charset="0"/>
              </a:rPr>
              <a:t>Examples of AI-</a:t>
            </a:r>
          </a:p>
          <a:p>
            <a:pPr lvl="1">
              <a:lnSpc>
                <a:spcPct val="150000"/>
              </a:lnSpc>
              <a:spcBef>
                <a:spcPts val="600"/>
              </a:spcBef>
              <a:buFont typeface="Wingdings" panose="05000000000000000000" pitchFamily="2" charset="2"/>
              <a:buChar char="§"/>
            </a:pPr>
            <a:r>
              <a:rPr lang="en-US" sz="1400" dirty="0">
                <a:latin typeface="Gotham Medium" panose="02000603030000020004" pitchFamily="2" charset="0"/>
              </a:rPr>
              <a:t>Siri, Alexa and other smart assistants</a:t>
            </a:r>
          </a:p>
          <a:p>
            <a:pPr lvl="1">
              <a:lnSpc>
                <a:spcPct val="150000"/>
              </a:lnSpc>
              <a:spcBef>
                <a:spcPts val="600"/>
              </a:spcBef>
              <a:buFont typeface="Wingdings" panose="05000000000000000000" pitchFamily="2" charset="2"/>
              <a:buChar char="§"/>
            </a:pPr>
            <a:r>
              <a:rPr lang="en-US" sz="1400" dirty="0">
                <a:latin typeface="Gotham Medium" panose="02000603030000020004" pitchFamily="2" charset="0"/>
              </a:rPr>
              <a:t>Self-driving cars</a:t>
            </a:r>
          </a:p>
          <a:p>
            <a:pPr lvl="1">
              <a:lnSpc>
                <a:spcPct val="150000"/>
              </a:lnSpc>
              <a:spcBef>
                <a:spcPts val="600"/>
              </a:spcBef>
              <a:buFont typeface="Wingdings" panose="05000000000000000000" pitchFamily="2" charset="2"/>
              <a:buChar char="§"/>
            </a:pPr>
            <a:r>
              <a:rPr lang="en-US" sz="1400" dirty="0">
                <a:latin typeface="Gotham Medium" panose="02000603030000020004" pitchFamily="2" charset="0"/>
              </a:rPr>
              <a:t>Robo-advisors</a:t>
            </a:r>
          </a:p>
          <a:p>
            <a:pPr lvl="1">
              <a:lnSpc>
                <a:spcPct val="150000"/>
              </a:lnSpc>
              <a:spcBef>
                <a:spcPts val="600"/>
              </a:spcBef>
              <a:buFont typeface="Wingdings" panose="05000000000000000000" pitchFamily="2" charset="2"/>
              <a:buChar char="§"/>
            </a:pPr>
            <a:r>
              <a:rPr lang="en-US" sz="1400" dirty="0">
                <a:latin typeface="Gotham Medium" panose="02000603030000020004" pitchFamily="2" charset="0"/>
              </a:rPr>
              <a:t>Conversational bots</a:t>
            </a:r>
          </a:p>
          <a:p>
            <a:pPr lvl="1">
              <a:lnSpc>
                <a:spcPct val="150000"/>
              </a:lnSpc>
              <a:spcBef>
                <a:spcPts val="600"/>
              </a:spcBef>
              <a:buFont typeface="Wingdings" panose="05000000000000000000" pitchFamily="2" charset="2"/>
              <a:buChar char="§"/>
            </a:pPr>
            <a:r>
              <a:rPr lang="en-US" sz="1400" dirty="0">
                <a:latin typeface="Gotham Medium" panose="02000603030000020004" pitchFamily="2" charset="0"/>
              </a:rPr>
              <a:t>Email spam filters</a:t>
            </a:r>
          </a:p>
          <a:p>
            <a:pPr lvl="1">
              <a:lnSpc>
                <a:spcPct val="150000"/>
              </a:lnSpc>
              <a:spcBef>
                <a:spcPts val="600"/>
              </a:spcBef>
              <a:buFont typeface="Wingdings" panose="05000000000000000000" pitchFamily="2" charset="2"/>
              <a:buChar char="§"/>
            </a:pPr>
            <a:r>
              <a:rPr lang="en-US" sz="1400" dirty="0">
                <a:latin typeface="Gotham Medium" panose="02000603030000020004" pitchFamily="2" charset="0"/>
              </a:rPr>
              <a:t>Netflix's recommendations</a:t>
            </a:r>
          </a:p>
        </p:txBody>
      </p:sp>
      <p:sp>
        <p:nvSpPr>
          <p:cNvPr id="49" name="Text Placeholder 1"/>
          <p:cNvSpPr txBox="1">
            <a:spLocks/>
          </p:cNvSpPr>
          <p:nvPr/>
        </p:nvSpPr>
        <p:spPr>
          <a:xfrm>
            <a:off x="2049444" y="301437"/>
            <a:ext cx="5289254" cy="526319"/>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b="1" dirty="0">
                <a:solidFill>
                  <a:srgbClr val="FF5969"/>
                </a:solidFill>
                <a:latin typeface="Gotham Bold" panose="02000803030000020004" pitchFamily="2" charset="0"/>
              </a:rPr>
              <a:t>Artificial Intelligence (A.I.)</a:t>
            </a:r>
            <a:endParaRPr lang="en-US" sz="2800" dirty="0">
              <a:solidFill>
                <a:srgbClr val="FF5969"/>
              </a:solidFill>
              <a:latin typeface="Gotham Bold" panose="02000803030000020004" pitchFamily="2" charset="0"/>
            </a:endParaRPr>
          </a:p>
        </p:txBody>
      </p:sp>
      <p:sp>
        <p:nvSpPr>
          <p:cNvPr id="7" name="Rectangle 6">
            <a:extLst>
              <a:ext uri="{FF2B5EF4-FFF2-40B4-BE49-F238E27FC236}">
                <a16:creationId xmlns:a16="http://schemas.microsoft.com/office/drawing/2014/main" id="{F358DCB7-2107-4AF9-92C8-E09988C0D2C4}"/>
              </a:ext>
            </a:extLst>
          </p:cNvPr>
          <p:cNvSpPr/>
          <p:nvPr/>
        </p:nvSpPr>
        <p:spPr>
          <a:xfrm>
            <a:off x="8940362" y="4255477"/>
            <a:ext cx="203638" cy="888023"/>
          </a:xfrm>
          <a:prstGeom prst="rect">
            <a:avLst/>
          </a:prstGeom>
          <a:solidFill>
            <a:srgbClr val="00A0A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pic>
        <p:nvPicPr>
          <p:cNvPr id="17410" name="Picture 2" descr="Artificial intelligence concept">
            <a:extLst>
              <a:ext uri="{FF2B5EF4-FFF2-40B4-BE49-F238E27FC236}">
                <a16:creationId xmlns:a16="http://schemas.microsoft.com/office/drawing/2014/main" id="{2CCD7BA0-3C2B-459F-99A7-776BCD91B63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8851" r="16404"/>
          <a:stretch/>
        </p:blipFill>
        <p:spPr bwMode="auto">
          <a:xfrm>
            <a:off x="1" y="0"/>
            <a:ext cx="1793682" cy="51435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E77C8D06-CB5D-475B-9A0D-0BDC061BBA6B}"/>
              </a:ext>
            </a:extLst>
          </p:cNvPr>
          <p:cNvSpPr/>
          <p:nvPr/>
        </p:nvSpPr>
        <p:spPr>
          <a:xfrm>
            <a:off x="1899985" y="251205"/>
            <a:ext cx="149459" cy="626781"/>
          </a:xfrm>
          <a:prstGeom prst="rect">
            <a:avLst/>
          </a:prstGeom>
          <a:solidFill>
            <a:srgbClr val="FEC6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9" name="Rectangle 8">
            <a:extLst>
              <a:ext uri="{FF2B5EF4-FFF2-40B4-BE49-F238E27FC236}">
                <a16:creationId xmlns:a16="http://schemas.microsoft.com/office/drawing/2014/main" id="{B4ED7453-8A6B-4BAA-AE92-BB86644040CA}"/>
              </a:ext>
            </a:extLst>
          </p:cNvPr>
          <p:cNvSpPr/>
          <p:nvPr/>
        </p:nvSpPr>
        <p:spPr>
          <a:xfrm>
            <a:off x="0" y="0"/>
            <a:ext cx="1784718" cy="5143500"/>
          </a:xfrm>
          <a:prstGeom prst="rect">
            <a:avLst/>
          </a:prstGeom>
          <a:solidFill>
            <a:schemeClr val="tx1">
              <a:lumMod val="85000"/>
              <a:lumOff val="15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Tree>
    <p:extLst>
      <p:ext uri="{BB962C8B-B14F-4D97-AF65-F5344CB8AC3E}">
        <p14:creationId xmlns:p14="http://schemas.microsoft.com/office/powerpoint/2010/main" val="28325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0F5DC47-383A-4624-9013-0D49B58B8B20}"/>
              </a:ext>
            </a:extLst>
          </p:cNvPr>
          <p:cNvPicPr>
            <a:picLocks noChangeAspect="1"/>
          </p:cNvPicPr>
          <p:nvPr/>
        </p:nvPicPr>
        <p:blipFill rotWithShape="1">
          <a:blip r:embed="rId2"/>
          <a:srcRect l="65995" r="3052"/>
          <a:stretch/>
        </p:blipFill>
        <p:spPr>
          <a:xfrm>
            <a:off x="0" y="0"/>
            <a:ext cx="2133600" cy="5143500"/>
          </a:xfrm>
          <a:prstGeom prst="rect">
            <a:avLst/>
          </a:prstGeom>
        </p:spPr>
      </p:pic>
      <p:sp>
        <p:nvSpPr>
          <p:cNvPr id="10" name="Rectangle 9">
            <a:extLst>
              <a:ext uri="{FF2B5EF4-FFF2-40B4-BE49-F238E27FC236}">
                <a16:creationId xmlns:a16="http://schemas.microsoft.com/office/drawing/2014/main" id="{1D6495AF-162A-4EF3-91F8-A5A969622C57}"/>
              </a:ext>
            </a:extLst>
          </p:cNvPr>
          <p:cNvSpPr/>
          <p:nvPr/>
        </p:nvSpPr>
        <p:spPr>
          <a:xfrm>
            <a:off x="0" y="0"/>
            <a:ext cx="2133600" cy="5143500"/>
          </a:xfrm>
          <a:prstGeom prst="rect">
            <a:avLst/>
          </a:prstGeom>
          <a:solidFill>
            <a:schemeClr val="tx1">
              <a:lumMod val="85000"/>
              <a:lumOff val="15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49" name="Text Placeholder 1"/>
          <p:cNvSpPr txBox="1">
            <a:spLocks/>
          </p:cNvSpPr>
          <p:nvPr/>
        </p:nvSpPr>
        <p:spPr>
          <a:xfrm>
            <a:off x="2371042" y="280695"/>
            <a:ext cx="5289254" cy="526319"/>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b="1" dirty="0">
                <a:solidFill>
                  <a:srgbClr val="FF5969"/>
                </a:solidFill>
                <a:latin typeface="Gotham Bold" panose="02000803030000020004" pitchFamily="2" charset="0"/>
              </a:rPr>
              <a:t>Future of AI</a:t>
            </a:r>
            <a:endParaRPr lang="en-US" sz="2800" dirty="0">
              <a:solidFill>
                <a:srgbClr val="FF5969"/>
              </a:solidFill>
              <a:latin typeface="Gotham Bold" panose="02000803030000020004" pitchFamily="2" charset="0"/>
            </a:endParaRPr>
          </a:p>
        </p:txBody>
      </p:sp>
      <p:sp>
        <p:nvSpPr>
          <p:cNvPr id="7" name="Rectangle 6">
            <a:extLst>
              <a:ext uri="{FF2B5EF4-FFF2-40B4-BE49-F238E27FC236}">
                <a16:creationId xmlns:a16="http://schemas.microsoft.com/office/drawing/2014/main" id="{F358DCB7-2107-4AF9-92C8-E09988C0D2C4}"/>
              </a:ext>
            </a:extLst>
          </p:cNvPr>
          <p:cNvSpPr/>
          <p:nvPr/>
        </p:nvSpPr>
        <p:spPr>
          <a:xfrm>
            <a:off x="8940362" y="4255477"/>
            <a:ext cx="203638" cy="888023"/>
          </a:xfrm>
          <a:prstGeom prst="rect">
            <a:avLst/>
          </a:prstGeom>
          <a:solidFill>
            <a:srgbClr val="FEC6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11" name="Rectangle 10">
            <a:extLst>
              <a:ext uri="{FF2B5EF4-FFF2-40B4-BE49-F238E27FC236}">
                <a16:creationId xmlns:a16="http://schemas.microsoft.com/office/drawing/2014/main" id="{0D267BC2-1009-4EA7-BC65-C2D4D7CD9571}"/>
              </a:ext>
            </a:extLst>
          </p:cNvPr>
          <p:cNvSpPr/>
          <p:nvPr/>
        </p:nvSpPr>
        <p:spPr>
          <a:xfrm>
            <a:off x="2221583" y="230369"/>
            <a:ext cx="149459" cy="626781"/>
          </a:xfrm>
          <a:prstGeom prst="rect">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graphicFrame>
        <p:nvGraphicFramePr>
          <p:cNvPr id="8" name="Table 7">
            <a:extLst>
              <a:ext uri="{FF2B5EF4-FFF2-40B4-BE49-F238E27FC236}">
                <a16:creationId xmlns:a16="http://schemas.microsoft.com/office/drawing/2014/main" id="{8431F7DA-F664-441E-A0C0-E2E509E0CFE3}"/>
              </a:ext>
            </a:extLst>
          </p:cNvPr>
          <p:cNvGraphicFramePr>
            <a:graphicFrameLocks noGrp="1"/>
          </p:cNvGraphicFramePr>
          <p:nvPr>
            <p:extLst>
              <p:ext uri="{D42A27DB-BD31-4B8C-83A1-F6EECF244321}">
                <p14:modId xmlns:p14="http://schemas.microsoft.com/office/powerpoint/2010/main" val="151286595"/>
              </p:ext>
            </p:extLst>
          </p:nvPr>
        </p:nvGraphicFramePr>
        <p:xfrm>
          <a:off x="2438400" y="971550"/>
          <a:ext cx="6391958" cy="3962400"/>
        </p:xfrm>
        <a:graphic>
          <a:graphicData uri="http://schemas.openxmlformats.org/drawingml/2006/table">
            <a:tbl>
              <a:tblPr firstRow="1" bandRow="1">
                <a:tableStyleId>{5940675A-B579-460E-94D1-54222C63F5DA}</a:tableStyleId>
              </a:tblPr>
              <a:tblGrid>
                <a:gridCol w="1972358">
                  <a:extLst>
                    <a:ext uri="{9D8B030D-6E8A-4147-A177-3AD203B41FA5}">
                      <a16:colId xmlns:a16="http://schemas.microsoft.com/office/drawing/2014/main" val="118061277"/>
                    </a:ext>
                  </a:extLst>
                </a:gridCol>
                <a:gridCol w="4419600">
                  <a:extLst>
                    <a:ext uri="{9D8B030D-6E8A-4147-A177-3AD203B41FA5}">
                      <a16:colId xmlns:a16="http://schemas.microsoft.com/office/drawing/2014/main" val="20002"/>
                    </a:ext>
                  </a:extLst>
                </a:gridCol>
              </a:tblGrid>
              <a:tr h="480707">
                <a:tc>
                  <a:txBody>
                    <a:bodyPr/>
                    <a:lstStyle/>
                    <a:p>
                      <a:pPr algn="ctr">
                        <a:lnSpc>
                          <a:spcPct val="100000"/>
                        </a:lnSpc>
                      </a:pPr>
                      <a:r>
                        <a:rPr lang="en-US" sz="1600" b="0" dirty="0">
                          <a:solidFill>
                            <a:schemeClr val="bg1"/>
                          </a:solidFill>
                          <a:latin typeface="Gotham Medium" panose="02000603030000020004" pitchFamily="2" charset="0"/>
                          <a:cs typeface="Times New Roman" pitchFamily="18" charset="0"/>
                        </a:rPr>
                        <a:t>Sector</a:t>
                      </a:r>
                    </a:p>
                  </a:txBody>
                  <a:tcPr marT="45730" marB="45730" anchor="ctr">
                    <a:solidFill>
                      <a:schemeClr val="tx1">
                        <a:lumMod val="50000"/>
                        <a:lumOff val="50000"/>
                      </a:schemeClr>
                    </a:solidFill>
                  </a:tcPr>
                </a:tc>
                <a:tc>
                  <a:txBody>
                    <a:bodyPr/>
                    <a:lstStyle/>
                    <a:p>
                      <a:pPr algn="ctr">
                        <a:lnSpc>
                          <a:spcPct val="100000"/>
                        </a:lnSpc>
                      </a:pPr>
                      <a:r>
                        <a:rPr lang="en-US" sz="1600" b="0" dirty="0">
                          <a:solidFill>
                            <a:schemeClr val="bg1"/>
                          </a:solidFill>
                          <a:latin typeface="Gotham Medium" panose="02000603030000020004" pitchFamily="2" charset="0"/>
                        </a:rPr>
                        <a:t>Examples</a:t>
                      </a:r>
                      <a:endParaRPr lang="en-US" sz="1600" b="0"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extLst>
                  <a:ext uri="{0D108BD9-81ED-4DB2-BD59-A6C34878D82A}">
                    <a16:rowId xmlns:a16="http://schemas.microsoft.com/office/drawing/2014/main" val="10000"/>
                  </a:ext>
                </a:extLst>
              </a:tr>
              <a:tr h="411312">
                <a:tc>
                  <a:txBody>
                    <a:bodyPr/>
                    <a:lstStyle/>
                    <a:p>
                      <a:pPr marL="0" algn="ctr" defTabSz="914378" rtl="0" eaLnBrk="1" latinLnBrk="0" hangingPunct="1">
                        <a:lnSpc>
                          <a:spcPct val="100000"/>
                        </a:lnSpc>
                      </a:pPr>
                      <a:r>
                        <a:rPr lang="en-US" sz="1400" dirty="0">
                          <a:solidFill>
                            <a:srgbClr val="52CBBE"/>
                          </a:solidFill>
                          <a:latin typeface="Gotham Medium" panose="02000603030000020004" pitchFamily="2" charset="0"/>
                        </a:rPr>
                        <a:t>Transportation</a:t>
                      </a:r>
                      <a:endParaRPr lang="en-US" sz="1400" b="0" kern="1200" dirty="0">
                        <a:solidFill>
                          <a:srgbClr val="52CBBE"/>
                        </a:solidFill>
                        <a:latin typeface="Gotham Medium" panose="02000603030000020004" pitchFamily="2" charset="0"/>
                        <a:ea typeface="+mn-ea"/>
                        <a:cs typeface="+mn-cs"/>
                      </a:endParaRPr>
                    </a:p>
                  </a:txBody>
                  <a:tcPr marT="45730" marB="45730" anchor="ctr">
                    <a:noFill/>
                  </a:tcPr>
                </a:tc>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400" dirty="0">
                          <a:latin typeface="Gotham Medium" panose="02000603030000020004" pitchFamily="2" charset="0"/>
                        </a:rPr>
                        <a:t>Self Driving Cars, Pilotless aircrafts, Drones</a:t>
                      </a:r>
                    </a:p>
                  </a:txBody>
                  <a:tcPr marT="45730" marB="45730" anchor="ctr"/>
                </a:tc>
                <a:extLst>
                  <a:ext uri="{0D108BD9-81ED-4DB2-BD59-A6C34878D82A}">
                    <a16:rowId xmlns:a16="http://schemas.microsoft.com/office/drawing/2014/main" val="50540502"/>
                  </a:ext>
                </a:extLst>
              </a:tr>
              <a:tr h="535644">
                <a:tc>
                  <a:txBody>
                    <a:bodyPr/>
                    <a:lstStyle/>
                    <a:p>
                      <a:pPr algn="ctr">
                        <a:lnSpc>
                          <a:spcPct val="100000"/>
                        </a:lnSpc>
                      </a:pPr>
                      <a:r>
                        <a:rPr lang="en-US" sz="1400" dirty="0">
                          <a:solidFill>
                            <a:srgbClr val="52CBBE"/>
                          </a:solidFill>
                          <a:latin typeface="Gotham Medium" panose="02000603030000020004" pitchFamily="2" charset="0"/>
                        </a:rPr>
                        <a:t>Manufacturing</a:t>
                      </a:r>
                      <a:endParaRPr lang="en-US" sz="1400" b="1" dirty="0">
                        <a:solidFill>
                          <a:srgbClr val="52CBBE"/>
                        </a:solidFill>
                        <a:latin typeface="Gotham Medium" panose="02000603030000020004" pitchFamily="2" charset="0"/>
                        <a:cs typeface="Times New Roman" pitchFamily="18" charset="0"/>
                      </a:endParaRPr>
                    </a:p>
                  </a:txBody>
                  <a:tcPr marT="45730" marB="45730" anchor="ctr">
                    <a:noFill/>
                  </a:tcPr>
                </a:tc>
                <a:tc>
                  <a:txBody>
                    <a:bodyPr/>
                    <a:lstStyle/>
                    <a:p>
                      <a:pPr algn="l">
                        <a:lnSpc>
                          <a:spcPct val="100000"/>
                        </a:lnSpc>
                      </a:pPr>
                      <a:r>
                        <a:rPr lang="en-US" sz="1400" dirty="0">
                          <a:latin typeface="Gotham Medium" panose="02000603030000020004" pitchFamily="2" charset="0"/>
                        </a:rPr>
                        <a:t>AI powered Robots</a:t>
                      </a:r>
                      <a:endParaRPr lang="en-US" sz="1400" b="0" dirty="0">
                        <a:solidFill>
                          <a:srgbClr val="002060"/>
                        </a:solidFill>
                        <a:latin typeface="Gotham Medium" panose="02000603030000020004" pitchFamily="2" charset="0"/>
                        <a:cs typeface="Times New Roman" pitchFamily="18" charset="0"/>
                      </a:endParaRPr>
                    </a:p>
                  </a:txBody>
                  <a:tcPr marT="45730" marB="45730" anchor="ctr"/>
                </a:tc>
                <a:extLst>
                  <a:ext uri="{0D108BD9-81ED-4DB2-BD59-A6C34878D82A}">
                    <a16:rowId xmlns:a16="http://schemas.microsoft.com/office/drawing/2014/main" val="10001"/>
                  </a:ext>
                </a:extLst>
              </a:tr>
              <a:tr h="544822">
                <a:tc>
                  <a:txBody>
                    <a:bodyPr/>
                    <a:lstStyle/>
                    <a:p>
                      <a:pPr algn="ctr">
                        <a:lnSpc>
                          <a:spcPct val="100000"/>
                        </a:lnSpc>
                      </a:pPr>
                      <a:r>
                        <a:rPr lang="en-US" sz="1400" dirty="0">
                          <a:solidFill>
                            <a:srgbClr val="52CBBE"/>
                          </a:solidFill>
                          <a:latin typeface="Gotham Medium" panose="02000603030000020004" pitchFamily="2" charset="0"/>
                        </a:rPr>
                        <a:t>Health Care</a:t>
                      </a:r>
                      <a:endParaRPr lang="en-US" sz="1400" b="1" dirty="0">
                        <a:solidFill>
                          <a:srgbClr val="52CBBE"/>
                        </a:solidFill>
                        <a:latin typeface="Gotham Medium" panose="02000603030000020004" pitchFamily="2" charset="0"/>
                        <a:cs typeface="Times New Roman" pitchFamily="18" charset="0"/>
                      </a:endParaRPr>
                    </a:p>
                  </a:txBody>
                  <a:tcPr marT="45730" marB="45730" anchor="c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Gotham Medium" panose="02000603030000020004" pitchFamily="2" charset="0"/>
                        </a:rPr>
                        <a:t>Diagnostics, drug Discovery, Virtual Nursing Assistant </a:t>
                      </a:r>
                      <a:endParaRPr lang="en-US" sz="1400" b="0" dirty="0">
                        <a:solidFill>
                          <a:srgbClr val="002060"/>
                        </a:solidFill>
                        <a:latin typeface="Gotham Medium" panose="02000603030000020004" pitchFamily="2" charset="0"/>
                        <a:cs typeface="Times New Roman" pitchFamily="18" charset="0"/>
                      </a:endParaRPr>
                    </a:p>
                  </a:txBody>
                  <a:tcPr marT="45730" marB="45730" anchor="ctr"/>
                </a:tc>
                <a:extLst>
                  <a:ext uri="{0D108BD9-81ED-4DB2-BD59-A6C34878D82A}">
                    <a16:rowId xmlns:a16="http://schemas.microsoft.com/office/drawing/2014/main" val="10002"/>
                  </a:ext>
                </a:extLst>
              </a:tr>
              <a:tr h="769152">
                <a:tc>
                  <a:txBody>
                    <a:bodyPr/>
                    <a:lstStyle/>
                    <a:p>
                      <a:pPr algn="ctr"/>
                      <a:r>
                        <a:rPr lang="en-US" sz="1400" dirty="0">
                          <a:solidFill>
                            <a:srgbClr val="52CBBE"/>
                          </a:solidFill>
                          <a:latin typeface="Gotham Medium" panose="02000603030000020004" pitchFamily="2" charset="0"/>
                        </a:rPr>
                        <a:t>Education</a:t>
                      </a:r>
                      <a:endParaRPr lang="en-US" sz="1400" b="1" dirty="0">
                        <a:solidFill>
                          <a:srgbClr val="52CBBE"/>
                        </a:solidFill>
                        <a:latin typeface="Gotham Medium" panose="02000603030000020004" pitchFamily="2" charset="0"/>
                        <a:cs typeface="Times New Roman" pitchFamily="18" charset="0"/>
                      </a:endParaRPr>
                    </a:p>
                  </a:txBody>
                  <a:tcPr marT="45730" marB="45730" anchor="ctr">
                    <a:noFill/>
                  </a:tcPr>
                </a:tc>
                <a:tc>
                  <a:txBody>
                    <a:bodyPr/>
                    <a:lstStyle/>
                    <a:p>
                      <a:pPr algn="l">
                        <a:lnSpc>
                          <a:spcPct val="100000"/>
                        </a:lnSpc>
                      </a:pPr>
                      <a:r>
                        <a:rPr lang="en-US" sz="1400" dirty="0">
                          <a:latin typeface="Gotham Medium" panose="02000603030000020004" pitchFamily="2" charset="0"/>
                        </a:rPr>
                        <a:t>Digital Library, Virtual Tutors, Assessment &amp; Monitoring of Students based on facial expressions </a:t>
                      </a:r>
                      <a:endParaRPr lang="en-US" sz="1400" b="0" dirty="0">
                        <a:solidFill>
                          <a:srgbClr val="002060"/>
                        </a:solidFill>
                        <a:latin typeface="Gotham Medium" panose="02000603030000020004" pitchFamily="2" charset="0"/>
                        <a:cs typeface="Times New Roman" pitchFamily="18" charset="0"/>
                      </a:endParaRPr>
                    </a:p>
                  </a:txBody>
                  <a:tcPr marT="45730" marB="45730" anchor="ctr"/>
                </a:tc>
                <a:extLst>
                  <a:ext uri="{0D108BD9-81ED-4DB2-BD59-A6C34878D82A}">
                    <a16:rowId xmlns:a16="http://schemas.microsoft.com/office/drawing/2014/main" val="10003"/>
                  </a:ext>
                </a:extLst>
              </a:tr>
              <a:tr h="4069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52CBBE"/>
                          </a:solidFill>
                          <a:latin typeface="Gotham Medium" panose="02000603030000020004" pitchFamily="2" charset="0"/>
                        </a:rPr>
                        <a:t>Social Media</a:t>
                      </a:r>
                    </a:p>
                  </a:txBody>
                  <a:tcPr marT="45730" marB="45730" anchor="ctr">
                    <a:noFill/>
                  </a:tcPr>
                </a:tc>
                <a:tc>
                  <a:txBody>
                    <a:bodyPr/>
                    <a:lstStyle/>
                    <a:p>
                      <a:pPr algn="l">
                        <a:lnSpc>
                          <a:spcPct val="100000"/>
                        </a:lnSpc>
                      </a:pPr>
                      <a:r>
                        <a:rPr lang="en-US" sz="1400" b="0" dirty="0">
                          <a:solidFill>
                            <a:schemeClr val="tx1"/>
                          </a:solidFill>
                          <a:latin typeface="Gotham Medium" panose="02000603030000020004" pitchFamily="2" charset="0"/>
                          <a:cs typeface="Times New Roman" pitchFamily="18" charset="0"/>
                        </a:rPr>
                        <a:t>Digital Marketing, Sentiment Analysis </a:t>
                      </a:r>
                    </a:p>
                  </a:txBody>
                  <a:tcPr marT="45730" marB="45730" anchor="ctr"/>
                </a:tc>
                <a:extLst>
                  <a:ext uri="{0D108BD9-81ED-4DB2-BD59-A6C34878D82A}">
                    <a16:rowId xmlns:a16="http://schemas.microsoft.com/office/drawing/2014/main" val="10004"/>
                  </a:ext>
                </a:extLst>
              </a:tr>
              <a:tr h="406921">
                <a:tc>
                  <a:txBody>
                    <a:bodyPr/>
                    <a:lstStyle/>
                    <a:p>
                      <a:pPr algn="ctr">
                        <a:lnSpc>
                          <a:spcPct val="100000"/>
                        </a:lnSpc>
                      </a:pPr>
                      <a:r>
                        <a:rPr lang="en-US" sz="1400" dirty="0">
                          <a:solidFill>
                            <a:srgbClr val="52CBBE"/>
                          </a:solidFill>
                          <a:latin typeface="Gotham Medium" panose="02000603030000020004" pitchFamily="2" charset="0"/>
                        </a:rPr>
                        <a:t>Customer Service</a:t>
                      </a:r>
                      <a:endParaRPr lang="en-US" sz="1400" b="1" dirty="0">
                        <a:solidFill>
                          <a:srgbClr val="52CBBE"/>
                        </a:solidFill>
                        <a:latin typeface="Gotham Medium" panose="02000603030000020004" pitchFamily="2" charset="0"/>
                        <a:cs typeface="Times New Roman" pitchFamily="18" charset="0"/>
                      </a:endParaRPr>
                    </a:p>
                  </a:txBody>
                  <a:tcPr marT="45730" marB="45730" anchor="ctr">
                    <a:noFill/>
                  </a:tcPr>
                </a:tc>
                <a:tc>
                  <a:txBody>
                    <a:bodyPr/>
                    <a:lstStyle/>
                    <a:p>
                      <a:pPr algn="l">
                        <a:lnSpc>
                          <a:spcPct val="100000"/>
                        </a:lnSpc>
                      </a:pPr>
                      <a:r>
                        <a:rPr lang="en-US" sz="1400" dirty="0">
                          <a:latin typeface="Gotham Medium" panose="02000603030000020004" pitchFamily="2" charset="0"/>
                        </a:rPr>
                        <a:t>Amazon, Flipkart, Snapdeal</a:t>
                      </a:r>
                      <a:endParaRPr lang="en-US" sz="1400" b="0" dirty="0">
                        <a:solidFill>
                          <a:srgbClr val="002060"/>
                        </a:solidFill>
                        <a:latin typeface="Gotham Medium" panose="02000603030000020004" pitchFamily="2" charset="0"/>
                        <a:cs typeface="Times New Roman" pitchFamily="18" charset="0"/>
                      </a:endParaRPr>
                    </a:p>
                  </a:txBody>
                  <a:tcPr marT="45730" marB="45730" anchor="ctr"/>
                </a:tc>
                <a:extLst>
                  <a:ext uri="{0D108BD9-81ED-4DB2-BD59-A6C34878D82A}">
                    <a16:rowId xmlns:a16="http://schemas.microsoft.com/office/drawing/2014/main" val="10005"/>
                  </a:ext>
                </a:extLst>
              </a:tr>
              <a:tr h="406921">
                <a:tc>
                  <a:txBody>
                    <a:bodyPr/>
                    <a:lstStyle/>
                    <a:p>
                      <a:pPr algn="ctr">
                        <a:lnSpc>
                          <a:spcPct val="100000"/>
                        </a:lnSpc>
                      </a:pPr>
                      <a:r>
                        <a:rPr lang="en-US" sz="1400" dirty="0">
                          <a:solidFill>
                            <a:srgbClr val="52CBBE"/>
                          </a:solidFill>
                          <a:latin typeface="Gotham Medium" panose="02000603030000020004" pitchFamily="2" charset="0"/>
                        </a:rPr>
                        <a:t>Entertainment</a:t>
                      </a:r>
                      <a:endParaRPr lang="en-US" sz="1400" b="1" dirty="0">
                        <a:solidFill>
                          <a:srgbClr val="52CBBE"/>
                        </a:solidFill>
                        <a:latin typeface="Gotham Medium" panose="02000603030000020004" pitchFamily="2" charset="0"/>
                        <a:cs typeface="Times New Roman" pitchFamily="18" charset="0"/>
                      </a:endParaRPr>
                    </a:p>
                  </a:txBody>
                  <a:tcPr marT="45730" marB="45730" anchor="ctr">
                    <a:noFill/>
                  </a:tcPr>
                </a:tc>
                <a:tc>
                  <a:txBody>
                    <a:bodyPr/>
                    <a:lstStyle/>
                    <a:p>
                      <a:pPr algn="l">
                        <a:lnSpc>
                          <a:spcPct val="100000"/>
                        </a:lnSpc>
                      </a:pPr>
                      <a:r>
                        <a:rPr lang="en-US" sz="1400" dirty="0">
                          <a:latin typeface="Gotham Medium" panose="02000603030000020004" pitchFamily="2" charset="0"/>
                        </a:rPr>
                        <a:t>AR &amp; VR, Gaming, OTT Platforms</a:t>
                      </a:r>
                      <a:endParaRPr lang="en-US" sz="1400" b="0" dirty="0">
                        <a:solidFill>
                          <a:srgbClr val="002060"/>
                        </a:solidFill>
                        <a:latin typeface="Gotham Medium" panose="02000603030000020004" pitchFamily="2" charset="0"/>
                        <a:cs typeface="Times New Roman" pitchFamily="18" charset="0"/>
                      </a:endParaRPr>
                    </a:p>
                  </a:txBody>
                  <a:tcPr marT="45730" marB="45730"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208165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446E8F-3DAA-447A-8F22-337289C02E35}"/>
              </a:ext>
            </a:extLst>
          </p:cNvPr>
          <p:cNvSpPr/>
          <p:nvPr/>
        </p:nvSpPr>
        <p:spPr>
          <a:xfrm>
            <a:off x="270931" y="0"/>
            <a:ext cx="203638" cy="5143500"/>
          </a:xfrm>
          <a:prstGeom prst="rect">
            <a:avLst/>
          </a:prstGeom>
          <a:solidFill>
            <a:schemeClr val="tx1">
              <a:lumMod val="95000"/>
              <a:lumOff val="5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pic>
        <p:nvPicPr>
          <p:cNvPr id="60418" name="Picture 2" descr="Data Science Career Advice. Data Science is a relatively new field… | by  Frederik Bussler | bitgrit Data Science Publication | Medium">
            <a:extLst>
              <a:ext uri="{FF2B5EF4-FFF2-40B4-BE49-F238E27FC236}">
                <a16:creationId xmlns:a16="http://schemas.microsoft.com/office/drawing/2014/main" id="{407BD1A1-DE6F-4423-AC3E-19DAEE33367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88165" y="1367155"/>
            <a:ext cx="4038600" cy="3660157"/>
          </a:xfrm>
          <a:prstGeom prst="rect">
            <a:avLst/>
          </a:prstGeom>
          <a:noFill/>
          <a:extLst>
            <a:ext uri="{909E8E84-426E-40DD-AFC4-6F175D3DCCD1}">
              <a14:hiddenFill xmlns:a14="http://schemas.microsoft.com/office/drawing/2010/main">
                <a:solidFill>
                  <a:srgbClr val="FFFFFF"/>
                </a:solidFill>
              </a14:hiddenFill>
            </a:ext>
          </a:extLst>
        </p:spPr>
      </p:pic>
      <p:sp>
        <p:nvSpPr>
          <p:cNvPr id="49" name="Text Placeholder 1"/>
          <p:cNvSpPr txBox="1">
            <a:spLocks/>
          </p:cNvSpPr>
          <p:nvPr/>
        </p:nvSpPr>
        <p:spPr>
          <a:xfrm>
            <a:off x="793799" y="198378"/>
            <a:ext cx="5289254" cy="523220"/>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b="1" dirty="0">
                <a:solidFill>
                  <a:srgbClr val="FF5969"/>
                </a:solidFill>
                <a:latin typeface="Gotham Bold" panose="02000803030000020004" pitchFamily="2" charset="0"/>
              </a:rPr>
              <a:t>Data Science</a:t>
            </a:r>
            <a:endParaRPr lang="en-US" sz="2800" dirty="0">
              <a:solidFill>
                <a:srgbClr val="FF5969"/>
              </a:solidFill>
              <a:latin typeface="Gotham Bold" panose="02000803030000020004" pitchFamily="2" charset="0"/>
            </a:endParaRPr>
          </a:p>
        </p:txBody>
      </p:sp>
      <p:sp>
        <p:nvSpPr>
          <p:cNvPr id="7" name="Rectangle 6">
            <a:extLst>
              <a:ext uri="{FF2B5EF4-FFF2-40B4-BE49-F238E27FC236}">
                <a16:creationId xmlns:a16="http://schemas.microsoft.com/office/drawing/2014/main" id="{F358DCB7-2107-4AF9-92C8-E09988C0D2C4}"/>
              </a:ext>
            </a:extLst>
          </p:cNvPr>
          <p:cNvSpPr/>
          <p:nvPr/>
        </p:nvSpPr>
        <p:spPr>
          <a:xfrm>
            <a:off x="8940362" y="4255477"/>
            <a:ext cx="203638" cy="888023"/>
          </a:xfrm>
          <a:prstGeom prst="rect">
            <a:avLst/>
          </a:prstGeom>
          <a:solidFill>
            <a:srgbClr val="FEC6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2" name="Rectangle 1">
            <a:extLst>
              <a:ext uri="{FF2B5EF4-FFF2-40B4-BE49-F238E27FC236}">
                <a16:creationId xmlns:a16="http://schemas.microsoft.com/office/drawing/2014/main" id="{E4DF2A29-F879-4D06-96AF-639C6E9A621E}"/>
              </a:ext>
            </a:extLst>
          </p:cNvPr>
          <p:cNvSpPr/>
          <p:nvPr/>
        </p:nvSpPr>
        <p:spPr>
          <a:xfrm>
            <a:off x="793799" y="782380"/>
            <a:ext cx="7749855" cy="584775"/>
          </a:xfrm>
          <a:prstGeom prst="rect">
            <a:avLst/>
          </a:prstGeom>
        </p:spPr>
        <p:txBody>
          <a:bodyPr wrap="square">
            <a:spAutoFit/>
          </a:bodyPr>
          <a:lstStyle/>
          <a:p>
            <a:pPr marL="285750" lvl="1" indent="-285750">
              <a:spcBef>
                <a:spcPts val="600"/>
              </a:spcBef>
              <a:buFont typeface="Wingdings" panose="05000000000000000000" pitchFamily="2" charset="2"/>
              <a:buChar char="§"/>
            </a:pPr>
            <a:r>
              <a:rPr lang="en-US" sz="1600" dirty="0">
                <a:latin typeface="Gotham Medium" panose="02000603030000020004" pitchFamily="2" charset="0"/>
              </a:rPr>
              <a:t>An area that manages, manipulates, extracts, and interprets knowledge from tremendous amount of data. </a:t>
            </a:r>
          </a:p>
        </p:txBody>
      </p:sp>
      <p:sp>
        <p:nvSpPr>
          <p:cNvPr id="11" name="Rectangle 10">
            <a:extLst>
              <a:ext uri="{FF2B5EF4-FFF2-40B4-BE49-F238E27FC236}">
                <a16:creationId xmlns:a16="http://schemas.microsoft.com/office/drawing/2014/main" id="{867295FA-B32C-438B-B69B-C0862BB3FA0B}"/>
              </a:ext>
            </a:extLst>
          </p:cNvPr>
          <p:cNvSpPr/>
          <p:nvPr/>
        </p:nvSpPr>
        <p:spPr>
          <a:xfrm>
            <a:off x="474569" y="196829"/>
            <a:ext cx="149459" cy="526319"/>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Tree>
    <p:extLst>
      <p:ext uri="{BB962C8B-B14F-4D97-AF65-F5344CB8AC3E}">
        <p14:creationId xmlns:p14="http://schemas.microsoft.com/office/powerpoint/2010/main" val="3140926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descr="How to get hold of the data science talent your business needs | IT PRO">
            <a:extLst>
              <a:ext uri="{FF2B5EF4-FFF2-40B4-BE49-F238E27FC236}">
                <a16:creationId xmlns:a16="http://schemas.microsoft.com/office/drawing/2014/main" id="{8B0B2AF4-EB8E-4468-9439-7D3D21F9B83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r="14209"/>
          <a:stretch/>
        </p:blipFill>
        <p:spPr bwMode="auto">
          <a:xfrm>
            <a:off x="0" y="0"/>
            <a:ext cx="1219200" cy="51435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BD0890E2-31A6-457D-BB11-B4174B09554B}"/>
              </a:ext>
            </a:extLst>
          </p:cNvPr>
          <p:cNvSpPr/>
          <p:nvPr/>
        </p:nvSpPr>
        <p:spPr>
          <a:xfrm>
            <a:off x="0" y="0"/>
            <a:ext cx="1219200" cy="5143500"/>
          </a:xfrm>
          <a:prstGeom prst="rect">
            <a:avLst/>
          </a:prstGeom>
          <a:solidFill>
            <a:schemeClr val="tx1">
              <a:lumMod val="95000"/>
              <a:lumOff val="5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6" name="Rectangle 5">
            <a:extLst>
              <a:ext uri="{FF2B5EF4-FFF2-40B4-BE49-F238E27FC236}">
                <a16:creationId xmlns:a16="http://schemas.microsoft.com/office/drawing/2014/main" id="{F358DCB7-2107-4AF9-92C8-E09988C0D2C4}"/>
              </a:ext>
            </a:extLst>
          </p:cNvPr>
          <p:cNvSpPr/>
          <p:nvPr/>
        </p:nvSpPr>
        <p:spPr>
          <a:xfrm>
            <a:off x="1302257" y="282976"/>
            <a:ext cx="457200" cy="207100"/>
          </a:xfrm>
          <a:prstGeom prst="rect">
            <a:avLst/>
          </a:prstGeom>
          <a:solidFill>
            <a:srgbClr val="FEC6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7" name="Rectangle 6">
            <a:extLst>
              <a:ext uri="{FF2B5EF4-FFF2-40B4-BE49-F238E27FC236}">
                <a16:creationId xmlns:a16="http://schemas.microsoft.com/office/drawing/2014/main" id="{F358DCB7-2107-4AF9-92C8-E09988C0D2C4}"/>
              </a:ext>
            </a:extLst>
          </p:cNvPr>
          <p:cNvSpPr/>
          <p:nvPr/>
        </p:nvSpPr>
        <p:spPr>
          <a:xfrm>
            <a:off x="8940362" y="4255477"/>
            <a:ext cx="203638" cy="888023"/>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4" name="Text Placeholder 1">
            <a:extLst>
              <a:ext uri="{FF2B5EF4-FFF2-40B4-BE49-F238E27FC236}">
                <a16:creationId xmlns:a16="http://schemas.microsoft.com/office/drawing/2014/main" id="{CEC46CA8-3EAF-4C7C-80A6-081F31AA0123}"/>
              </a:ext>
            </a:extLst>
          </p:cNvPr>
          <p:cNvSpPr txBox="1">
            <a:spLocks/>
          </p:cNvSpPr>
          <p:nvPr/>
        </p:nvSpPr>
        <p:spPr>
          <a:xfrm>
            <a:off x="1856061" y="123366"/>
            <a:ext cx="5289254" cy="526319"/>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dirty="0">
                <a:solidFill>
                  <a:srgbClr val="FF5969"/>
                </a:solidFill>
                <a:latin typeface="Gotham Bold" panose="02000803030000020004" pitchFamily="2" charset="0"/>
                <a:ea typeface="Adobe Fan Heiti Std B" panose="020B0700000000000000" pitchFamily="34" charset="-128"/>
                <a:cs typeface="Times New Roman" panose="02020603050405020304" pitchFamily="18" charset="0"/>
              </a:rPr>
              <a:t>Applications of Data Science</a:t>
            </a:r>
          </a:p>
        </p:txBody>
      </p:sp>
      <p:pic>
        <p:nvPicPr>
          <p:cNvPr id="61442" name="Picture 2">
            <a:extLst>
              <a:ext uri="{FF2B5EF4-FFF2-40B4-BE49-F238E27FC236}">
                <a16:creationId xmlns:a16="http://schemas.microsoft.com/office/drawing/2014/main" id="{456C8FBC-2DBA-4F05-86B2-3C2D239FA08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400000"/>
                    </a14:imgEffect>
                    <a14:imgEffect>
                      <a14:brightnessContrast bright="20000" contrast="-40000"/>
                    </a14:imgEffect>
                  </a14:imgLayer>
                </a14:imgProps>
              </a:ext>
              <a:ext uri="{28A0092B-C50C-407E-A947-70E740481C1C}">
                <a14:useLocalDpi xmlns:a14="http://schemas.microsoft.com/office/drawing/2010/main" val="0"/>
              </a:ext>
            </a:extLst>
          </a:blip>
          <a:srcRect l="13561" t="9641" r="15848" b="1601"/>
          <a:stretch/>
        </p:blipFill>
        <p:spPr bwMode="auto">
          <a:xfrm>
            <a:off x="2438400" y="683841"/>
            <a:ext cx="4785265" cy="4459659"/>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8891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sp>
        <p:nvSpPr>
          <p:cNvPr id="14" name="Google Shape;188;p26">
            <a:extLst>
              <a:ext uri="{FF2B5EF4-FFF2-40B4-BE49-F238E27FC236}">
                <a16:creationId xmlns:a16="http://schemas.microsoft.com/office/drawing/2014/main" id="{1AD99EC3-589A-4A9E-A3CD-E6ED29A7EB38}"/>
              </a:ext>
            </a:extLst>
          </p:cNvPr>
          <p:cNvSpPr txBox="1">
            <a:spLocks/>
          </p:cNvSpPr>
          <p:nvPr/>
        </p:nvSpPr>
        <p:spPr>
          <a:xfrm>
            <a:off x="1360472" y="307162"/>
            <a:ext cx="7061539" cy="531345"/>
          </a:xfrm>
          <a:prstGeom prst="rect">
            <a:avLst/>
          </a:prstGeom>
        </p:spPr>
        <p:txBody>
          <a:bodyPr spcFirstLastPara="1" vert="horz" wrap="square" lIns="91425" tIns="91425" rIns="91425" bIns="91425" rtlCol="0" anchor="b" anchorCtr="0">
            <a:noAutofit/>
          </a:bodyPr>
          <a:lstStyle>
            <a:lvl1pPr lvl="0" algn="ctr" defTabSz="914400" rtl="0" eaLnBrk="1" latinLnBrk="0" hangingPunct="1">
              <a:spcBef>
                <a:spcPts val="0"/>
              </a:spcBef>
              <a:spcAft>
                <a:spcPts val="0"/>
              </a:spcAft>
              <a:buSzPts val="2800"/>
              <a:buNone/>
              <a:defRPr sz="4400" kern="1200">
                <a:solidFill>
                  <a:schemeClr val="tx1"/>
                </a:solidFill>
                <a:latin typeface="+mj-lt"/>
                <a:ea typeface="+mj-ea"/>
                <a:cs typeface="+mj-cs"/>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pPr algn="l"/>
            <a:endParaRPr lang="en-US" sz="2800" dirty="0">
              <a:solidFill>
                <a:srgbClr val="083D65"/>
              </a:solidFill>
              <a:latin typeface="Gotham Bold" panose="02000803030000020004" pitchFamily="2" charset="0"/>
            </a:endParaRPr>
          </a:p>
        </p:txBody>
      </p:sp>
      <p:sp>
        <p:nvSpPr>
          <p:cNvPr id="8" name="Rectangle 7">
            <a:extLst>
              <a:ext uri="{FF2B5EF4-FFF2-40B4-BE49-F238E27FC236}">
                <a16:creationId xmlns:a16="http://schemas.microsoft.com/office/drawing/2014/main" id="{F35A37F4-3E9D-458A-8B42-D9D10BDCA747}"/>
              </a:ext>
            </a:extLst>
          </p:cNvPr>
          <p:cNvSpPr/>
          <p:nvPr/>
        </p:nvSpPr>
        <p:spPr>
          <a:xfrm>
            <a:off x="243617" y="873756"/>
            <a:ext cx="8900383" cy="1145378"/>
          </a:xfrm>
          <a:prstGeom prst="rect">
            <a:avLst/>
          </a:prstGeom>
        </p:spPr>
        <p:txBody>
          <a:bodyPr wrap="square">
            <a:spAutoFit/>
          </a:bodyPr>
          <a:lstStyle/>
          <a:p>
            <a:pPr marL="285750" indent="-285750">
              <a:lnSpc>
                <a:spcPct val="150000"/>
              </a:lnSpc>
              <a:buFont typeface="Wingdings" panose="05000000000000000000" pitchFamily="2" charset="2"/>
              <a:buChar char="§"/>
            </a:pPr>
            <a:r>
              <a:rPr lang="en-US" sz="1600" dirty="0">
                <a:latin typeface="Gotham Medium" panose="02000603030000020004" pitchFamily="2" charset="0"/>
              </a:rPr>
              <a:t>It deals with the application of physical science (e.g. Chemistry and Physics), with Mathematics to the process of converting raw materials or chemicals into more useful or valuable forms.</a:t>
            </a:r>
          </a:p>
        </p:txBody>
      </p:sp>
      <p:sp>
        <p:nvSpPr>
          <p:cNvPr id="9" name="Google Shape;186;p26">
            <a:extLst>
              <a:ext uri="{FF2B5EF4-FFF2-40B4-BE49-F238E27FC236}">
                <a16:creationId xmlns:a16="http://schemas.microsoft.com/office/drawing/2014/main" id="{DB04D923-AA3D-4E9F-A960-AEEF7E4CA827}"/>
              </a:ext>
            </a:extLst>
          </p:cNvPr>
          <p:cNvSpPr/>
          <p:nvPr/>
        </p:nvSpPr>
        <p:spPr>
          <a:xfrm>
            <a:off x="0" y="3867150"/>
            <a:ext cx="9144000" cy="1276349"/>
          </a:xfrm>
          <a:prstGeom prst="rect">
            <a:avLst/>
          </a:prstGeom>
          <a:solidFill>
            <a:srgbClr val="FF596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188;p26">
            <a:extLst>
              <a:ext uri="{FF2B5EF4-FFF2-40B4-BE49-F238E27FC236}">
                <a16:creationId xmlns:a16="http://schemas.microsoft.com/office/drawing/2014/main" id="{2A44EA9E-BAA7-4EDB-B7BD-12F16465802F}"/>
              </a:ext>
            </a:extLst>
          </p:cNvPr>
          <p:cNvSpPr txBox="1">
            <a:spLocks/>
          </p:cNvSpPr>
          <p:nvPr/>
        </p:nvSpPr>
        <p:spPr>
          <a:xfrm>
            <a:off x="304799" y="387546"/>
            <a:ext cx="7061539" cy="531345"/>
          </a:xfrm>
          <a:prstGeom prst="rect">
            <a:avLst/>
          </a:prstGeom>
        </p:spPr>
        <p:txBody>
          <a:bodyPr spcFirstLastPara="1" vert="horz" wrap="square" lIns="91425" tIns="91425" rIns="91425" bIns="91425" rtlCol="0" anchor="b" anchorCtr="0">
            <a:noAutofit/>
          </a:bodyPr>
          <a:lstStyle>
            <a:lvl1pPr lvl="0" algn="ctr" defTabSz="914400" rtl="0" eaLnBrk="1" latinLnBrk="0" hangingPunct="1">
              <a:spcBef>
                <a:spcPts val="0"/>
              </a:spcBef>
              <a:spcAft>
                <a:spcPts val="0"/>
              </a:spcAft>
              <a:buSzPts val="2800"/>
              <a:buNone/>
              <a:defRPr sz="4400" kern="1200">
                <a:solidFill>
                  <a:schemeClr val="tx1"/>
                </a:solidFill>
                <a:latin typeface="+mj-lt"/>
                <a:ea typeface="+mj-ea"/>
                <a:cs typeface="+mj-cs"/>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pPr algn="l"/>
            <a:r>
              <a:rPr lang="en-US" sz="2800" dirty="0">
                <a:solidFill>
                  <a:srgbClr val="FF5969"/>
                </a:solidFill>
                <a:latin typeface="Gotham Bold" panose="02000803030000020004" pitchFamily="2" charset="0"/>
              </a:rPr>
              <a:t>Chemical Engineering</a:t>
            </a:r>
          </a:p>
        </p:txBody>
      </p:sp>
      <p:sp>
        <p:nvSpPr>
          <p:cNvPr id="16" name="Google Shape;191;p26">
            <a:extLst>
              <a:ext uri="{FF2B5EF4-FFF2-40B4-BE49-F238E27FC236}">
                <a16:creationId xmlns:a16="http://schemas.microsoft.com/office/drawing/2014/main" id="{8459FA99-CCC4-4940-B2FF-378AEA988A03}"/>
              </a:ext>
            </a:extLst>
          </p:cNvPr>
          <p:cNvSpPr/>
          <p:nvPr/>
        </p:nvSpPr>
        <p:spPr>
          <a:xfrm>
            <a:off x="0" y="387546"/>
            <a:ext cx="243617" cy="450961"/>
          </a:xfrm>
          <a:prstGeom prst="rect">
            <a:avLst/>
          </a:prstGeom>
          <a:solidFill>
            <a:srgbClr val="52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10" name="Picture 2" descr="D:\Imagies\chemical.jpg">
            <a:extLst>
              <a:ext uri="{FF2B5EF4-FFF2-40B4-BE49-F238E27FC236}">
                <a16:creationId xmlns:a16="http://schemas.microsoft.com/office/drawing/2014/main" id="{673544F9-AD8F-494E-8F23-8A849A89CD4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3617" y="2800350"/>
            <a:ext cx="4099783" cy="2188879"/>
          </a:xfrm>
          <a:prstGeom prst="rect">
            <a:avLst/>
          </a:prstGeom>
          <a:extLst>
            <a:ext uri="{909E8E84-426E-40DD-AFC4-6F175D3DCCD1}">
              <a14:hiddenFill xmlns:a14="http://schemas.microsoft.com/office/drawing/2010/main">
                <a:solidFill>
                  <a:srgbClr val="FFFFFF"/>
                </a:solidFill>
              </a14:hiddenFill>
            </a:ext>
          </a:extLst>
        </p:spPr>
      </p:pic>
      <p:pic>
        <p:nvPicPr>
          <p:cNvPr id="11" name="Picture 2" descr="Image result for chemical engineering">
            <a:extLst>
              <a:ext uri="{FF2B5EF4-FFF2-40B4-BE49-F238E27FC236}">
                <a16:creationId xmlns:a16="http://schemas.microsoft.com/office/drawing/2014/main" id="{20BF16E4-95C2-484C-B26D-6052CADD9B8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0602" y="2800350"/>
            <a:ext cx="4033778" cy="2188879"/>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2168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96"/>
        <p:cNvGrpSpPr/>
        <p:nvPr/>
      </p:nvGrpSpPr>
      <p:grpSpPr>
        <a:xfrm>
          <a:off x="0" y="0"/>
          <a:ext cx="0" cy="0"/>
          <a:chOff x="0" y="0"/>
          <a:chExt cx="0" cy="0"/>
        </a:xfrm>
      </p:grpSpPr>
      <p:sp>
        <p:nvSpPr>
          <p:cNvPr id="22" name="Google Shape;197;p27">
            <a:extLst>
              <a:ext uri="{FF2B5EF4-FFF2-40B4-BE49-F238E27FC236}">
                <a16:creationId xmlns:a16="http://schemas.microsoft.com/office/drawing/2014/main" id="{AADF2F76-B281-4672-81B8-49F59EABD7F0}"/>
              </a:ext>
            </a:extLst>
          </p:cNvPr>
          <p:cNvSpPr/>
          <p:nvPr/>
        </p:nvSpPr>
        <p:spPr>
          <a:xfrm>
            <a:off x="7435739" y="666750"/>
            <a:ext cx="1708262" cy="4476750"/>
          </a:xfrm>
          <a:prstGeom prst="rect">
            <a:avLst/>
          </a:prstGeom>
          <a:solidFill>
            <a:srgbClr val="FEC63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10" name="Picture 4" descr="Image result for chemical engineering">
            <a:extLst>
              <a:ext uri="{FF2B5EF4-FFF2-40B4-BE49-F238E27FC236}">
                <a16:creationId xmlns:a16="http://schemas.microsoft.com/office/drawing/2014/main" id="{19C61874-4760-4FD5-9639-8277FA622AE3}"/>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4444"/>
          <a:stretch/>
        </p:blipFill>
        <p:spPr bwMode="auto">
          <a:xfrm>
            <a:off x="6179439" y="3028950"/>
            <a:ext cx="2817135" cy="1973212"/>
          </a:xfrm>
          <a:prstGeom prst="rect">
            <a:avLst/>
          </a:prstGeom>
          <a:extLst>
            <a:ext uri="{909E8E84-426E-40DD-AFC4-6F175D3DCCD1}">
              <a14:hiddenFill xmlns:a14="http://schemas.microsoft.com/office/drawing/2010/main">
                <a:solidFill>
                  <a:srgbClr val="FFFFFF"/>
                </a:solidFill>
              </a14:hiddenFill>
            </a:ext>
          </a:extLst>
        </p:spPr>
      </p:pic>
      <p:pic>
        <p:nvPicPr>
          <p:cNvPr id="3074" name="Picture 2" descr="Chemical Engineer Wallpapers - Wallpaper Cave">
            <a:extLst>
              <a:ext uri="{FF2B5EF4-FFF2-40B4-BE49-F238E27FC236}">
                <a16:creationId xmlns:a16="http://schemas.microsoft.com/office/drawing/2014/main" id="{A296FC62-C73D-4B86-91FC-DEE4F5CF83F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79439" y="817967"/>
            <a:ext cx="2817136" cy="2050595"/>
          </a:xfrm>
          <a:prstGeom prst="rect">
            <a:avLst/>
          </a:prstGeom>
          <a:noFill/>
          <a:extLst>
            <a:ext uri="{909E8E84-426E-40DD-AFC4-6F175D3DCCD1}">
              <a14:hiddenFill xmlns:a14="http://schemas.microsoft.com/office/drawing/2010/main">
                <a:solidFill>
                  <a:srgbClr val="FFFFFF"/>
                </a:solidFill>
              </a14:hiddenFill>
            </a:ext>
          </a:extLst>
        </p:spPr>
      </p:pic>
      <p:sp>
        <p:nvSpPr>
          <p:cNvPr id="13" name="Google Shape;188;p26">
            <a:extLst>
              <a:ext uri="{FF2B5EF4-FFF2-40B4-BE49-F238E27FC236}">
                <a16:creationId xmlns:a16="http://schemas.microsoft.com/office/drawing/2014/main" id="{105BA8F5-0F58-4361-B567-D8BF963327F9}"/>
              </a:ext>
            </a:extLst>
          </p:cNvPr>
          <p:cNvSpPr txBox="1">
            <a:spLocks/>
          </p:cNvSpPr>
          <p:nvPr/>
        </p:nvSpPr>
        <p:spPr>
          <a:xfrm>
            <a:off x="1412011" y="343111"/>
            <a:ext cx="4656326" cy="531345"/>
          </a:xfrm>
          <a:prstGeom prst="rect">
            <a:avLst/>
          </a:prstGeom>
        </p:spPr>
        <p:txBody>
          <a:bodyPr spcFirstLastPara="1" vert="horz" wrap="square" lIns="91425" tIns="91425" rIns="91425" bIns="91425" rtlCol="0" anchor="b" anchorCtr="0">
            <a:noAutofit/>
          </a:bodyPr>
          <a:lstStyle>
            <a:lvl1pPr lvl="0" algn="ctr" defTabSz="914400" rtl="0" eaLnBrk="1" latinLnBrk="0" hangingPunct="1">
              <a:spcBef>
                <a:spcPts val="0"/>
              </a:spcBef>
              <a:spcAft>
                <a:spcPts val="0"/>
              </a:spcAft>
              <a:buSzPts val="2800"/>
              <a:buNone/>
              <a:defRPr sz="4400" kern="1200">
                <a:solidFill>
                  <a:schemeClr val="tx1"/>
                </a:solidFill>
                <a:latin typeface="+mj-lt"/>
                <a:ea typeface="+mj-ea"/>
                <a:cs typeface="+mj-cs"/>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pPr algn="l"/>
            <a:r>
              <a:rPr lang="en-US" sz="2800" dirty="0">
                <a:solidFill>
                  <a:srgbClr val="FF5969"/>
                </a:solidFill>
                <a:latin typeface="Gotham Bold" panose="02000803030000020004" pitchFamily="2" charset="0"/>
              </a:rPr>
              <a:t>Chemical Engineering</a:t>
            </a:r>
          </a:p>
        </p:txBody>
      </p:sp>
      <p:sp>
        <p:nvSpPr>
          <p:cNvPr id="14" name="Google Shape;191;p26">
            <a:extLst>
              <a:ext uri="{FF2B5EF4-FFF2-40B4-BE49-F238E27FC236}">
                <a16:creationId xmlns:a16="http://schemas.microsoft.com/office/drawing/2014/main" id="{9DD7C159-E565-4375-B170-9ADDBE705ADD}"/>
              </a:ext>
            </a:extLst>
          </p:cNvPr>
          <p:cNvSpPr/>
          <p:nvPr/>
        </p:nvSpPr>
        <p:spPr>
          <a:xfrm>
            <a:off x="304800" y="440620"/>
            <a:ext cx="1079549" cy="166698"/>
          </a:xfrm>
          <a:prstGeom prst="rect">
            <a:avLst/>
          </a:prstGeom>
          <a:solidFill>
            <a:srgbClr val="52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Content Placeholder 2">
            <a:extLst>
              <a:ext uri="{FF2B5EF4-FFF2-40B4-BE49-F238E27FC236}">
                <a16:creationId xmlns:a16="http://schemas.microsoft.com/office/drawing/2014/main" id="{223403E2-E60A-49BB-A78E-2957A2AD11B0}"/>
              </a:ext>
            </a:extLst>
          </p:cNvPr>
          <p:cNvSpPr txBox="1">
            <a:spLocks/>
          </p:cNvSpPr>
          <p:nvPr/>
        </p:nvSpPr>
        <p:spPr>
          <a:xfrm>
            <a:off x="147425" y="990431"/>
            <a:ext cx="5723297" cy="3829388"/>
          </a:xfrm>
          <a:prstGeom prst="rect">
            <a:avLst/>
          </a:prstGeom>
          <a:noFill/>
          <a:ln>
            <a:noFill/>
          </a:ln>
        </p:spPr>
        <p:txBody>
          <a:bodyPr spcFirstLastPara="1" vert="horz" wrap="square" lIns="91440" tIns="45720" rIns="91440" bIns="45720" rtlCol="0" anchor="t" anchorCtr="0">
            <a:norm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1pPr>
            <a:lvl2pPr marL="914400" marR="0" lvl="1"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2pPr>
            <a:lvl3pPr marL="1371600" marR="0" lvl="2"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3pPr>
            <a:lvl4pPr marL="1828800" marR="0" lvl="3"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4pPr>
            <a:lvl5pPr marL="2286000" marR="0" lvl="4"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5pPr>
            <a:lvl6pPr marL="2743200" marR="0" lvl="5"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6pPr>
            <a:lvl7pPr marL="3200400" marR="0" lvl="6"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7pPr>
            <a:lvl8pPr marL="3657600" marR="0" lvl="7"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8pPr>
            <a:lvl9pPr marL="4114800" marR="0" lvl="8"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9pPr>
          </a:lstStyle>
          <a:p>
            <a:pPr marL="400050" indent="-285750">
              <a:lnSpc>
                <a:spcPct val="150000"/>
              </a:lnSpc>
              <a:buFont typeface="Wingdings" panose="05000000000000000000" pitchFamily="2" charset="2"/>
              <a:buChar char="§"/>
            </a:pPr>
            <a:r>
              <a:rPr lang="en-US" sz="1800" kern="0" dirty="0">
                <a:solidFill>
                  <a:schemeClr val="tx1"/>
                </a:solidFill>
                <a:latin typeface="Gotham Medium" panose="02000603030000020004" pitchFamily="2" charset="0"/>
                <a:cs typeface="Times New Roman" pitchFamily="18" charset="0"/>
              </a:rPr>
              <a:t>Chemical engineers are responsible for manufacturing of more than 70,000 products for example –</a:t>
            </a:r>
          </a:p>
          <a:p>
            <a:pPr marL="857250" lvl="1" indent="-285750">
              <a:lnSpc>
                <a:spcPct val="150000"/>
              </a:lnSpc>
              <a:buFont typeface="Wingdings" panose="05000000000000000000" pitchFamily="2" charset="2"/>
              <a:buChar char="§"/>
            </a:pPr>
            <a:r>
              <a:rPr lang="en-US" sz="1800" kern="0" dirty="0">
                <a:solidFill>
                  <a:schemeClr val="tx1"/>
                </a:solidFill>
                <a:latin typeface="Gotham Medium" panose="02000603030000020004" pitchFamily="2" charset="0"/>
                <a:cs typeface="Times New Roman" pitchFamily="18" charset="0"/>
              </a:rPr>
              <a:t>Toothpaste, Tea, Sugar, Soap, Detergents, Clothes, Plastic, Medicines, Fertilizers, Pesticides, Mosquito repellent, Cosmetics, perfumes, Alcohols, Petrol, Diesel, LPG gas, Paints, Petroleum Jelly, Asphalts… so many…</a:t>
            </a:r>
          </a:p>
        </p:txBody>
      </p:sp>
    </p:spTree>
    <p:extLst>
      <p:ext uri="{BB962C8B-B14F-4D97-AF65-F5344CB8AC3E}">
        <p14:creationId xmlns:p14="http://schemas.microsoft.com/office/powerpoint/2010/main" val="259210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450"/>
        <p:cNvGrpSpPr/>
        <p:nvPr/>
      </p:nvGrpSpPr>
      <p:grpSpPr>
        <a:xfrm>
          <a:off x="0" y="0"/>
          <a:ext cx="0" cy="0"/>
          <a:chOff x="0" y="0"/>
          <a:chExt cx="0" cy="0"/>
        </a:xfrm>
      </p:grpSpPr>
      <p:sp>
        <p:nvSpPr>
          <p:cNvPr id="5" name="Google Shape;197;p27">
            <a:extLst>
              <a:ext uri="{FF2B5EF4-FFF2-40B4-BE49-F238E27FC236}">
                <a16:creationId xmlns:a16="http://schemas.microsoft.com/office/drawing/2014/main" id="{61A1D992-FE66-4BF9-BED0-0EF2F18750F1}"/>
              </a:ext>
            </a:extLst>
          </p:cNvPr>
          <p:cNvSpPr/>
          <p:nvPr/>
        </p:nvSpPr>
        <p:spPr>
          <a:xfrm>
            <a:off x="-1" y="133350"/>
            <a:ext cx="1905001" cy="5010150"/>
          </a:xfrm>
          <a:prstGeom prst="rect">
            <a:avLst/>
          </a:prstGeom>
          <a:solidFill>
            <a:srgbClr val="5D7373"/>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27" name="Picture 2" descr="Image result for textile engineering">
            <a:extLst>
              <a:ext uri="{FF2B5EF4-FFF2-40B4-BE49-F238E27FC236}">
                <a16:creationId xmlns:a16="http://schemas.microsoft.com/office/drawing/2014/main" id="{616782B2-EE18-440A-B62C-12E95CA1AAD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548" r="10743"/>
          <a:stretch/>
        </p:blipFill>
        <p:spPr bwMode="auto">
          <a:xfrm>
            <a:off x="337171" y="439958"/>
            <a:ext cx="2893339" cy="2112079"/>
          </a:xfrm>
          <a:prstGeom prst="rect">
            <a:avLst/>
          </a:prstGeom>
          <a:extLst>
            <a:ext uri="{909E8E84-426E-40DD-AFC4-6F175D3DCCD1}">
              <a14:hiddenFill xmlns:a14="http://schemas.microsoft.com/office/drawing/2010/main">
                <a:solidFill>
                  <a:srgbClr val="FFFFFF"/>
                </a:solidFill>
              </a14:hiddenFill>
            </a:ext>
          </a:extLst>
        </p:spPr>
      </p:pic>
      <p:pic>
        <p:nvPicPr>
          <p:cNvPr id="28" name="Picture 6" descr="http://4.bp.blogspot.com/_zVts_FFAL4s/TL2ZqXACNVI/AAAAAAAAAA4/AlY8chW967g/s1600/000030%5B1%5D.jpg">
            <a:extLst>
              <a:ext uri="{FF2B5EF4-FFF2-40B4-BE49-F238E27FC236}">
                <a16:creationId xmlns:a16="http://schemas.microsoft.com/office/drawing/2014/main" id="{677B075E-2A48-4C32-AA63-5DAA0FD9FD2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260" r="15900"/>
          <a:stretch/>
        </p:blipFill>
        <p:spPr bwMode="auto">
          <a:xfrm>
            <a:off x="337171" y="2836111"/>
            <a:ext cx="2893338" cy="202528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a:extLst>
              <a:ext uri="{FF2B5EF4-FFF2-40B4-BE49-F238E27FC236}">
                <a16:creationId xmlns:a16="http://schemas.microsoft.com/office/drawing/2014/main" id="{89B17752-15BC-4707-986F-ECB1F60CEBE0}"/>
              </a:ext>
            </a:extLst>
          </p:cNvPr>
          <p:cNvSpPr txBox="1">
            <a:spLocks/>
          </p:cNvSpPr>
          <p:nvPr/>
        </p:nvSpPr>
        <p:spPr>
          <a:xfrm>
            <a:off x="3459713" y="582763"/>
            <a:ext cx="5563565" cy="460771"/>
          </a:xfrm>
          <a:prstGeom prst="rect">
            <a:avLst/>
          </a:prstGeom>
          <a:effectLst/>
        </p:spPr>
        <p:txBody>
          <a:bodyPr vert="horz" lIns="91440" tIns="45720" rIns="91440" bIns="45720" rtlCol="0" anchor="ctr">
            <a:noAutofit/>
          </a:bodyPr>
          <a:lstStyle>
            <a:defPPr>
              <a:defRPr lang="en-US"/>
            </a:defPPr>
            <a:lvl1pPr>
              <a:spcBef>
                <a:spcPct val="0"/>
              </a:spcBef>
              <a:buNone/>
              <a:defRPr sz="2800">
                <a:solidFill>
                  <a:srgbClr val="083D65"/>
                </a:solidFill>
                <a:latin typeface="Gotham Bold" panose="02000803030000020004" pitchFamily="2" charset="0"/>
                <a:ea typeface="+mj-ea"/>
                <a:cs typeface="+mj-cs"/>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rgbClr val="FF5969"/>
                </a:solidFill>
                <a:sym typeface="Montserrat"/>
              </a:rPr>
              <a:t>Textile Engineering</a:t>
            </a:r>
          </a:p>
        </p:txBody>
      </p:sp>
      <p:sp>
        <p:nvSpPr>
          <p:cNvPr id="26" name="Content Placeholder 2">
            <a:extLst>
              <a:ext uri="{FF2B5EF4-FFF2-40B4-BE49-F238E27FC236}">
                <a16:creationId xmlns:a16="http://schemas.microsoft.com/office/drawing/2014/main" id="{2C2E5383-6343-4B2F-BF0A-8FEC8A0023CD}"/>
              </a:ext>
            </a:extLst>
          </p:cNvPr>
          <p:cNvSpPr txBox="1">
            <a:spLocks/>
          </p:cNvSpPr>
          <p:nvPr/>
        </p:nvSpPr>
        <p:spPr>
          <a:xfrm>
            <a:off x="3230509" y="1100815"/>
            <a:ext cx="5913491" cy="3490109"/>
          </a:xfrm>
          <a:prstGeom prst="rect">
            <a:avLst/>
          </a:prstGeom>
          <a:noFill/>
          <a:ln>
            <a:noFill/>
          </a:ln>
        </p:spPr>
        <p:txBody>
          <a:bodyPr spcFirstLastPara="1" vert="horz" wrap="square" lIns="91440" tIns="45720" rIns="91440" bIns="45720" rtlCol="0" anchor="t" anchorCtr="0">
            <a:norm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1pPr>
            <a:lvl2pPr marL="914400" marR="0" lvl="1"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2pPr>
            <a:lvl3pPr marL="1371600" marR="0" lvl="2"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3pPr>
            <a:lvl4pPr marL="1828800" marR="0" lvl="3"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4pPr>
            <a:lvl5pPr marL="2286000" marR="0" lvl="4"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5pPr>
            <a:lvl6pPr marL="2743200" marR="0" lvl="5"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6pPr>
            <a:lvl7pPr marL="3200400" marR="0" lvl="6"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7pPr>
            <a:lvl8pPr marL="3657600" marR="0" lvl="7"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8pPr>
            <a:lvl9pPr marL="4114800" marR="0" lvl="8"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9pPr>
          </a:lstStyle>
          <a:p>
            <a:pPr marL="400050" indent="-285750">
              <a:lnSpc>
                <a:spcPct val="150000"/>
              </a:lnSpc>
              <a:spcBef>
                <a:spcPts val="1200"/>
              </a:spcBef>
              <a:buFont typeface="Wingdings" panose="05000000000000000000" pitchFamily="2" charset="2"/>
              <a:buChar char="§"/>
            </a:pPr>
            <a:r>
              <a:rPr lang="en-US" sz="1600" kern="0" dirty="0">
                <a:solidFill>
                  <a:schemeClr val="tx1"/>
                </a:solidFill>
                <a:latin typeface="Gotham Medium" panose="02000603030000020004" pitchFamily="2" charset="0"/>
                <a:cs typeface="Times New Roman" pitchFamily="18" charset="0"/>
              </a:rPr>
              <a:t>Textile engineering  or textile technology deals with the </a:t>
            </a:r>
            <a:r>
              <a:rPr lang="en-US" sz="1600" kern="0" dirty="0">
                <a:solidFill>
                  <a:srgbClr val="FF0000"/>
                </a:solidFill>
                <a:latin typeface="Gotham Medium" panose="02000603030000020004" pitchFamily="2" charset="0"/>
                <a:cs typeface="Times New Roman" pitchFamily="18" charset="0"/>
              </a:rPr>
              <a:t>design and manufacturing of fiber into yarn and yarn into fabric.</a:t>
            </a:r>
          </a:p>
          <a:p>
            <a:pPr marL="400050" indent="-285750">
              <a:lnSpc>
                <a:spcPct val="150000"/>
              </a:lnSpc>
              <a:spcBef>
                <a:spcPts val="1200"/>
              </a:spcBef>
              <a:buFont typeface="Wingdings" panose="05000000000000000000" pitchFamily="2" charset="2"/>
              <a:buChar char="§"/>
            </a:pPr>
            <a:r>
              <a:rPr lang="en-US" sz="1600" kern="0" dirty="0">
                <a:solidFill>
                  <a:schemeClr val="tx1"/>
                </a:solidFill>
                <a:latin typeface="Gotham Medium" panose="02000603030000020004" pitchFamily="2" charset="0"/>
                <a:cs typeface="Times New Roman" pitchFamily="18" charset="0"/>
              </a:rPr>
              <a:t>India is second largest exporter worth of $ 40 billion of textile products.</a:t>
            </a:r>
          </a:p>
        </p:txBody>
      </p:sp>
    </p:spTree>
    <p:extLst>
      <p:ext uri="{BB962C8B-B14F-4D97-AF65-F5344CB8AC3E}">
        <p14:creationId xmlns:p14="http://schemas.microsoft.com/office/powerpoint/2010/main" val="353287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450"/>
        <p:cNvGrpSpPr/>
        <p:nvPr/>
      </p:nvGrpSpPr>
      <p:grpSpPr>
        <a:xfrm>
          <a:off x="0" y="0"/>
          <a:ext cx="0" cy="0"/>
          <a:chOff x="0" y="0"/>
          <a:chExt cx="0" cy="0"/>
        </a:xfrm>
      </p:grpSpPr>
      <p:sp>
        <p:nvSpPr>
          <p:cNvPr id="5" name="Google Shape;197;p27">
            <a:extLst>
              <a:ext uri="{FF2B5EF4-FFF2-40B4-BE49-F238E27FC236}">
                <a16:creationId xmlns:a16="http://schemas.microsoft.com/office/drawing/2014/main" id="{61A1D992-FE66-4BF9-BED0-0EF2F18750F1}"/>
              </a:ext>
            </a:extLst>
          </p:cNvPr>
          <p:cNvSpPr/>
          <p:nvPr/>
        </p:nvSpPr>
        <p:spPr>
          <a:xfrm>
            <a:off x="-1" y="133350"/>
            <a:ext cx="1905001" cy="5010150"/>
          </a:xfrm>
          <a:prstGeom prst="rect">
            <a:avLst/>
          </a:prstGeom>
          <a:solidFill>
            <a:srgbClr val="FF5969"/>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8" name="Picture 4" descr="Textile Engineering Eligibiliy Criteria and Careers">
            <a:extLst>
              <a:ext uri="{FF2B5EF4-FFF2-40B4-BE49-F238E27FC236}">
                <a16:creationId xmlns:a16="http://schemas.microsoft.com/office/drawing/2014/main" id="{B82E3E23-F8DE-449F-A218-9E9EE4DB2DE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7170" y="2836111"/>
            <a:ext cx="2893338" cy="202528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The place of comparative advantage in Nigeria's development - Businessday NG">
            <a:extLst>
              <a:ext uri="{FF2B5EF4-FFF2-40B4-BE49-F238E27FC236}">
                <a16:creationId xmlns:a16="http://schemas.microsoft.com/office/drawing/2014/main" id="{8C689471-CE51-4E33-9EBB-71E90BCF55B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7170" y="439958"/>
            <a:ext cx="2893338" cy="2105034"/>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89B17752-15BC-4707-986F-ECB1F60CEBE0}"/>
              </a:ext>
            </a:extLst>
          </p:cNvPr>
          <p:cNvSpPr txBox="1">
            <a:spLocks/>
          </p:cNvSpPr>
          <p:nvPr/>
        </p:nvSpPr>
        <p:spPr>
          <a:xfrm>
            <a:off x="3580435" y="563713"/>
            <a:ext cx="5563565" cy="769787"/>
          </a:xfrm>
          <a:prstGeom prst="rect">
            <a:avLst/>
          </a:prstGeom>
          <a:effectLst/>
        </p:spPr>
        <p:txBody>
          <a:bodyPr vert="horz" lIns="91440" tIns="45720" rIns="91440" bIns="45720" rtlCol="0" anchor="ctr">
            <a:noAutofit/>
          </a:bodyPr>
          <a:lstStyle>
            <a:defPPr>
              <a:defRPr lang="en-US"/>
            </a:defPPr>
            <a:lvl1pPr>
              <a:spcBef>
                <a:spcPct val="0"/>
              </a:spcBef>
              <a:buNone/>
              <a:defRPr sz="2800">
                <a:solidFill>
                  <a:srgbClr val="083D65"/>
                </a:solidFill>
                <a:latin typeface="Gotham Bold" panose="02000803030000020004" pitchFamily="2" charset="0"/>
                <a:ea typeface="+mj-ea"/>
                <a:cs typeface="+mj-cs"/>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rgbClr val="FF5969"/>
                </a:solidFill>
                <a:sym typeface="Montserrat"/>
              </a:rPr>
              <a:t>Textile Engineering – Streams </a:t>
            </a:r>
          </a:p>
        </p:txBody>
      </p:sp>
      <p:grpSp>
        <p:nvGrpSpPr>
          <p:cNvPr id="9" name="Group 8">
            <a:extLst>
              <a:ext uri="{FF2B5EF4-FFF2-40B4-BE49-F238E27FC236}">
                <a16:creationId xmlns:a16="http://schemas.microsoft.com/office/drawing/2014/main" id="{BAA75327-4D4C-45A3-9E5E-7CB5867477D7}"/>
              </a:ext>
            </a:extLst>
          </p:cNvPr>
          <p:cNvGrpSpPr/>
          <p:nvPr/>
        </p:nvGrpSpPr>
        <p:grpSpPr>
          <a:xfrm>
            <a:off x="3657600" y="1733550"/>
            <a:ext cx="4212202" cy="2668145"/>
            <a:chOff x="1945087" y="1341290"/>
            <a:chExt cx="4760513" cy="2668145"/>
          </a:xfrm>
        </p:grpSpPr>
        <p:sp>
          <p:nvSpPr>
            <p:cNvPr id="11" name="Google Shape;557;p42">
              <a:extLst>
                <a:ext uri="{FF2B5EF4-FFF2-40B4-BE49-F238E27FC236}">
                  <a16:creationId xmlns:a16="http://schemas.microsoft.com/office/drawing/2014/main" id="{9D874DE1-0AFC-4C43-9576-704DBB2E04EE}"/>
                </a:ext>
              </a:extLst>
            </p:cNvPr>
            <p:cNvSpPr txBox="1">
              <a:spLocks/>
            </p:cNvSpPr>
            <p:nvPr/>
          </p:nvSpPr>
          <p:spPr>
            <a:xfrm>
              <a:off x="1945088" y="1341290"/>
              <a:ext cx="4760512" cy="309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kern="0" dirty="0">
                  <a:solidFill>
                    <a:schemeClr val="tx1"/>
                  </a:solidFill>
                  <a:latin typeface="Gotham Bold" panose="02000803030000020004" pitchFamily="2" charset="0"/>
                  <a:ea typeface="Montserrat"/>
                  <a:cs typeface="Montserrat"/>
                  <a:sym typeface="Montserrat"/>
                </a:rPr>
                <a:t>Textile Technology</a:t>
              </a:r>
            </a:p>
          </p:txBody>
        </p:sp>
        <p:sp>
          <p:nvSpPr>
            <p:cNvPr id="12" name="Google Shape;564;p42">
              <a:extLst>
                <a:ext uri="{FF2B5EF4-FFF2-40B4-BE49-F238E27FC236}">
                  <a16:creationId xmlns:a16="http://schemas.microsoft.com/office/drawing/2014/main" id="{3315C35D-91EF-4619-9781-D991A21AB88C}"/>
                </a:ext>
              </a:extLst>
            </p:cNvPr>
            <p:cNvSpPr txBox="1">
              <a:spLocks/>
            </p:cNvSpPr>
            <p:nvPr/>
          </p:nvSpPr>
          <p:spPr>
            <a:xfrm>
              <a:off x="1945088" y="3096663"/>
              <a:ext cx="4668622" cy="309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kern="0" dirty="0">
                  <a:solidFill>
                    <a:schemeClr val="tx1"/>
                  </a:solidFill>
                  <a:latin typeface="Gotham Bold" panose="02000803030000020004" pitchFamily="2" charset="0"/>
                  <a:sym typeface="Montserrat"/>
                </a:rPr>
                <a:t>Textile Plant Engineering</a:t>
              </a:r>
            </a:p>
          </p:txBody>
        </p:sp>
        <p:sp>
          <p:nvSpPr>
            <p:cNvPr id="13" name="Google Shape;566;p42">
              <a:extLst>
                <a:ext uri="{FF2B5EF4-FFF2-40B4-BE49-F238E27FC236}">
                  <a16:creationId xmlns:a16="http://schemas.microsoft.com/office/drawing/2014/main" id="{87104B07-0724-401D-B51D-088C45D653F0}"/>
                </a:ext>
              </a:extLst>
            </p:cNvPr>
            <p:cNvSpPr txBox="1">
              <a:spLocks/>
            </p:cNvSpPr>
            <p:nvPr/>
          </p:nvSpPr>
          <p:spPr>
            <a:xfrm>
              <a:off x="1945087" y="1929423"/>
              <a:ext cx="3925635" cy="309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kern="0" dirty="0">
                  <a:solidFill>
                    <a:schemeClr val="tx1"/>
                  </a:solidFill>
                  <a:latin typeface="Gotham Bold" panose="02000803030000020004" pitchFamily="2" charset="0"/>
                  <a:sym typeface="Montserrat"/>
                </a:rPr>
                <a:t>Textile Chemistry</a:t>
              </a:r>
            </a:p>
          </p:txBody>
        </p:sp>
        <p:sp>
          <p:nvSpPr>
            <p:cNvPr id="14" name="Google Shape;568;p42">
              <a:extLst>
                <a:ext uri="{FF2B5EF4-FFF2-40B4-BE49-F238E27FC236}">
                  <a16:creationId xmlns:a16="http://schemas.microsoft.com/office/drawing/2014/main" id="{50C3B3FA-94EE-4B84-ADF3-0AD7152D9140}"/>
                </a:ext>
              </a:extLst>
            </p:cNvPr>
            <p:cNvSpPr txBox="1">
              <a:spLocks/>
            </p:cNvSpPr>
            <p:nvPr/>
          </p:nvSpPr>
          <p:spPr>
            <a:xfrm>
              <a:off x="1949569" y="3699535"/>
              <a:ext cx="3669051" cy="309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kern="0" dirty="0">
                  <a:solidFill>
                    <a:schemeClr val="tx1"/>
                  </a:solidFill>
                  <a:latin typeface="Gotham Bold" panose="02000803030000020004" pitchFamily="2" charset="0"/>
                  <a:sym typeface="Montserrat"/>
                </a:rPr>
                <a:t>Fashion Technology</a:t>
              </a:r>
            </a:p>
          </p:txBody>
        </p:sp>
        <p:sp>
          <p:nvSpPr>
            <p:cNvPr id="15" name="Google Shape;570;p42">
              <a:extLst>
                <a:ext uri="{FF2B5EF4-FFF2-40B4-BE49-F238E27FC236}">
                  <a16:creationId xmlns:a16="http://schemas.microsoft.com/office/drawing/2014/main" id="{96508CCE-BC2C-4AAA-B51B-03EA828361E0}"/>
                </a:ext>
              </a:extLst>
            </p:cNvPr>
            <p:cNvSpPr txBox="1">
              <a:spLocks/>
            </p:cNvSpPr>
            <p:nvPr/>
          </p:nvSpPr>
          <p:spPr>
            <a:xfrm>
              <a:off x="1945087" y="2522430"/>
              <a:ext cx="4683199" cy="309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Lato"/>
                <a:buChar char="●"/>
                <a:defRPr sz="1800" b="0" i="0" u="none" strike="noStrike" cap="none">
                  <a:solidFill>
                    <a:srgbClr val="434343"/>
                  </a:solidFill>
                  <a:latin typeface="Lato"/>
                  <a:ea typeface="Lato"/>
                  <a:cs typeface="Lato"/>
                  <a:sym typeface="Lato"/>
                </a:defRPr>
              </a:lvl1pPr>
              <a:lvl2pPr marL="914400" marR="0" lvl="1"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2pPr>
              <a:lvl3pPr marL="1371600" marR="0" lvl="2"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3pPr>
              <a:lvl4pPr marL="1828800" marR="0" lvl="3"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4pPr>
              <a:lvl5pPr marL="2286000" marR="0" lvl="4"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5pPr>
              <a:lvl6pPr marL="2743200" marR="0" lvl="5"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6pPr>
              <a:lvl7pPr marL="3200400" marR="0" lvl="6"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7pPr>
              <a:lvl8pPr marL="3657600" marR="0" lvl="7" indent="-317500" algn="l" rtl="0">
                <a:lnSpc>
                  <a:spcPct val="115000"/>
                </a:lnSpc>
                <a:spcBef>
                  <a:spcPts val="1600"/>
                </a:spcBef>
                <a:spcAft>
                  <a:spcPts val="0"/>
                </a:spcAft>
                <a:buClr>
                  <a:srgbClr val="434343"/>
                </a:buClr>
                <a:buSzPts val="1400"/>
                <a:buFont typeface="Lato"/>
                <a:buChar char="○"/>
                <a:defRPr sz="1400" b="0" i="0" u="none" strike="noStrike" cap="none">
                  <a:solidFill>
                    <a:srgbClr val="434343"/>
                  </a:solidFill>
                  <a:latin typeface="Lato"/>
                  <a:ea typeface="Lato"/>
                  <a:cs typeface="Lato"/>
                  <a:sym typeface="Lato"/>
                </a:defRPr>
              </a:lvl8pPr>
              <a:lvl9pPr marL="4114800" marR="0" lvl="8" indent="-317500" algn="l" rtl="0">
                <a:lnSpc>
                  <a:spcPct val="115000"/>
                </a:lnSpc>
                <a:spcBef>
                  <a:spcPts val="1600"/>
                </a:spcBef>
                <a:spcAft>
                  <a:spcPts val="1600"/>
                </a:spcAft>
                <a:buClr>
                  <a:srgbClr val="434343"/>
                </a:buClr>
                <a:buSzPts val="1400"/>
                <a:buFont typeface="Lato"/>
                <a:buChar char="■"/>
                <a:defRPr sz="1400" b="0" i="0" u="none" strike="noStrike" cap="none">
                  <a:solidFill>
                    <a:srgbClr val="434343"/>
                  </a:solidFill>
                  <a:latin typeface="Lato"/>
                  <a:ea typeface="Lato"/>
                  <a:cs typeface="Lato"/>
                  <a:sym typeface="Lato"/>
                </a:defRPr>
              </a:lvl9pPr>
            </a:lstStyle>
            <a:p>
              <a:pPr marL="285750" indent="-285750">
                <a:lnSpc>
                  <a:spcPct val="100000"/>
                </a:lnSpc>
                <a:buFont typeface="Wingdings" panose="05000000000000000000" pitchFamily="2" charset="2"/>
                <a:buChar char="§"/>
              </a:pPr>
              <a:r>
                <a:rPr lang="en-US" kern="0" dirty="0">
                  <a:solidFill>
                    <a:schemeClr val="tx1"/>
                  </a:solidFill>
                  <a:latin typeface="Gotham Bold" panose="02000803030000020004" pitchFamily="2" charset="0"/>
                  <a:sym typeface="Montserrat"/>
                </a:rPr>
                <a:t>Man-Made Textile Technology</a:t>
              </a:r>
            </a:p>
          </p:txBody>
        </p:sp>
      </p:grpSp>
    </p:spTree>
    <p:extLst>
      <p:ext uri="{BB962C8B-B14F-4D97-AF65-F5344CB8AC3E}">
        <p14:creationId xmlns:p14="http://schemas.microsoft.com/office/powerpoint/2010/main" val="334712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450"/>
        <p:cNvGrpSpPr/>
        <p:nvPr/>
      </p:nvGrpSpPr>
      <p:grpSpPr>
        <a:xfrm>
          <a:off x="0" y="0"/>
          <a:ext cx="0" cy="0"/>
          <a:chOff x="0" y="0"/>
          <a:chExt cx="0" cy="0"/>
        </a:xfrm>
      </p:grpSpPr>
      <p:sp>
        <p:nvSpPr>
          <p:cNvPr id="5" name="Google Shape;197;p27">
            <a:extLst>
              <a:ext uri="{FF2B5EF4-FFF2-40B4-BE49-F238E27FC236}">
                <a16:creationId xmlns:a16="http://schemas.microsoft.com/office/drawing/2014/main" id="{61A1D992-FE66-4BF9-BED0-0EF2F18750F1}"/>
              </a:ext>
            </a:extLst>
          </p:cNvPr>
          <p:cNvSpPr/>
          <p:nvPr/>
        </p:nvSpPr>
        <p:spPr>
          <a:xfrm>
            <a:off x="-1" y="133350"/>
            <a:ext cx="1905001" cy="5010150"/>
          </a:xfrm>
          <a:prstGeom prst="rect">
            <a:avLst/>
          </a:prstGeom>
          <a:solidFill>
            <a:srgbClr val="FEC63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7" name="Picture 2" descr="http://www.bls.gov/ooh/images/1862.jpg">
            <a:extLst>
              <a:ext uri="{FF2B5EF4-FFF2-40B4-BE49-F238E27FC236}">
                <a16:creationId xmlns:a16="http://schemas.microsoft.com/office/drawing/2014/main" id="{B6CAA04F-9D0F-41E7-A4FD-7E09231394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170" y="440319"/>
            <a:ext cx="2863230" cy="210467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http://students.egfi-k12.org/wp-content/uploads/2010/03/con-fea-03-image-02.jpg">
            <a:extLst>
              <a:ext uri="{FF2B5EF4-FFF2-40B4-BE49-F238E27FC236}">
                <a16:creationId xmlns:a16="http://schemas.microsoft.com/office/drawing/2014/main" id="{1BBDBF85-02B7-44FA-B0DD-423A0087BAB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0586"/>
          <a:stretch/>
        </p:blipFill>
        <p:spPr bwMode="auto">
          <a:xfrm>
            <a:off x="337170" y="2836989"/>
            <a:ext cx="2863230" cy="202440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a:extLst>
              <a:ext uri="{FF2B5EF4-FFF2-40B4-BE49-F238E27FC236}">
                <a16:creationId xmlns:a16="http://schemas.microsoft.com/office/drawing/2014/main" id="{89B17752-15BC-4707-986F-ECB1F60CEBE0}"/>
              </a:ext>
            </a:extLst>
          </p:cNvPr>
          <p:cNvSpPr txBox="1">
            <a:spLocks/>
          </p:cNvSpPr>
          <p:nvPr/>
        </p:nvSpPr>
        <p:spPr>
          <a:xfrm>
            <a:off x="3580435" y="563713"/>
            <a:ext cx="5563565" cy="769787"/>
          </a:xfrm>
          <a:prstGeom prst="rect">
            <a:avLst/>
          </a:prstGeom>
          <a:effectLst/>
        </p:spPr>
        <p:txBody>
          <a:bodyPr vert="horz" lIns="91440" tIns="45720" rIns="91440" bIns="45720" rtlCol="0" anchor="ctr">
            <a:noAutofit/>
          </a:bodyPr>
          <a:lstStyle>
            <a:defPPr>
              <a:defRPr lang="en-US"/>
            </a:defPPr>
            <a:lvl1pPr>
              <a:spcBef>
                <a:spcPct val="0"/>
              </a:spcBef>
              <a:buNone/>
              <a:defRPr sz="2800">
                <a:solidFill>
                  <a:srgbClr val="083D65"/>
                </a:solidFill>
                <a:latin typeface="Gotham Bold" panose="02000803030000020004" pitchFamily="2" charset="0"/>
                <a:ea typeface="+mj-ea"/>
                <a:cs typeface="+mj-cs"/>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rgbClr val="FF5969"/>
                </a:solidFill>
                <a:sym typeface="Montserrat"/>
              </a:rPr>
              <a:t>Aeronautical Engineering</a:t>
            </a:r>
          </a:p>
        </p:txBody>
      </p:sp>
      <p:sp>
        <p:nvSpPr>
          <p:cNvPr id="9" name="TextBox 8">
            <a:extLst>
              <a:ext uri="{FF2B5EF4-FFF2-40B4-BE49-F238E27FC236}">
                <a16:creationId xmlns:a16="http://schemas.microsoft.com/office/drawing/2014/main" id="{0F733323-DBC1-408B-AA9B-2733723CB99E}"/>
              </a:ext>
            </a:extLst>
          </p:cNvPr>
          <p:cNvSpPr txBox="1"/>
          <p:nvPr/>
        </p:nvSpPr>
        <p:spPr>
          <a:xfrm>
            <a:off x="3286131" y="1538476"/>
            <a:ext cx="5857869" cy="2246769"/>
          </a:xfrm>
          <a:prstGeom prst="rect">
            <a:avLst/>
          </a:prstGeom>
          <a:noFill/>
        </p:spPr>
        <p:txBody>
          <a:bodyPr wrap="square">
            <a:spAutoFit/>
          </a:bodyPr>
          <a:lstStyle/>
          <a:p>
            <a:pPr marL="285750" indent="-285750">
              <a:lnSpc>
                <a:spcPct val="150000"/>
              </a:lnSpc>
              <a:spcBef>
                <a:spcPts val="600"/>
              </a:spcBef>
              <a:buFont typeface="Wingdings" panose="05000000000000000000" pitchFamily="2" charset="2"/>
              <a:buChar char="§"/>
            </a:pPr>
            <a:r>
              <a:rPr lang="en-US" dirty="0">
                <a:latin typeface="Gotham Medium" panose="02000603030000020004" pitchFamily="2" charset="0"/>
              </a:rPr>
              <a:t>It is the study that deals with researching, </a:t>
            </a:r>
            <a:r>
              <a:rPr lang="en-US" dirty="0">
                <a:solidFill>
                  <a:srgbClr val="FF0000"/>
                </a:solidFill>
                <a:latin typeface="Gotham Medium" panose="02000603030000020004" pitchFamily="2" charset="0"/>
              </a:rPr>
              <a:t>designing, constructing, testing and manufacturing of the aircraft.</a:t>
            </a:r>
          </a:p>
          <a:p>
            <a:pPr marL="285750" indent="-285750">
              <a:lnSpc>
                <a:spcPct val="150000"/>
              </a:lnSpc>
              <a:spcBef>
                <a:spcPts val="600"/>
              </a:spcBef>
              <a:buFont typeface="Wingdings" panose="05000000000000000000" pitchFamily="2" charset="2"/>
              <a:buChar char="§"/>
            </a:pPr>
            <a:r>
              <a:rPr lang="en-US" dirty="0">
                <a:latin typeface="Gotham Medium" panose="02000603030000020004" pitchFamily="2" charset="0"/>
              </a:rPr>
              <a:t>It also deals with study of control systems of aircraft.</a:t>
            </a:r>
            <a:endParaRPr lang="en-IN" dirty="0"/>
          </a:p>
        </p:txBody>
      </p:sp>
    </p:spTree>
    <p:extLst>
      <p:ext uri="{BB962C8B-B14F-4D97-AF65-F5344CB8AC3E}">
        <p14:creationId xmlns:p14="http://schemas.microsoft.com/office/powerpoint/2010/main" val="35950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96"/>
        <p:cNvGrpSpPr/>
        <p:nvPr/>
      </p:nvGrpSpPr>
      <p:grpSpPr>
        <a:xfrm>
          <a:off x="0" y="0"/>
          <a:ext cx="0" cy="0"/>
          <a:chOff x="0" y="0"/>
          <a:chExt cx="0" cy="0"/>
        </a:xfrm>
      </p:grpSpPr>
      <p:sp>
        <p:nvSpPr>
          <p:cNvPr id="22" name="Google Shape;197;p27">
            <a:extLst>
              <a:ext uri="{FF2B5EF4-FFF2-40B4-BE49-F238E27FC236}">
                <a16:creationId xmlns:a16="http://schemas.microsoft.com/office/drawing/2014/main" id="{AADF2F76-B281-4672-81B8-49F59EABD7F0}"/>
              </a:ext>
            </a:extLst>
          </p:cNvPr>
          <p:cNvSpPr/>
          <p:nvPr/>
        </p:nvSpPr>
        <p:spPr>
          <a:xfrm>
            <a:off x="7435739" y="666750"/>
            <a:ext cx="1708262" cy="4476750"/>
          </a:xfrm>
          <a:prstGeom prst="rect">
            <a:avLst/>
          </a:prstGeom>
          <a:solidFill>
            <a:srgbClr val="52CBBE"/>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9" name="Picture 8">
            <a:extLst>
              <a:ext uri="{FF2B5EF4-FFF2-40B4-BE49-F238E27FC236}">
                <a16:creationId xmlns:a16="http://schemas.microsoft.com/office/drawing/2014/main" id="{61972E3D-FAE1-4DBC-A21F-154174112A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2199" y="3049268"/>
            <a:ext cx="2811689" cy="1969397"/>
          </a:xfrm>
          <a:prstGeom prst="rect">
            <a:avLst/>
          </a:prstGeom>
        </p:spPr>
      </p:pic>
      <p:pic>
        <p:nvPicPr>
          <p:cNvPr id="11" name="Picture 10">
            <a:extLst>
              <a:ext uri="{FF2B5EF4-FFF2-40B4-BE49-F238E27FC236}">
                <a16:creationId xmlns:a16="http://schemas.microsoft.com/office/drawing/2014/main" id="{47261A34-FC2A-486D-8648-A97F6194B8E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2200" y="861756"/>
            <a:ext cx="2811688" cy="2046630"/>
          </a:xfrm>
          <a:prstGeom prst="rect">
            <a:avLst/>
          </a:prstGeom>
        </p:spPr>
      </p:pic>
      <p:sp>
        <p:nvSpPr>
          <p:cNvPr id="13" name="Google Shape;188;p26">
            <a:extLst>
              <a:ext uri="{FF2B5EF4-FFF2-40B4-BE49-F238E27FC236}">
                <a16:creationId xmlns:a16="http://schemas.microsoft.com/office/drawing/2014/main" id="{105BA8F5-0F58-4361-B567-D8BF963327F9}"/>
              </a:ext>
            </a:extLst>
          </p:cNvPr>
          <p:cNvSpPr txBox="1">
            <a:spLocks/>
          </p:cNvSpPr>
          <p:nvPr/>
        </p:nvSpPr>
        <p:spPr>
          <a:xfrm>
            <a:off x="1412011" y="343111"/>
            <a:ext cx="4656326" cy="531345"/>
          </a:xfrm>
          <a:prstGeom prst="rect">
            <a:avLst/>
          </a:prstGeom>
        </p:spPr>
        <p:txBody>
          <a:bodyPr spcFirstLastPara="1" vert="horz" wrap="square" lIns="91425" tIns="91425" rIns="91425" bIns="91425" rtlCol="0" anchor="b" anchorCtr="0">
            <a:noAutofit/>
          </a:bodyPr>
          <a:lstStyle>
            <a:lvl1pPr lvl="0" algn="ctr" defTabSz="914400" rtl="0" eaLnBrk="1" latinLnBrk="0" hangingPunct="1">
              <a:spcBef>
                <a:spcPts val="0"/>
              </a:spcBef>
              <a:spcAft>
                <a:spcPts val="0"/>
              </a:spcAft>
              <a:buSzPts val="2800"/>
              <a:buNone/>
              <a:defRPr sz="4400" kern="1200">
                <a:solidFill>
                  <a:schemeClr val="tx1"/>
                </a:solidFill>
                <a:latin typeface="+mj-lt"/>
                <a:ea typeface="+mj-ea"/>
                <a:cs typeface="+mj-cs"/>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pPr algn="l"/>
            <a:r>
              <a:rPr lang="en-US" sz="2800" dirty="0">
                <a:solidFill>
                  <a:srgbClr val="FF5969"/>
                </a:solidFill>
                <a:latin typeface="Gotham Bold" panose="02000803030000020004" pitchFamily="2" charset="0"/>
              </a:rPr>
              <a:t>Food Technology</a:t>
            </a:r>
          </a:p>
        </p:txBody>
      </p:sp>
      <p:sp>
        <p:nvSpPr>
          <p:cNvPr id="14" name="Google Shape;191;p26">
            <a:extLst>
              <a:ext uri="{FF2B5EF4-FFF2-40B4-BE49-F238E27FC236}">
                <a16:creationId xmlns:a16="http://schemas.microsoft.com/office/drawing/2014/main" id="{9DD7C159-E565-4375-B170-9ADDBE705ADD}"/>
              </a:ext>
            </a:extLst>
          </p:cNvPr>
          <p:cNvSpPr/>
          <p:nvPr/>
        </p:nvSpPr>
        <p:spPr>
          <a:xfrm>
            <a:off x="304800" y="440620"/>
            <a:ext cx="1079549" cy="166698"/>
          </a:xfrm>
          <a:prstGeom prst="rect">
            <a:avLst/>
          </a:prstGeom>
          <a:solidFill>
            <a:srgbClr val="52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Content Placeholder 2">
            <a:extLst>
              <a:ext uri="{FF2B5EF4-FFF2-40B4-BE49-F238E27FC236}">
                <a16:creationId xmlns:a16="http://schemas.microsoft.com/office/drawing/2014/main" id="{223403E2-E60A-49BB-A78E-2957A2AD11B0}"/>
              </a:ext>
            </a:extLst>
          </p:cNvPr>
          <p:cNvSpPr txBox="1">
            <a:spLocks/>
          </p:cNvSpPr>
          <p:nvPr/>
        </p:nvSpPr>
        <p:spPr>
          <a:xfrm>
            <a:off x="304800" y="874456"/>
            <a:ext cx="5788154" cy="4168019"/>
          </a:xfrm>
          <a:prstGeom prst="rect">
            <a:avLst/>
          </a:prstGeom>
          <a:noFill/>
          <a:ln>
            <a:noFill/>
          </a:ln>
        </p:spPr>
        <p:txBody>
          <a:bodyPr spcFirstLastPara="1" vert="horz" wrap="square" lIns="91440" tIns="45720" rIns="91440" bIns="45720" rtlCol="0" anchor="t" anchorCtr="0">
            <a:normAutofit fontScale="92500" lnSpcReduction="20000"/>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1pPr>
            <a:lvl2pPr marL="914400" marR="0" lvl="1"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2pPr>
            <a:lvl3pPr marL="1371600" marR="0" lvl="2"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3pPr>
            <a:lvl4pPr marL="1828800" marR="0" lvl="3"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4pPr>
            <a:lvl5pPr marL="2286000" marR="0" lvl="4"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5pPr>
            <a:lvl6pPr marL="2743200" marR="0" lvl="5"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6pPr>
            <a:lvl7pPr marL="3200400" marR="0" lvl="6"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7pPr>
            <a:lvl8pPr marL="3657600" marR="0" lvl="7"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8pPr>
            <a:lvl9pPr marL="4114800" marR="0" lvl="8"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9pPr>
          </a:lstStyle>
          <a:p>
            <a:pPr marL="400050" indent="-285750">
              <a:lnSpc>
                <a:spcPct val="150000"/>
              </a:lnSpc>
              <a:buFont typeface="Wingdings" panose="05000000000000000000" pitchFamily="2" charset="2"/>
              <a:buChar char="§"/>
            </a:pPr>
            <a:r>
              <a:rPr lang="en-US" sz="1800" kern="0" dirty="0">
                <a:solidFill>
                  <a:schemeClr val="tx1"/>
                </a:solidFill>
                <a:latin typeface="Gotham Medium" panose="02000603030000020004" pitchFamily="2" charset="0"/>
                <a:cs typeface="Times New Roman" pitchFamily="18" charset="0"/>
              </a:rPr>
              <a:t>Food technology is the application of food science to the </a:t>
            </a:r>
            <a:r>
              <a:rPr lang="en-US" sz="1800" kern="0" dirty="0">
                <a:solidFill>
                  <a:srgbClr val="FF0000"/>
                </a:solidFill>
                <a:latin typeface="Gotham Medium" panose="02000603030000020004" pitchFamily="2" charset="0"/>
                <a:cs typeface="Times New Roman" pitchFamily="18" charset="0"/>
              </a:rPr>
              <a:t>selection, preservation, processing, packaging, distribution, and use of safe food.</a:t>
            </a:r>
          </a:p>
          <a:p>
            <a:pPr marL="400050" indent="-285750">
              <a:lnSpc>
                <a:spcPct val="150000"/>
              </a:lnSpc>
              <a:buFont typeface="Wingdings" panose="05000000000000000000" pitchFamily="2" charset="2"/>
              <a:buChar char="§"/>
            </a:pPr>
            <a:r>
              <a:rPr lang="en-US" sz="1800" kern="0" dirty="0">
                <a:solidFill>
                  <a:schemeClr val="tx1"/>
                </a:solidFill>
                <a:latin typeface="Gotham Medium" panose="02000603030000020004" pitchFamily="2" charset="0"/>
                <a:cs typeface="Times New Roman" pitchFamily="18" charset="0"/>
              </a:rPr>
              <a:t>Scope of  Food Technology </a:t>
            </a:r>
          </a:p>
          <a:p>
            <a:pPr marL="857250" lvl="1" indent="-285750">
              <a:lnSpc>
                <a:spcPct val="150000"/>
              </a:lnSpc>
              <a:buFont typeface="Wingdings" panose="05000000000000000000" pitchFamily="2" charset="2"/>
              <a:buChar char="§"/>
            </a:pPr>
            <a:r>
              <a:rPr lang="en-US" sz="1800" kern="0" dirty="0">
                <a:solidFill>
                  <a:schemeClr val="tx1"/>
                </a:solidFill>
                <a:latin typeface="Gotham Medium" panose="02000603030000020004" pitchFamily="2" charset="0"/>
                <a:cs typeface="Times New Roman" pitchFamily="18" charset="0"/>
              </a:rPr>
              <a:t>Food technologist</a:t>
            </a:r>
          </a:p>
          <a:p>
            <a:pPr marL="857250" lvl="1" indent="-285750">
              <a:lnSpc>
                <a:spcPct val="150000"/>
              </a:lnSpc>
              <a:buFont typeface="Wingdings" panose="05000000000000000000" pitchFamily="2" charset="2"/>
              <a:buChar char="§"/>
            </a:pPr>
            <a:r>
              <a:rPr lang="en-US" sz="1800" kern="0" dirty="0">
                <a:solidFill>
                  <a:schemeClr val="tx1"/>
                </a:solidFill>
                <a:latin typeface="Gotham Medium" panose="02000603030000020004" pitchFamily="2" charset="0"/>
                <a:cs typeface="Times New Roman" pitchFamily="18" charset="0"/>
              </a:rPr>
              <a:t>Nutritional therapist</a:t>
            </a:r>
          </a:p>
          <a:p>
            <a:pPr marL="857250" lvl="1" indent="-285750">
              <a:lnSpc>
                <a:spcPct val="150000"/>
              </a:lnSpc>
              <a:buFont typeface="Wingdings" panose="05000000000000000000" pitchFamily="2" charset="2"/>
              <a:buChar char="§"/>
            </a:pPr>
            <a:r>
              <a:rPr lang="en-US" sz="1800" kern="0" dirty="0">
                <a:solidFill>
                  <a:schemeClr val="tx1"/>
                </a:solidFill>
                <a:latin typeface="Gotham Medium" panose="02000603030000020004" pitchFamily="2" charset="0"/>
                <a:cs typeface="Times New Roman" pitchFamily="18" charset="0"/>
              </a:rPr>
              <a:t>Product/process development scientist</a:t>
            </a:r>
          </a:p>
          <a:p>
            <a:pPr marL="857250" lvl="1" indent="-285750">
              <a:lnSpc>
                <a:spcPct val="150000"/>
              </a:lnSpc>
              <a:buFont typeface="Wingdings" panose="05000000000000000000" pitchFamily="2" charset="2"/>
              <a:buChar char="§"/>
            </a:pPr>
            <a:r>
              <a:rPr lang="en-US" sz="1800" kern="0" dirty="0">
                <a:solidFill>
                  <a:schemeClr val="tx1"/>
                </a:solidFill>
                <a:latin typeface="Gotham Medium" panose="02000603030000020004" pitchFamily="2" charset="0"/>
                <a:cs typeface="Times New Roman" pitchFamily="18" charset="0"/>
              </a:rPr>
              <a:t>Quality manager</a:t>
            </a:r>
          </a:p>
          <a:p>
            <a:pPr marL="857250" lvl="1" indent="-285750">
              <a:lnSpc>
                <a:spcPct val="150000"/>
              </a:lnSpc>
              <a:buFont typeface="Wingdings" panose="05000000000000000000" pitchFamily="2" charset="2"/>
              <a:buChar char="§"/>
            </a:pPr>
            <a:r>
              <a:rPr lang="en-US" sz="1800" kern="0" dirty="0">
                <a:solidFill>
                  <a:schemeClr val="tx1"/>
                </a:solidFill>
                <a:latin typeface="Gotham Medium" panose="02000603030000020004" pitchFamily="2" charset="0"/>
                <a:cs typeface="Times New Roman" pitchFamily="18" charset="0"/>
              </a:rPr>
              <a:t>Regulatory affairs officer</a:t>
            </a:r>
          </a:p>
          <a:p>
            <a:pPr marL="857250" lvl="1" indent="-285750">
              <a:lnSpc>
                <a:spcPct val="150000"/>
              </a:lnSpc>
              <a:buFont typeface="Wingdings" panose="05000000000000000000" pitchFamily="2" charset="2"/>
              <a:buChar char="§"/>
            </a:pPr>
            <a:r>
              <a:rPr lang="en-US" sz="1800" kern="0" dirty="0">
                <a:solidFill>
                  <a:schemeClr val="tx1"/>
                </a:solidFill>
                <a:latin typeface="Gotham Medium" panose="02000603030000020004" pitchFamily="2" charset="0"/>
                <a:cs typeface="Times New Roman" pitchFamily="18" charset="0"/>
              </a:rPr>
              <a:t>Scientific laboratory technician</a:t>
            </a:r>
          </a:p>
          <a:p>
            <a:pPr marL="857250" lvl="1" indent="-285750">
              <a:lnSpc>
                <a:spcPct val="150000"/>
              </a:lnSpc>
              <a:buFont typeface="Wingdings" panose="05000000000000000000" pitchFamily="2" charset="2"/>
              <a:buChar char="§"/>
            </a:pPr>
            <a:r>
              <a:rPr lang="en-US" sz="1800" kern="0" dirty="0">
                <a:solidFill>
                  <a:schemeClr val="tx1"/>
                </a:solidFill>
                <a:latin typeface="Gotham Medium" panose="02000603030000020004" pitchFamily="2" charset="0"/>
                <a:cs typeface="Times New Roman" pitchFamily="18" charset="0"/>
              </a:rPr>
              <a:t>Technical brewer</a:t>
            </a:r>
          </a:p>
        </p:txBody>
      </p:sp>
    </p:spTree>
    <p:extLst>
      <p:ext uri="{BB962C8B-B14F-4D97-AF65-F5344CB8AC3E}">
        <p14:creationId xmlns:p14="http://schemas.microsoft.com/office/powerpoint/2010/main" val="25559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58DCB7-2107-4AF9-92C8-E09988C0D2C4}"/>
              </a:ext>
            </a:extLst>
          </p:cNvPr>
          <p:cNvSpPr/>
          <p:nvPr/>
        </p:nvSpPr>
        <p:spPr>
          <a:xfrm>
            <a:off x="1" y="514350"/>
            <a:ext cx="1828799" cy="462915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pic>
        <p:nvPicPr>
          <p:cNvPr id="2052" name="Picture 4" descr="6 Tips for Reducing Plant Maintenance Costs | Pro Circuit, Inc"/>
          <p:cNvPicPr>
            <a:picLocks noChangeAspect="1" noChangeArrowheads="1"/>
          </p:cNvPicPr>
          <p:nvPr/>
        </p:nvPicPr>
        <p:blipFill rotWithShape="1">
          <a:blip r:embed="rId2">
            <a:extLst>
              <a:ext uri="{BEBA8EAE-BF5A-486C-A8C5-ECC9F3942E4B}">
                <a14:imgProps xmlns:a14="http://schemas.microsoft.com/office/drawing/2010/main">
                  <a14:imgLayer r:embed="rId3">
                    <a14:imgEffect>
                      <a14:colorTemperature colorTemp="5300"/>
                    </a14:imgEffect>
                  </a14:imgLayer>
                </a14:imgProps>
              </a:ext>
              <a:ext uri="{28A0092B-C50C-407E-A947-70E740481C1C}">
                <a14:useLocalDpi xmlns:a14="http://schemas.microsoft.com/office/drawing/2010/main" val="0"/>
              </a:ext>
            </a:extLst>
          </a:blip>
          <a:srcRect l="44329" r="-55"/>
          <a:stretch/>
        </p:blipFill>
        <p:spPr bwMode="auto">
          <a:xfrm>
            <a:off x="228601" y="742950"/>
            <a:ext cx="2362200" cy="4183108"/>
          </a:xfrm>
          <a:prstGeom prst="rect">
            <a:avLst/>
          </a:prstGeom>
          <a:noFill/>
          <a:extLst>
            <a:ext uri="{909E8E84-426E-40DD-AFC4-6F175D3DCCD1}">
              <a14:hiddenFill xmlns:a14="http://schemas.microsoft.com/office/drawing/2010/main">
                <a:solidFill>
                  <a:srgbClr val="FFFFFF"/>
                </a:solidFill>
              </a14:hiddenFill>
            </a:ext>
          </a:extLst>
        </p:spPr>
      </p:pic>
      <p:sp>
        <p:nvSpPr>
          <p:cNvPr id="49" name="Text Placeholder 1"/>
          <p:cNvSpPr txBox="1">
            <a:spLocks/>
          </p:cNvSpPr>
          <p:nvPr/>
        </p:nvSpPr>
        <p:spPr>
          <a:xfrm>
            <a:off x="3124200" y="210476"/>
            <a:ext cx="4995547" cy="526319"/>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b="1" dirty="0">
                <a:solidFill>
                  <a:srgbClr val="FF5969"/>
                </a:solidFill>
                <a:latin typeface="Gotham Bold" panose="02000803030000020004" pitchFamily="2" charset="0"/>
              </a:rPr>
              <a:t>Outlines of Presentation</a:t>
            </a:r>
            <a:endParaRPr lang="en-US" sz="2800" dirty="0">
              <a:solidFill>
                <a:srgbClr val="FF5969"/>
              </a:solidFill>
              <a:latin typeface="Gotham Bold" panose="02000803030000020004" pitchFamily="2" charset="0"/>
            </a:endParaRPr>
          </a:p>
        </p:txBody>
      </p:sp>
      <p:sp>
        <p:nvSpPr>
          <p:cNvPr id="8" name="Rectangle 7">
            <a:extLst>
              <a:ext uri="{FF2B5EF4-FFF2-40B4-BE49-F238E27FC236}">
                <a16:creationId xmlns:a16="http://schemas.microsoft.com/office/drawing/2014/main" id="{AF829D03-E664-4A6A-BBB5-76312CAAA17A}"/>
              </a:ext>
            </a:extLst>
          </p:cNvPr>
          <p:cNvSpPr/>
          <p:nvPr/>
        </p:nvSpPr>
        <p:spPr>
          <a:xfrm>
            <a:off x="2673110" y="736795"/>
            <a:ext cx="63923" cy="4183108"/>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7" name="object 42">
            <a:extLst>
              <a:ext uri="{FF2B5EF4-FFF2-40B4-BE49-F238E27FC236}">
                <a16:creationId xmlns:a16="http://schemas.microsoft.com/office/drawing/2014/main" id="{A37E7354-03AC-4106-A385-E0AF98590302}"/>
              </a:ext>
            </a:extLst>
          </p:cNvPr>
          <p:cNvSpPr/>
          <p:nvPr/>
        </p:nvSpPr>
        <p:spPr>
          <a:xfrm>
            <a:off x="228599" y="736795"/>
            <a:ext cx="2362201" cy="4183108"/>
          </a:xfrm>
          <a:custGeom>
            <a:avLst/>
            <a:gdLst/>
            <a:ahLst/>
            <a:cxnLst/>
            <a:rect l="l" t="t" r="r" b="b"/>
            <a:pathLst>
              <a:path w="1476375" h="1476375">
                <a:moveTo>
                  <a:pt x="1475905" y="0"/>
                </a:moveTo>
                <a:lnTo>
                  <a:pt x="0" y="0"/>
                </a:lnTo>
                <a:lnTo>
                  <a:pt x="0" y="1475892"/>
                </a:lnTo>
                <a:lnTo>
                  <a:pt x="1475905" y="1475892"/>
                </a:lnTo>
                <a:lnTo>
                  <a:pt x="1475905" y="0"/>
                </a:lnTo>
                <a:close/>
              </a:path>
            </a:pathLst>
          </a:custGeom>
          <a:solidFill>
            <a:schemeClr val="tx1">
              <a:lumMod val="95000"/>
              <a:lumOff val="5000"/>
              <a:alpha val="50000"/>
            </a:schemeClr>
          </a:solidFill>
          <a:ln>
            <a:noFill/>
          </a:ln>
        </p:spPr>
        <p:style>
          <a:lnRef idx="0">
            <a:scrgbClr r="0" g="0" b="0"/>
          </a:lnRef>
          <a:fillRef idx="0">
            <a:scrgbClr r="0" g="0" b="0"/>
          </a:fillRef>
          <a:effectRef idx="0">
            <a:scrgbClr r="0" g="0" b="0"/>
          </a:effectRef>
          <a:fontRef idx="minor">
            <a:schemeClr val="lt1"/>
          </a:fontRef>
        </p:style>
        <p:txBody>
          <a:bodyPr wrap="square" lIns="0" tIns="0" rIns="0" bIns="0" rtlCol="0"/>
          <a:lstStyle/>
          <a:p>
            <a:endParaRPr sz="1125" dirty="0"/>
          </a:p>
        </p:txBody>
      </p:sp>
      <p:sp>
        <p:nvSpPr>
          <p:cNvPr id="50" name="Content Placeholder 2"/>
          <p:cNvSpPr txBox="1">
            <a:spLocks/>
          </p:cNvSpPr>
          <p:nvPr/>
        </p:nvSpPr>
        <p:spPr>
          <a:xfrm>
            <a:off x="2827668" y="979442"/>
            <a:ext cx="6316332" cy="4183108"/>
          </a:xfrm>
          <a:prstGeom prst="rect">
            <a:avLst/>
          </a:prstGeom>
        </p:spPr>
        <p:txBody>
          <a:bodyPr vert="horz" lIns="91440" tIns="45720" rIns="91440" bIns="45720" rtlCol="0">
            <a:noAutofit/>
          </a:bodyPr>
          <a:lstStyle>
            <a:lvl1pPr marL="342892" indent="-342892" algn="l" defTabSz="91437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31" indent="-285743" algn="l" defTabSz="91437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72" indent="-228594" algn="l" defTabSz="91437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60"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48"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Font typeface="Wingdings" panose="05000000000000000000" pitchFamily="2" charset="2"/>
              <a:buChar char="§"/>
            </a:pPr>
            <a:r>
              <a:rPr lang="en-US" sz="1400" dirty="0">
                <a:latin typeface="Gotham Medium" panose="02000603030000020004" pitchFamily="2" charset="0"/>
              </a:rPr>
              <a:t>Myths about Engineering Education</a:t>
            </a:r>
          </a:p>
          <a:p>
            <a:pPr>
              <a:lnSpc>
                <a:spcPct val="150000"/>
              </a:lnSpc>
              <a:buFont typeface="Wingdings" panose="05000000000000000000" pitchFamily="2" charset="2"/>
              <a:buChar char="§"/>
            </a:pPr>
            <a:r>
              <a:rPr lang="en-US" sz="1400" dirty="0">
                <a:latin typeface="Gotham Medium" panose="02000603030000020004" pitchFamily="2" charset="0"/>
              </a:rPr>
              <a:t>Career Opportunities after Engineering</a:t>
            </a:r>
          </a:p>
          <a:p>
            <a:pPr>
              <a:lnSpc>
                <a:spcPct val="150000"/>
              </a:lnSpc>
              <a:buFont typeface="Wingdings" panose="05000000000000000000" pitchFamily="2" charset="2"/>
              <a:buChar char="§"/>
            </a:pPr>
            <a:r>
              <a:rPr lang="en-US" sz="1400" dirty="0">
                <a:latin typeface="Gotham Medium" panose="02000603030000020004" pitchFamily="2" charset="0"/>
              </a:rPr>
              <a:t>What is Engineering and Various Branches of Engineering</a:t>
            </a:r>
          </a:p>
          <a:p>
            <a:pPr>
              <a:lnSpc>
                <a:spcPct val="150000"/>
              </a:lnSpc>
              <a:buFont typeface="Wingdings" panose="05000000000000000000" pitchFamily="2" charset="2"/>
              <a:buChar char="§"/>
            </a:pPr>
            <a:r>
              <a:rPr lang="en-US" sz="1400" dirty="0">
                <a:latin typeface="Gotham Medium" panose="02000603030000020004" pitchFamily="2" charset="0"/>
              </a:rPr>
              <a:t>Seat Distribution and Reservation Policy</a:t>
            </a:r>
          </a:p>
          <a:p>
            <a:pPr>
              <a:lnSpc>
                <a:spcPct val="150000"/>
              </a:lnSpc>
              <a:buFont typeface="Wingdings" panose="05000000000000000000" pitchFamily="2" charset="2"/>
              <a:buChar char="§"/>
            </a:pPr>
            <a:r>
              <a:rPr lang="en-US" sz="1400" dirty="0">
                <a:latin typeface="Gotham Medium" panose="02000603030000020004" pitchFamily="2" charset="0"/>
              </a:rPr>
              <a:t>What is TFWS and EWS</a:t>
            </a:r>
          </a:p>
          <a:p>
            <a:pPr>
              <a:lnSpc>
                <a:spcPct val="150000"/>
              </a:lnSpc>
              <a:buFont typeface="Wingdings" panose="05000000000000000000" pitchFamily="2" charset="2"/>
              <a:buChar char="§"/>
            </a:pPr>
            <a:r>
              <a:rPr lang="en-US" sz="1400" dirty="0">
                <a:latin typeface="Gotham Medium" panose="02000603030000020004" pitchFamily="2" charset="0"/>
              </a:rPr>
              <a:t>Various Scholarships available for Students from Government</a:t>
            </a:r>
          </a:p>
          <a:p>
            <a:pPr>
              <a:lnSpc>
                <a:spcPct val="150000"/>
              </a:lnSpc>
              <a:buFont typeface="Wingdings" panose="05000000000000000000" pitchFamily="2" charset="2"/>
              <a:buChar char="§"/>
            </a:pPr>
            <a:r>
              <a:rPr lang="en-US" sz="1400" dirty="0">
                <a:latin typeface="Gotham Medium" panose="02000603030000020004" pitchFamily="2" charset="0"/>
              </a:rPr>
              <a:t>Documents Required for Admission</a:t>
            </a:r>
          </a:p>
          <a:p>
            <a:pPr>
              <a:lnSpc>
                <a:spcPct val="150000"/>
              </a:lnSpc>
              <a:buFont typeface="Wingdings" panose="05000000000000000000" pitchFamily="2" charset="2"/>
              <a:buChar char="§"/>
            </a:pPr>
            <a:r>
              <a:rPr lang="en-US" sz="1400" dirty="0">
                <a:latin typeface="Gotham Medium" panose="02000603030000020004" pitchFamily="2" charset="0"/>
              </a:rPr>
              <a:t>Analysis of MHT-CET 2021</a:t>
            </a:r>
          </a:p>
          <a:p>
            <a:pPr>
              <a:lnSpc>
                <a:spcPct val="150000"/>
              </a:lnSpc>
              <a:buFont typeface="Wingdings" panose="05000000000000000000" pitchFamily="2" charset="2"/>
              <a:buChar char="§"/>
            </a:pPr>
            <a:r>
              <a:rPr lang="en-US" sz="1400" dirty="0">
                <a:latin typeface="Gotham Medium" panose="02000603030000020004" pitchFamily="2" charset="0"/>
              </a:rPr>
              <a:t>Last year Cutoff of Some Institutions </a:t>
            </a:r>
          </a:p>
          <a:p>
            <a:pPr>
              <a:lnSpc>
                <a:spcPct val="150000"/>
              </a:lnSpc>
              <a:buFont typeface="Wingdings" panose="05000000000000000000" pitchFamily="2" charset="2"/>
              <a:buChar char="§"/>
            </a:pPr>
            <a:r>
              <a:rPr lang="en-US" sz="1400" dirty="0">
                <a:latin typeface="Gotham Medium" panose="02000603030000020004" pitchFamily="2" charset="0"/>
              </a:rPr>
              <a:t>Centralized Admission Process (CAP) 2021-22 </a:t>
            </a:r>
          </a:p>
          <a:p>
            <a:pPr marL="0" indent="0">
              <a:lnSpc>
                <a:spcPct val="150000"/>
              </a:lnSpc>
              <a:buNone/>
            </a:pPr>
            <a:endParaRPr lang="en-IN" sz="1400" dirty="0">
              <a:latin typeface="Gotham Medium" panose="02000603030000020004" pitchFamily="2" charset="0"/>
            </a:endParaRPr>
          </a:p>
        </p:txBody>
      </p:sp>
    </p:spTree>
    <p:extLst>
      <p:ext uri="{BB962C8B-B14F-4D97-AF65-F5344CB8AC3E}">
        <p14:creationId xmlns:p14="http://schemas.microsoft.com/office/powerpoint/2010/main" val="166669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96"/>
        <p:cNvGrpSpPr/>
        <p:nvPr/>
      </p:nvGrpSpPr>
      <p:grpSpPr>
        <a:xfrm>
          <a:off x="0" y="0"/>
          <a:ext cx="0" cy="0"/>
          <a:chOff x="0" y="0"/>
          <a:chExt cx="0" cy="0"/>
        </a:xfrm>
      </p:grpSpPr>
      <p:sp>
        <p:nvSpPr>
          <p:cNvPr id="22" name="Google Shape;197;p27">
            <a:extLst>
              <a:ext uri="{FF2B5EF4-FFF2-40B4-BE49-F238E27FC236}">
                <a16:creationId xmlns:a16="http://schemas.microsoft.com/office/drawing/2014/main" id="{AADF2F76-B281-4672-81B8-49F59EABD7F0}"/>
              </a:ext>
            </a:extLst>
          </p:cNvPr>
          <p:cNvSpPr/>
          <p:nvPr/>
        </p:nvSpPr>
        <p:spPr>
          <a:xfrm>
            <a:off x="7435739" y="666750"/>
            <a:ext cx="1708262" cy="4476750"/>
          </a:xfrm>
          <a:prstGeom prst="rect">
            <a:avLst/>
          </a:prstGeom>
          <a:solidFill>
            <a:srgbClr val="FEC63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9" name="Picture 8">
            <a:extLst>
              <a:ext uri="{FF2B5EF4-FFF2-40B4-BE49-F238E27FC236}">
                <a16:creationId xmlns:a16="http://schemas.microsoft.com/office/drawing/2014/main" id="{DB80E250-941C-42FD-B1F2-5F3F61B91AC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1" y="3047242"/>
            <a:ext cx="2737890" cy="1917707"/>
          </a:xfrm>
          <a:prstGeom prst="rect">
            <a:avLst/>
          </a:prstGeom>
        </p:spPr>
      </p:pic>
      <p:pic>
        <p:nvPicPr>
          <p:cNvPr id="11" name="Picture 10">
            <a:extLst>
              <a:ext uri="{FF2B5EF4-FFF2-40B4-BE49-F238E27FC236}">
                <a16:creationId xmlns:a16="http://schemas.microsoft.com/office/drawing/2014/main" id="{5C1AA69C-9DE9-43D9-94CA-A29D5DD1CC2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8402" y="875778"/>
            <a:ext cx="2737889" cy="1992913"/>
          </a:xfrm>
          <a:prstGeom prst="rect">
            <a:avLst/>
          </a:prstGeom>
        </p:spPr>
      </p:pic>
      <p:sp>
        <p:nvSpPr>
          <p:cNvPr id="13" name="Google Shape;188;p26">
            <a:extLst>
              <a:ext uri="{FF2B5EF4-FFF2-40B4-BE49-F238E27FC236}">
                <a16:creationId xmlns:a16="http://schemas.microsoft.com/office/drawing/2014/main" id="{105BA8F5-0F58-4361-B567-D8BF963327F9}"/>
              </a:ext>
            </a:extLst>
          </p:cNvPr>
          <p:cNvSpPr txBox="1">
            <a:spLocks/>
          </p:cNvSpPr>
          <p:nvPr/>
        </p:nvSpPr>
        <p:spPr>
          <a:xfrm>
            <a:off x="1412011" y="343111"/>
            <a:ext cx="4656326" cy="531345"/>
          </a:xfrm>
          <a:prstGeom prst="rect">
            <a:avLst/>
          </a:prstGeom>
        </p:spPr>
        <p:txBody>
          <a:bodyPr spcFirstLastPara="1" vert="horz" wrap="square" lIns="91425" tIns="91425" rIns="91425" bIns="91425" rtlCol="0" anchor="b" anchorCtr="0">
            <a:noAutofit/>
          </a:bodyPr>
          <a:lstStyle>
            <a:lvl1pPr lvl="0" algn="ctr" defTabSz="914400" rtl="0" eaLnBrk="1" latinLnBrk="0" hangingPunct="1">
              <a:spcBef>
                <a:spcPts val="0"/>
              </a:spcBef>
              <a:spcAft>
                <a:spcPts val="0"/>
              </a:spcAft>
              <a:buSzPts val="2800"/>
              <a:buNone/>
              <a:defRPr sz="4400" kern="1200">
                <a:solidFill>
                  <a:schemeClr val="tx1"/>
                </a:solidFill>
                <a:latin typeface="+mj-lt"/>
                <a:ea typeface="+mj-ea"/>
                <a:cs typeface="+mj-cs"/>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pPr algn="l"/>
            <a:r>
              <a:rPr lang="en-US" sz="2800" dirty="0">
                <a:solidFill>
                  <a:srgbClr val="FF5969"/>
                </a:solidFill>
                <a:latin typeface="Gotham Bold" panose="02000803030000020004" pitchFamily="2" charset="0"/>
              </a:rPr>
              <a:t>Agricultural Engineering </a:t>
            </a:r>
          </a:p>
        </p:txBody>
      </p:sp>
      <p:sp>
        <p:nvSpPr>
          <p:cNvPr id="14" name="Google Shape;191;p26">
            <a:extLst>
              <a:ext uri="{FF2B5EF4-FFF2-40B4-BE49-F238E27FC236}">
                <a16:creationId xmlns:a16="http://schemas.microsoft.com/office/drawing/2014/main" id="{9DD7C159-E565-4375-B170-9ADDBE705ADD}"/>
              </a:ext>
            </a:extLst>
          </p:cNvPr>
          <p:cNvSpPr/>
          <p:nvPr/>
        </p:nvSpPr>
        <p:spPr>
          <a:xfrm>
            <a:off x="304800" y="440620"/>
            <a:ext cx="1079549" cy="166698"/>
          </a:xfrm>
          <a:prstGeom prst="rect">
            <a:avLst/>
          </a:prstGeom>
          <a:solidFill>
            <a:srgbClr val="52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Content Placeholder 2">
            <a:extLst>
              <a:ext uri="{FF2B5EF4-FFF2-40B4-BE49-F238E27FC236}">
                <a16:creationId xmlns:a16="http://schemas.microsoft.com/office/drawing/2014/main" id="{223403E2-E60A-49BB-A78E-2957A2AD11B0}"/>
              </a:ext>
            </a:extLst>
          </p:cNvPr>
          <p:cNvSpPr txBox="1">
            <a:spLocks/>
          </p:cNvSpPr>
          <p:nvPr/>
        </p:nvSpPr>
        <p:spPr>
          <a:xfrm>
            <a:off x="75579" y="1096373"/>
            <a:ext cx="5992758" cy="3829388"/>
          </a:xfrm>
          <a:prstGeom prst="rect">
            <a:avLst/>
          </a:prstGeom>
          <a:noFill/>
          <a:ln>
            <a:noFill/>
          </a:ln>
        </p:spPr>
        <p:txBody>
          <a:bodyPr spcFirstLastPara="1" vert="horz" wrap="square" lIns="91440" tIns="45720" rIns="91440" bIns="45720" rtlCol="0" anchor="t" anchorCtr="0">
            <a:norm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1pPr>
            <a:lvl2pPr marL="914400" marR="0" lvl="1"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2pPr>
            <a:lvl3pPr marL="1371600" marR="0" lvl="2"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3pPr>
            <a:lvl4pPr marL="1828800" marR="0" lvl="3"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4pPr>
            <a:lvl5pPr marL="2286000" marR="0" lvl="4"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5pPr>
            <a:lvl6pPr marL="2743200" marR="0" lvl="5"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6pPr>
            <a:lvl7pPr marL="3200400" marR="0" lvl="6"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7pPr>
            <a:lvl8pPr marL="3657600" marR="0" lvl="7"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8pPr>
            <a:lvl9pPr marL="4114800" marR="0" lvl="8"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9pPr>
          </a:lstStyle>
          <a:p>
            <a:pPr marL="400050" indent="-285750">
              <a:lnSpc>
                <a:spcPct val="150000"/>
              </a:lnSpc>
              <a:buFont typeface="Wingdings" panose="05000000000000000000" pitchFamily="2" charset="2"/>
              <a:buChar char="§"/>
            </a:pPr>
            <a:r>
              <a:rPr lang="en-US" sz="1800" kern="0" dirty="0">
                <a:solidFill>
                  <a:schemeClr val="tx1"/>
                </a:solidFill>
                <a:latin typeface="Gotham Medium" panose="02000603030000020004" pitchFamily="2" charset="0"/>
                <a:cs typeface="Times New Roman" pitchFamily="18" charset="0"/>
              </a:rPr>
              <a:t>It is the branch of engineering that deals with the design of farm machinery, the location and planning of farm structures, farm drainage, soil management and erosion control, water supply and irrigation, rural electrification, and the processing of farm products</a:t>
            </a:r>
          </a:p>
        </p:txBody>
      </p:sp>
    </p:spTree>
    <p:extLst>
      <p:ext uri="{BB962C8B-B14F-4D97-AF65-F5344CB8AC3E}">
        <p14:creationId xmlns:p14="http://schemas.microsoft.com/office/powerpoint/2010/main" val="137828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96"/>
        <p:cNvGrpSpPr/>
        <p:nvPr/>
      </p:nvGrpSpPr>
      <p:grpSpPr>
        <a:xfrm>
          <a:off x="0" y="0"/>
          <a:ext cx="0" cy="0"/>
          <a:chOff x="0" y="0"/>
          <a:chExt cx="0" cy="0"/>
        </a:xfrm>
      </p:grpSpPr>
      <p:sp>
        <p:nvSpPr>
          <p:cNvPr id="13" name="Google Shape;188;p26">
            <a:extLst>
              <a:ext uri="{FF2B5EF4-FFF2-40B4-BE49-F238E27FC236}">
                <a16:creationId xmlns:a16="http://schemas.microsoft.com/office/drawing/2014/main" id="{105BA8F5-0F58-4361-B567-D8BF963327F9}"/>
              </a:ext>
            </a:extLst>
          </p:cNvPr>
          <p:cNvSpPr txBox="1">
            <a:spLocks/>
          </p:cNvSpPr>
          <p:nvPr/>
        </p:nvSpPr>
        <p:spPr>
          <a:xfrm>
            <a:off x="1323503" y="125806"/>
            <a:ext cx="4656326" cy="963023"/>
          </a:xfrm>
          <a:prstGeom prst="rect">
            <a:avLst/>
          </a:prstGeom>
        </p:spPr>
        <p:txBody>
          <a:bodyPr spcFirstLastPara="1" vert="horz" wrap="square" lIns="91425" tIns="91425" rIns="91425" bIns="91425" rtlCol="0" anchor="b" anchorCtr="0">
            <a:noAutofit/>
          </a:bodyPr>
          <a:lstStyle>
            <a:lvl1pPr lvl="0" algn="ctr" defTabSz="914400" rtl="0" eaLnBrk="1" latinLnBrk="0" hangingPunct="1">
              <a:spcBef>
                <a:spcPts val="0"/>
              </a:spcBef>
              <a:spcAft>
                <a:spcPts val="0"/>
              </a:spcAft>
              <a:buSzPts val="2800"/>
              <a:buNone/>
              <a:defRPr sz="4400" kern="1200">
                <a:solidFill>
                  <a:schemeClr val="tx1"/>
                </a:solidFill>
                <a:latin typeface="+mj-lt"/>
                <a:ea typeface="+mj-ea"/>
                <a:cs typeface="+mj-cs"/>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pPr algn="l"/>
            <a:r>
              <a:rPr lang="en-US" sz="2800" dirty="0">
                <a:solidFill>
                  <a:srgbClr val="FF5969"/>
                </a:solidFill>
                <a:latin typeface="Gotham Bold" panose="02000803030000020004" pitchFamily="2" charset="0"/>
              </a:rPr>
              <a:t>Scope of Agricultural Engineering </a:t>
            </a:r>
          </a:p>
        </p:txBody>
      </p:sp>
      <p:sp>
        <p:nvSpPr>
          <p:cNvPr id="14" name="Google Shape;191;p26">
            <a:extLst>
              <a:ext uri="{FF2B5EF4-FFF2-40B4-BE49-F238E27FC236}">
                <a16:creationId xmlns:a16="http://schemas.microsoft.com/office/drawing/2014/main" id="{9DD7C159-E565-4375-B170-9ADDBE705ADD}"/>
              </a:ext>
            </a:extLst>
          </p:cNvPr>
          <p:cNvSpPr/>
          <p:nvPr/>
        </p:nvSpPr>
        <p:spPr>
          <a:xfrm>
            <a:off x="1260004" y="189453"/>
            <a:ext cx="76199" cy="835730"/>
          </a:xfrm>
          <a:prstGeom prst="rect">
            <a:avLst/>
          </a:prstGeom>
          <a:solidFill>
            <a:srgbClr val="52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Content Placeholder 2">
            <a:extLst>
              <a:ext uri="{FF2B5EF4-FFF2-40B4-BE49-F238E27FC236}">
                <a16:creationId xmlns:a16="http://schemas.microsoft.com/office/drawing/2014/main" id="{223403E2-E60A-49BB-A78E-2957A2AD11B0}"/>
              </a:ext>
            </a:extLst>
          </p:cNvPr>
          <p:cNvSpPr txBox="1">
            <a:spLocks/>
          </p:cNvSpPr>
          <p:nvPr/>
        </p:nvSpPr>
        <p:spPr>
          <a:xfrm>
            <a:off x="1142999" y="1096373"/>
            <a:ext cx="4925337" cy="3829388"/>
          </a:xfrm>
          <a:prstGeom prst="rect">
            <a:avLst/>
          </a:prstGeom>
          <a:noFill/>
          <a:ln>
            <a:noFill/>
          </a:ln>
        </p:spPr>
        <p:txBody>
          <a:bodyPr spcFirstLastPara="1" vert="horz" wrap="square" lIns="91440" tIns="45720" rIns="91440" bIns="45720" rtlCol="0" anchor="t" anchorCtr="0">
            <a:norm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1pPr>
            <a:lvl2pPr marL="914400" marR="0" lvl="1"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2pPr>
            <a:lvl3pPr marL="1371600" marR="0" lvl="2"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3pPr>
            <a:lvl4pPr marL="1828800" marR="0" lvl="3"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4pPr>
            <a:lvl5pPr marL="2286000" marR="0" lvl="4"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5pPr>
            <a:lvl6pPr marL="2743200" marR="0" lvl="5"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6pPr>
            <a:lvl7pPr marL="3200400" marR="0" lvl="6"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7pPr>
            <a:lvl8pPr marL="3657600" marR="0" lvl="7"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8pPr>
            <a:lvl9pPr marL="4114800" marR="0" lvl="8"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9pPr>
          </a:lstStyle>
          <a:p>
            <a:pPr marL="400050" indent="-285750">
              <a:lnSpc>
                <a:spcPct val="150000"/>
              </a:lnSpc>
              <a:buFont typeface="Wingdings" panose="05000000000000000000" pitchFamily="2" charset="2"/>
              <a:buChar char="§"/>
            </a:pPr>
            <a:r>
              <a:rPr lang="en-US" sz="1600" kern="0" dirty="0" err="1">
                <a:solidFill>
                  <a:schemeClr val="tx1"/>
                </a:solidFill>
                <a:latin typeface="Gotham Medium" panose="02000603030000020004" pitchFamily="2" charset="0"/>
                <a:cs typeface="Times New Roman" pitchFamily="18" charset="0"/>
              </a:rPr>
              <a:t>Agro</a:t>
            </a:r>
            <a:r>
              <a:rPr lang="en-US" sz="1600" kern="0" dirty="0">
                <a:solidFill>
                  <a:schemeClr val="tx1"/>
                </a:solidFill>
                <a:latin typeface="Gotham Medium" panose="02000603030000020004" pitchFamily="2" charset="0"/>
                <a:cs typeface="Times New Roman" pitchFamily="18" charset="0"/>
              </a:rPr>
              <a:t>-Based Industries</a:t>
            </a:r>
          </a:p>
          <a:p>
            <a:pPr marL="400050" indent="-285750">
              <a:lnSpc>
                <a:spcPct val="150000"/>
              </a:lnSpc>
              <a:buFont typeface="Wingdings" panose="05000000000000000000" pitchFamily="2" charset="2"/>
              <a:buChar char="§"/>
            </a:pPr>
            <a:r>
              <a:rPr lang="en-US" sz="1600" kern="0" dirty="0">
                <a:solidFill>
                  <a:schemeClr val="tx1"/>
                </a:solidFill>
                <a:latin typeface="Gotham Medium" panose="02000603030000020004" pitchFamily="2" charset="0"/>
                <a:cs typeface="Times New Roman" pitchFamily="18" charset="0"/>
              </a:rPr>
              <a:t>Agriculture Crop Engineers </a:t>
            </a:r>
          </a:p>
          <a:p>
            <a:pPr marL="400050" indent="-285750">
              <a:lnSpc>
                <a:spcPct val="150000"/>
              </a:lnSpc>
              <a:buFont typeface="Wingdings" panose="05000000000000000000" pitchFamily="2" charset="2"/>
              <a:buChar char="§"/>
            </a:pPr>
            <a:r>
              <a:rPr lang="en-US" sz="1600" kern="0" dirty="0">
                <a:solidFill>
                  <a:schemeClr val="tx1"/>
                </a:solidFill>
                <a:latin typeface="Gotham Medium" panose="02000603030000020004" pitchFamily="2" charset="0"/>
                <a:cs typeface="Times New Roman" pitchFamily="18" charset="0"/>
              </a:rPr>
              <a:t>Agriculture Specialists</a:t>
            </a:r>
          </a:p>
          <a:p>
            <a:pPr marL="400050" indent="-285750">
              <a:lnSpc>
                <a:spcPct val="150000"/>
              </a:lnSpc>
              <a:buFont typeface="Wingdings" panose="05000000000000000000" pitchFamily="2" charset="2"/>
              <a:buChar char="§"/>
            </a:pPr>
            <a:r>
              <a:rPr lang="en-US" sz="1600" kern="0" dirty="0">
                <a:solidFill>
                  <a:schemeClr val="tx1"/>
                </a:solidFill>
                <a:latin typeface="Gotham Medium" panose="02000603030000020004" pitchFamily="2" charset="0"/>
                <a:cs typeface="Times New Roman" pitchFamily="18" charset="0"/>
              </a:rPr>
              <a:t>Agriculture Inspectors </a:t>
            </a:r>
          </a:p>
          <a:p>
            <a:pPr marL="400050" indent="-285750">
              <a:lnSpc>
                <a:spcPct val="150000"/>
              </a:lnSpc>
              <a:buFont typeface="Wingdings" panose="05000000000000000000" pitchFamily="2" charset="2"/>
              <a:buChar char="§"/>
            </a:pPr>
            <a:r>
              <a:rPr lang="en-US" sz="1600" kern="0" dirty="0">
                <a:solidFill>
                  <a:schemeClr val="tx1"/>
                </a:solidFill>
                <a:latin typeface="Gotham Medium" panose="02000603030000020004" pitchFamily="2" charset="0"/>
                <a:cs typeface="Times New Roman" pitchFamily="18" charset="0"/>
              </a:rPr>
              <a:t>Farm Shop Managers</a:t>
            </a:r>
          </a:p>
          <a:p>
            <a:pPr marL="400050" indent="-285750">
              <a:lnSpc>
                <a:spcPct val="150000"/>
              </a:lnSpc>
              <a:buFont typeface="Wingdings" panose="05000000000000000000" pitchFamily="2" charset="2"/>
              <a:buChar char="§"/>
            </a:pPr>
            <a:r>
              <a:rPr lang="en-US" sz="1600" kern="0" dirty="0">
                <a:solidFill>
                  <a:schemeClr val="tx1"/>
                </a:solidFill>
                <a:latin typeface="Gotham Medium" panose="02000603030000020004" pitchFamily="2" charset="0"/>
                <a:cs typeface="Times New Roman" pitchFamily="18" charset="0"/>
              </a:rPr>
              <a:t>Agriculture Researchers </a:t>
            </a:r>
          </a:p>
          <a:p>
            <a:pPr marL="400050" indent="-285750">
              <a:lnSpc>
                <a:spcPct val="150000"/>
              </a:lnSpc>
              <a:buFont typeface="Wingdings" panose="05000000000000000000" pitchFamily="2" charset="2"/>
              <a:buChar char="§"/>
            </a:pPr>
            <a:r>
              <a:rPr lang="en-US" sz="1600" kern="0" dirty="0">
                <a:solidFill>
                  <a:schemeClr val="tx1"/>
                </a:solidFill>
                <a:latin typeface="Gotham Medium" panose="02000603030000020004" pitchFamily="2" charset="0"/>
                <a:cs typeface="Times New Roman" pitchFamily="18" charset="0"/>
              </a:rPr>
              <a:t>Environmental Controls Engineers </a:t>
            </a:r>
          </a:p>
          <a:p>
            <a:pPr marL="400050" indent="-285750">
              <a:lnSpc>
                <a:spcPct val="150000"/>
              </a:lnSpc>
              <a:buFont typeface="Wingdings" panose="05000000000000000000" pitchFamily="2" charset="2"/>
              <a:buChar char="§"/>
            </a:pPr>
            <a:r>
              <a:rPr lang="en-US" sz="1600" kern="0" dirty="0">
                <a:solidFill>
                  <a:schemeClr val="tx1"/>
                </a:solidFill>
                <a:latin typeface="Gotham Medium" panose="02000603030000020004" pitchFamily="2" charset="0"/>
                <a:cs typeface="Times New Roman" pitchFamily="18" charset="0"/>
              </a:rPr>
              <a:t>Agronomists </a:t>
            </a:r>
          </a:p>
          <a:p>
            <a:pPr marL="400050" indent="-285750">
              <a:lnSpc>
                <a:spcPct val="150000"/>
              </a:lnSpc>
              <a:buFont typeface="Wingdings" panose="05000000000000000000" pitchFamily="2" charset="2"/>
              <a:buChar char="§"/>
            </a:pPr>
            <a:r>
              <a:rPr lang="en-US" sz="1600" kern="0" dirty="0">
                <a:solidFill>
                  <a:schemeClr val="tx1"/>
                </a:solidFill>
                <a:latin typeface="Gotham Medium" panose="02000603030000020004" pitchFamily="2" charset="0"/>
                <a:cs typeface="Times New Roman" pitchFamily="18" charset="0"/>
              </a:rPr>
              <a:t>Food Supervisors </a:t>
            </a:r>
          </a:p>
          <a:p>
            <a:pPr marL="400050" indent="-285750">
              <a:lnSpc>
                <a:spcPct val="150000"/>
              </a:lnSpc>
              <a:buFont typeface="Wingdings" panose="05000000000000000000" pitchFamily="2" charset="2"/>
              <a:buChar char="§"/>
            </a:pPr>
            <a:r>
              <a:rPr lang="en-US" sz="1600" kern="0" dirty="0">
                <a:solidFill>
                  <a:schemeClr val="tx1"/>
                </a:solidFill>
                <a:latin typeface="Gotham Medium" panose="02000603030000020004" pitchFamily="2" charset="0"/>
                <a:cs typeface="Times New Roman" pitchFamily="18" charset="0"/>
              </a:rPr>
              <a:t>Microbiologist or Plant Physiologist</a:t>
            </a:r>
          </a:p>
        </p:txBody>
      </p:sp>
      <p:sp>
        <p:nvSpPr>
          <p:cNvPr id="10" name="Google Shape;197;p27">
            <a:extLst>
              <a:ext uri="{FF2B5EF4-FFF2-40B4-BE49-F238E27FC236}">
                <a16:creationId xmlns:a16="http://schemas.microsoft.com/office/drawing/2014/main" id="{9A4E15D3-09C0-4360-BB64-5AAB56F8F413}"/>
              </a:ext>
            </a:extLst>
          </p:cNvPr>
          <p:cNvSpPr/>
          <p:nvPr/>
        </p:nvSpPr>
        <p:spPr>
          <a:xfrm>
            <a:off x="7435739" y="666750"/>
            <a:ext cx="1708262" cy="4476750"/>
          </a:xfrm>
          <a:prstGeom prst="rect">
            <a:avLst/>
          </a:prstGeom>
          <a:solidFill>
            <a:srgbClr val="FEC63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12" name="Picture 11">
            <a:extLst>
              <a:ext uri="{FF2B5EF4-FFF2-40B4-BE49-F238E27FC236}">
                <a16:creationId xmlns:a16="http://schemas.microsoft.com/office/drawing/2014/main" id="{55B681D1-30B0-45A8-941A-97983BEEE1F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1" y="3047242"/>
            <a:ext cx="2737890" cy="1917707"/>
          </a:xfrm>
          <a:prstGeom prst="rect">
            <a:avLst/>
          </a:prstGeom>
        </p:spPr>
      </p:pic>
      <p:pic>
        <p:nvPicPr>
          <p:cNvPr id="15" name="Picture 14">
            <a:extLst>
              <a:ext uri="{FF2B5EF4-FFF2-40B4-BE49-F238E27FC236}">
                <a16:creationId xmlns:a16="http://schemas.microsoft.com/office/drawing/2014/main" id="{D42854AB-58D2-42CF-833F-F8E93487672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8402" y="875778"/>
            <a:ext cx="2737889" cy="1992913"/>
          </a:xfrm>
          <a:prstGeom prst="rect">
            <a:avLst/>
          </a:prstGeom>
        </p:spPr>
      </p:pic>
    </p:spTree>
    <p:extLst>
      <p:ext uri="{BB962C8B-B14F-4D97-AF65-F5344CB8AC3E}">
        <p14:creationId xmlns:p14="http://schemas.microsoft.com/office/powerpoint/2010/main" val="2816262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Employment Opportunities After Engineering. - Upcoming Engineer">
            <a:extLst>
              <a:ext uri="{FF2B5EF4-FFF2-40B4-BE49-F238E27FC236}">
                <a16:creationId xmlns:a16="http://schemas.microsoft.com/office/drawing/2014/main" id="{7E538767-9AE8-41E9-978E-96BA4C7795C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3514" r="14923"/>
          <a:stretch/>
        </p:blipFill>
        <p:spPr bwMode="auto">
          <a:xfrm flipH="1">
            <a:off x="132894" y="438150"/>
            <a:ext cx="2610306" cy="4705350"/>
          </a:xfrm>
          <a:prstGeom prst="rect">
            <a:avLst/>
          </a:prstGeom>
          <a:noFill/>
          <a:extLst>
            <a:ext uri="{909E8E84-426E-40DD-AFC4-6F175D3DCCD1}">
              <a14:hiddenFill xmlns:a14="http://schemas.microsoft.com/office/drawing/2010/main">
                <a:solidFill>
                  <a:srgbClr val="FFFFFF"/>
                </a:solidFill>
              </a14:hiddenFill>
            </a:ext>
          </a:extLst>
        </p:spPr>
      </p:pic>
      <p:sp>
        <p:nvSpPr>
          <p:cNvPr id="33" name="object 42">
            <a:extLst>
              <a:ext uri="{FF2B5EF4-FFF2-40B4-BE49-F238E27FC236}">
                <a16:creationId xmlns:a16="http://schemas.microsoft.com/office/drawing/2014/main" id="{B416019D-DA1D-4F1D-AF51-9BA46A7B9A36}"/>
              </a:ext>
            </a:extLst>
          </p:cNvPr>
          <p:cNvSpPr/>
          <p:nvPr/>
        </p:nvSpPr>
        <p:spPr>
          <a:xfrm>
            <a:off x="147563" y="438150"/>
            <a:ext cx="2595637" cy="4705351"/>
          </a:xfrm>
          <a:custGeom>
            <a:avLst/>
            <a:gdLst/>
            <a:ahLst/>
            <a:cxnLst/>
            <a:rect l="l" t="t" r="r" b="b"/>
            <a:pathLst>
              <a:path w="1476375" h="1476375">
                <a:moveTo>
                  <a:pt x="1475905" y="0"/>
                </a:moveTo>
                <a:lnTo>
                  <a:pt x="0" y="0"/>
                </a:lnTo>
                <a:lnTo>
                  <a:pt x="0" y="1475892"/>
                </a:lnTo>
                <a:lnTo>
                  <a:pt x="1475905" y="1475892"/>
                </a:lnTo>
                <a:lnTo>
                  <a:pt x="1475905" y="0"/>
                </a:lnTo>
                <a:close/>
              </a:path>
            </a:pathLst>
          </a:custGeom>
          <a:solidFill>
            <a:schemeClr val="tx1">
              <a:lumMod val="85000"/>
              <a:lumOff val="15000"/>
              <a:alpha val="50000"/>
            </a:schemeClr>
          </a:solidFill>
          <a:ln>
            <a:noFill/>
          </a:ln>
        </p:spPr>
        <p:style>
          <a:lnRef idx="0">
            <a:scrgbClr r="0" g="0" b="0"/>
          </a:lnRef>
          <a:fillRef idx="0">
            <a:scrgbClr r="0" g="0" b="0"/>
          </a:fillRef>
          <a:effectRef idx="0">
            <a:scrgbClr r="0" g="0" b="0"/>
          </a:effectRef>
          <a:fontRef idx="minor">
            <a:schemeClr val="lt1"/>
          </a:fontRef>
        </p:style>
        <p:txBody>
          <a:bodyPr wrap="square" lIns="0" tIns="0" rIns="0" bIns="0" rtlCol="0"/>
          <a:lstStyle/>
          <a:p>
            <a:endParaRPr sz="1125" dirty="0"/>
          </a:p>
        </p:txBody>
      </p:sp>
      <p:sp>
        <p:nvSpPr>
          <p:cNvPr id="34" name="Rectangle 33">
            <a:extLst>
              <a:ext uri="{FF2B5EF4-FFF2-40B4-BE49-F238E27FC236}">
                <a16:creationId xmlns:a16="http://schemas.microsoft.com/office/drawing/2014/main" id="{6C379322-43DE-4344-82AB-368568985747}"/>
              </a:ext>
            </a:extLst>
          </p:cNvPr>
          <p:cNvSpPr/>
          <p:nvPr/>
        </p:nvSpPr>
        <p:spPr>
          <a:xfrm>
            <a:off x="132897" y="3414825"/>
            <a:ext cx="236955" cy="1736865"/>
          </a:xfrm>
          <a:prstGeom prst="rect">
            <a:avLst/>
          </a:prstGeom>
          <a:solidFill>
            <a:srgbClr val="FEC63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23" name="Title 1">
            <a:extLst>
              <a:ext uri="{FF2B5EF4-FFF2-40B4-BE49-F238E27FC236}">
                <a16:creationId xmlns:a16="http://schemas.microsoft.com/office/drawing/2014/main" id="{529B89F1-36D0-4FA0-B1B4-55C814B1BD76}"/>
              </a:ext>
            </a:extLst>
          </p:cNvPr>
          <p:cNvSpPr>
            <a:spLocks noGrp="1"/>
          </p:cNvSpPr>
          <p:nvPr>
            <p:ph type="title"/>
          </p:nvPr>
        </p:nvSpPr>
        <p:spPr>
          <a:xfrm>
            <a:off x="3352800" y="190162"/>
            <a:ext cx="5105400" cy="862990"/>
          </a:xfrm>
          <a:effectLst/>
        </p:spPr>
        <p:txBody>
          <a:bodyPr vert="horz" lIns="91440" tIns="45720" rIns="91440" bIns="45720" rtlCol="0" anchor="ctr">
            <a:noAutofit/>
          </a:bodyPr>
          <a:lstStyle/>
          <a:p>
            <a:pPr algn="l"/>
            <a:r>
              <a:rPr lang="en-US" sz="2800" dirty="0">
                <a:solidFill>
                  <a:srgbClr val="FF5969"/>
                </a:solidFill>
                <a:latin typeface="Gotham Bold" panose="02000803030000020004" pitchFamily="2" charset="0"/>
              </a:rPr>
              <a:t>Other Specific Branches of Engineering </a:t>
            </a:r>
          </a:p>
        </p:txBody>
      </p:sp>
      <p:sp>
        <p:nvSpPr>
          <p:cNvPr id="7" name="Content Placeholder 2">
            <a:extLst>
              <a:ext uri="{FF2B5EF4-FFF2-40B4-BE49-F238E27FC236}">
                <a16:creationId xmlns:a16="http://schemas.microsoft.com/office/drawing/2014/main" id="{7D453BA0-ABB9-48BD-A72A-7BA8CA78058D}"/>
              </a:ext>
            </a:extLst>
          </p:cNvPr>
          <p:cNvSpPr txBox="1">
            <a:spLocks/>
          </p:cNvSpPr>
          <p:nvPr/>
        </p:nvSpPr>
        <p:spPr>
          <a:xfrm>
            <a:off x="3352800" y="1123950"/>
            <a:ext cx="4925337" cy="3829388"/>
          </a:xfrm>
          <a:prstGeom prst="rect">
            <a:avLst/>
          </a:prstGeom>
          <a:noFill/>
          <a:ln>
            <a:noFill/>
          </a:ln>
        </p:spPr>
        <p:txBody>
          <a:bodyPr spcFirstLastPara="1" vert="horz" wrap="square" lIns="91440" tIns="45720" rIns="91440" bIns="45720" rtlCol="0"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1pPr>
            <a:lvl2pPr marL="914400" marR="0" lvl="1"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2pPr>
            <a:lvl3pPr marL="1371600" marR="0" lvl="2"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3pPr>
            <a:lvl4pPr marL="1828800" marR="0" lvl="3"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4pPr>
            <a:lvl5pPr marL="2286000" marR="0" lvl="4"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5pPr>
            <a:lvl6pPr marL="2743200" marR="0" lvl="5"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6pPr>
            <a:lvl7pPr marL="3200400" marR="0" lvl="6"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7pPr>
            <a:lvl8pPr marL="3657600" marR="0" lvl="7"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8pPr>
            <a:lvl9pPr marL="4114800" marR="0" lvl="8" indent="-317500" algn="l" rtl="0">
              <a:lnSpc>
                <a:spcPct val="100000"/>
              </a:lnSpc>
              <a:spcBef>
                <a:spcPts val="0"/>
              </a:spcBef>
              <a:spcAft>
                <a:spcPts val="0"/>
              </a:spcAft>
              <a:buClr>
                <a:srgbClr val="434343"/>
              </a:buClr>
              <a:buSzPts val="1400"/>
              <a:buFont typeface="Lato"/>
              <a:buNone/>
              <a:defRPr sz="1400" b="0" i="0" u="none" strike="noStrike" cap="none">
                <a:solidFill>
                  <a:srgbClr val="434343"/>
                </a:solidFill>
                <a:latin typeface="Lato"/>
                <a:ea typeface="Lato"/>
                <a:cs typeface="Lato"/>
                <a:sym typeface="Lato"/>
              </a:defRPr>
            </a:lvl9pPr>
          </a:lstStyle>
          <a:p>
            <a:pPr marL="0" defTabSz="914400" rtl="0" eaLnBrk="1" latinLnBrk="0" hangingPunct="1">
              <a:lnSpc>
                <a:spcPct val="150000"/>
              </a:lnSpc>
              <a:buFont typeface="Wingdings" panose="05000000000000000000" pitchFamily="2" charset="2"/>
              <a:buChar char="§"/>
            </a:pPr>
            <a:r>
              <a:rPr lang="en-US" kern="1200" dirty="0">
                <a:solidFill>
                  <a:schemeClr val="tx1"/>
                </a:solidFill>
                <a:latin typeface="Gotham Medium" panose="02000603030000020004" pitchFamily="2" charset="0"/>
              </a:rPr>
              <a:t>Marine Engineering</a:t>
            </a:r>
          </a:p>
          <a:p>
            <a:pPr marL="0">
              <a:lnSpc>
                <a:spcPct val="150000"/>
              </a:lnSpc>
              <a:buFont typeface="Wingdings" panose="05000000000000000000" pitchFamily="2" charset="2"/>
              <a:buChar char="§"/>
            </a:pPr>
            <a:r>
              <a:rPr lang="en-US" kern="1200" dirty="0">
                <a:solidFill>
                  <a:schemeClr val="tx1"/>
                </a:solidFill>
                <a:latin typeface="Gotham Medium" panose="02000603030000020004" pitchFamily="2" charset="0"/>
              </a:rPr>
              <a:t>Bio–Medical Engineering</a:t>
            </a:r>
            <a:endParaRPr lang="en-US" kern="1200" dirty="0">
              <a:solidFill>
                <a:schemeClr val="tx1"/>
              </a:solidFill>
              <a:latin typeface="Gotham Medium" panose="02000603030000020004" pitchFamily="2" charset="0"/>
              <a:ea typeface="+mn-ea"/>
              <a:cs typeface="+mn-cs"/>
            </a:endParaRPr>
          </a:p>
          <a:p>
            <a:pPr marL="0">
              <a:lnSpc>
                <a:spcPct val="150000"/>
              </a:lnSpc>
              <a:buFont typeface="Wingdings" panose="05000000000000000000" pitchFamily="2" charset="2"/>
              <a:buChar char="§"/>
            </a:pPr>
            <a:r>
              <a:rPr lang="en-US" kern="1200" dirty="0">
                <a:solidFill>
                  <a:schemeClr val="tx1"/>
                </a:solidFill>
                <a:latin typeface="Gotham Medium" panose="02000603030000020004" pitchFamily="2" charset="0"/>
              </a:rPr>
              <a:t>Bioinformatics</a:t>
            </a:r>
            <a:endParaRPr lang="en-US" kern="1200" dirty="0">
              <a:solidFill>
                <a:schemeClr val="tx1"/>
              </a:solidFill>
              <a:latin typeface="Gotham Medium" panose="02000603030000020004" pitchFamily="2" charset="0"/>
              <a:ea typeface="+mn-ea"/>
              <a:cs typeface="+mn-cs"/>
            </a:endParaRPr>
          </a:p>
          <a:p>
            <a:pPr marL="0">
              <a:lnSpc>
                <a:spcPct val="150000"/>
              </a:lnSpc>
              <a:buFont typeface="Wingdings" panose="05000000000000000000" pitchFamily="2" charset="2"/>
              <a:buChar char="§"/>
            </a:pPr>
            <a:r>
              <a:rPr lang="en-US" kern="1200" dirty="0">
                <a:solidFill>
                  <a:schemeClr val="tx1"/>
                </a:solidFill>
                <a:latin typeface="Gotham Medium" panose="02000603030000020004" pitchFamily="2" charset="0"/>
              </a:rPr>
              <a:t>Nuclear Engineering</a:t>
            </a:r>
            <a:endParaRPr lang="en-US" kern="1200" dirty="0">
              <a:solidFill>
                <a:schemeClr val="tx1"/>
              </a:solidFill>
              <a:latin typeface="Gotham Medium" panose="02000603030000020004" pitchFamily="2" charset="0"/>
              <a:ea typeface="+mn-ea"/>
              <a:cs typeface="+mn-cs"/>
            </a:endParaRPr>
          </a:p>
          <a:p>
            <a:pPr marL="0" defTabSz="914400" rtl="0" eaLnBrk="1" latinLnBrk="0" hangingPunct="1">
              <a:lnSpc>
                <a:spcPct val="150000"/>
              </a:lnSpc>
              <a:buFont typeface="Wingdings" panose="05000000000000000000" pitchFamily="2" charset="2"/>
              <a:buChar char="§"/>
            </a:pPr>
            <a:r>
              <a:rPr lang="en-US" dirty="0">
                <a:solidFill>
                  <a:schemeClr val="tx1"/>
                </a:solidFill>
                <a:latin typeface="Gotham Medium" panose="02000603030000020004" pitchFamily="2" charset="0"/>
              </a:rPr>
              <a:t>Petroleum Engineering</a:t>
            </a:r>
          </a:p>
          <a:p>
            <a:pPr marL="0" defTabSz="914400" rtl="0" eaLnBrk="1" latinLnBrk="0" hangingPunct="1">
              <a:lnSpc>
                <a:spcPct val="150000"/>
              </a:lnSpc>
              <a:buFont typeface="Wingdings" panose="05000000000000000000" pitchFamily="2" charset="2"/>
              <a:buChar char="§"/>
            </a:pPr>
            <a:r>
              <a:rPr lang="en-US" dirty="0">
                <a:solidFill>
                  <a:schemeClr val="tx1"/>
                </a:solidFill>
                <a:latin typeface="Gotham Medium" panose="02000603030000020004" pitchFamily="2" charset="0"/>
              </a:rPr>
              <a:t>Polymer Engineering</a:t>
            </a:r>
          </a:p>
          <a:p>
            <a:pPr marL="0" defTabSz="914400" rtl="0" eaLnBrk="1" latinLnBrk="0" hangingPunct="1">
              <a:lnSpc>
                <a:spcPct val="150000"/>
              </a:lnSpc>
              <a:buFont typeface="Wingdings" panose="05000000000000000000" pitchFamily="2" charset="2"/>
              <a:buChar char="§"/>
            </a:pPr>
            <a:r>
              <a:rPr lang="en-US" dirty="0">
                <a:solidFill>
                  <a:schemeClr val="tx1"/>
                </a:solidFill>
                <a:latin typeface="Gotham Medium" panose="02000603030000020004" pitchFamily="2" charset="0"/>
              </a:rPr>
              <a:t>Automobile Engineering</a:t>
            </a:r>
          </a:p>
          <a:p>
            <a:pPr marL="0" defTabSz="914400" rtl="0" eaLnBrk="1" latinLnBrk="0" hangingPunct="1">
              <a:lnSpc>
                <a:spcPct val="150000"/>
              </a:lnSpc>
              <a:buFont typeface="Wingdings" panose="05000000000000000000" pitchFamily="2" charset="2"/>
              <a:buChar char="§"/>
            </a:pPr>
            <a:r>
              <a:rPr lang="en-US" dirty="0">
                <a:solidFill>
                  <a:schemeClr val="tx1"/>
                </a:solidFill>
                <a:latin typeface="Gotham Medium" panose="02000603030000020004" pitchFamily="2" charset="0"/>
              </a:rPr>
              <a:t>Robotics and Automation </a:t>
            </a:r>
          </a:p>
          <a:p>
            <a:pPr marL="0">
              <a:lnSpc>
                <a:spcPct val="150000"/>
              </a:lnSpc>
              <a:buFont typeface="Wingdings" panose="05000000000000000000" pitchFamily="2" charset="2"/>
              <a:buChar char="§"/>
            </a:pPr>
            <a:r>
              <a:rPr lang="en-US" dirty="0">
                <a:solidFill>
                  <a:schemeClr val="tx1"/>
                </a:solidFill>
                <a:latin typeface="Gotham Medium" panose="02000603030000020004" pitchFamily="2" charset="0"/>
              </a:rPr>
              <a:t>Mechatronics </a:t>
            </a:r>
          </a:p>
          <a:p>
            <a:pPr marL="0">
              <a:lnSpc>
                <a:spcPct val="150000"/>
              </a:lnSpc>
              <a:buFont typeface="Wingdings" panose="05000000000000000000" pitchFamily="2" charset="2"/>
              <a:buChar char="§"/>
            </a:pPr>
            <a:r>
              <a:rPr lang="en-US" dirty="0">
                <a:solidFill>
                  <a:schemeClr val="tx1"/>
                </a:solidFill>
                <a:latin typeface="Gotham Medium" panose="02000603030000020004" pitchFamily="2" charset="0"/>
              </a:rPr>
              <a:t>Metallurgy </a:t>
            </a:r>
            <a:r>
              <a:rPr lang="en-US" kern="1200" dirty="0">
                <a:solidFill>
                  <a:schemeClr val="tx1"/>
                </a:solidFill>
                <a:latin typeface="Gotham Medium" panose="02000603030000020004" pitchFamily="2" charset="0"/>
              </a:rPr>
              <a:t>Engineering</a:t>
            </a:r>
            <a:endParaRPr lang="en-US" kern="1200" dirty="0">
              <a:solidFill>
                <a:schemeClr val="tx1"/>
              </a:solidFill>
              <a:latin typeface="Gotham Medium" panose="02000603030000020004" pitchFamily="2" charset="0"/>
              <a:ea typeface="+mn-ea"/>
              <a:cs typeface="+mn-cs"/>
            </a:endParaRPr>
          </a:p>
          <a:p>
            <a:pPr marL="0">
              <a:lnSpc>
                <a:spcPct val="150000"/>
              </a:lnSpc>
              <a:buFont typeface="Wingdings" panose="05000000000000000000" pitchFamily="2" charset="2"/>
              <a:buChar char="§"/>
            </a:pPr>
            <a:r>
              <a:rPr lang="en-US" dirty="0">
                <a:solidFill>
                  <a:schemeClr val="tx1"/>
                </a:solidFill>
                <a:latin typeface="Gotham Medium" panose="02000603030000020004" pitchFamily="2" charset="0"/>
              </a:rPr>
              <a:t>Instrumentation </a:t>
            </a:r>
            <a:r>
              <a:rPr lang="en-US" kern="1200" dirty="0">
                <a:solidFill>
                  <a:schemeClr val="tx1"/>
                </a:solidFill>
                <a:latin typeface="Gotham Medium" panose="02000603030000020004" pitchFamily="2" charset="0"/>
              </a:rPr>
              <a:t>Engineering</a:t>
            </a:r>
            <a:endParaRPr lang="en-US" kern="1200" dirty="0">
              <a:solidFill>
                <a:schemeClr val="tx1"/>
              </a:solidFill>
              <a:latin typeface="Gotham Medium" panose="02000603030000020004" pitchFamily="2" charset="0"/>
              <a:ea typeface="+mn-ea"/>
              <a:cs typeface="+mn-cs"/>
            </a:endParaRPr>
          </a:p>
          <a:p>
            <a:pPr marL="0">
              <a:lnSpc>
                <a:spcPct val="150000"/>
              </a:lnSpc>
              <a:buFont typeface="Wingdings" panose="05000000000000000000" pitchFamily="2" charset="2"/>
              <a:buChar char="§"/>
            </a:pPr>
            <a:r>
              <a:rPr lang="en-US" dirty="0">
                <a:solidFill>
                  <a:schemeClr val="tx1"/>
                </a:solidFill>
                <a:latin typeface="Gotham Medium" panose="02000603030000020004" pitchFamily="2" charset="0"/>
              </a:rPr>
              <a:t>Environmental </a:t>
            </a:r>
            <a:r>
              <a:rPr lang="en-US" kern="1200" dirty="0">
                <a:solidFill>
                  <a:schemeClr val="tx1"/>
                </a:solidFill>
                <a:latin typeface="Gotham Medium" panose="02000603030000020004" pitchFamily="2" charset="0"/>
              </a:rPr>
              <a:t>Engineering</a:t>
            </a:r>
            <a:endParaRPr lang="en-US" dirty="0">
              <a:solidFill>
                <a:schemeClr val="tx1"/>
              </a:solidFill>
              <a:latin typeface="Gotham Medium" panose="02000603030000020004" pitchFamily="2" charset="0"/>
            </a:endParaRPr>
          </a:p>
          <a:p>
            <a:pPr marL="0" defTabSz="914400" rtl="0" eaLnBrk="1" latinLnBrk="0" hangingPunct="1">
              <a:lnSpc>
                <a:spcPct val="150000"/>
              </a:lnSpc>
              <a:buFont typeface="Wingdings" panose="05000000000000000000" pitchFamily="2" charset="2"/>
              <a:buChar char="§"/>
            </a:pPr>
            <a:endParaRPr lang="en-US" dirty="0">
              <a:solidFill>
                <a:schemeClr val="tx1"/>
              </a:solidFill>
              <a:latin typeface="Gotham Medium" panose="02000603030000020004" pitchFamily="2" charset="0"/>
            </a:endParaRPr>
          </a:p>
        </p:txBody>
      </p:sp>
    </p:spTree>
    <p:extLst>
      <p:ext uri="{BB962C8B-B14F-4D97-AF65-F5344CB8AC3E}">
        <p14:creationId xmlns:p14="http://schemas.microsoft.com/office/powerpoint/2010/main" val="4131898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77" descr="Presentations background 3D model - TurboSquid 1163407">
            <a:extLst>
              <a:ext uri="{FF2B5EF4-FFF2-40B4-BE49-F238E27FC236}">
                <a16:creationId xmlns:a16="http://schemas.microsoft.com/office/drawing/2014/main" id="{3E618D2C-93F4-4E7D-8B0E-32C625149D89}"/>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0" y="-1"/>
            <a:ext cx="9142412" cy="51435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6BAE015D-47D1-4E48-8E90-3697142C75CA}"/>
              </a:ext>
            </a:extLst>
          </p:cNvPr>
          <p:cNvSpPr/>
          <p:nvPr/>
        </p:nvSpPr>
        <p:spPr>
          <a:xfrm>
            <a:off x="2057400" y="1872476"/>
            <a:ext cx="7086600" cy="1496146"/>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grpSp>
        <p:nvGrpSpPr>
          <p:cNvPr id="2" name="Group 1">
            <a:extLst>
              <a:ext uri="{FF2B5EF4-FFF2-40B4-BE49-F238E27FC236}">
                <a16:creationId xmlns:a16="http://schemas.microsoft.com/office/drawing/2014/main" id="{54EEDD90-704E-4878-AF8D-68076816A27C}"/>
              </a:ext>
            </a:extLst>
          </p:cNvPr>
          <p:cNvGrpSpPr/>
          <p:nvPr/>
        </p:nvGrpSpPr>
        <p:grpSpPr>
          <a:xfrm>
            <a:off x="268941" y="742950"/>
            <a:ext cx="2438400" cy="3496230"/>
            <a:chOff x="457200" y="590550"/>
            <a:chExt cx="2979057" cy="4182030"/>
          </a:xfrm>
        </p:grpSpPr>
        <p:sp>
          <p:nvSpPr>
            <p:cNvPr id="12" name="Freeform: Shape 11">
              <a:extLst>
                <a:ext uri="{FF2B5EF4-FFF2-40B4-BE49-F238E27FC236}">
                  <a16:creationId xmlns:a16="http://schemas.microsoft.com/office/drawing/2014/main" id="{07097967-BC15-498E-939C-AE11970C5D94}"/>
                </a:ext>
              </a:extLst>
            </p:cNvPr>
            <p:cNvSpPr>
              <a:spLocks/>
            </p:cNvSpPr>
            <p:nvPr/>
          </p:nvSpPr>
          <p:spPr bwMode="auto">
            <a:xfrm rot="410959" flipH="1">
              <a:off x="794188" y="1474662"/>
              <a:ext cx="2305082" cy="3297918"/>
            </a:xfrm>
            <a:custGeom>
              <a:avLst/>
              <a:gdLst>
                <a:gd name="connsiteX0" fmla="*/ 1696267 w 2854049"/>
                <a:gd name="connsiteY0" fmla="*/ 3431657 h 4135471"/>
                <a:gd name="connsiteX1" fmla="*/ 1344360 w 2854049"/>
                <a:gd name="connsiteY1" fmla="*/ 3783564 h 4135471"/>
                <a:gd name="connsiteX2" fmla="*/ 1696267 w 2854049"/>
                <a:gd name="connsiteY2" fmla="*/ 4135471 h 4135471"/>
                <a:gd name="connsiteX3" fmla="*/ 2048174 w 2854049"/>
                <a:gd name="connsiteY3" fmla="*/ 3783564 h 4135471"/>
                <a:gd name="connsiteX4" fmla="*/ 1696267 w 2854049"/>
                <a:gd name="connsiteY4" fmla="*/ 3431657 h 4135471"/>
                <a:gd name="connsiteX5" fmla="*/ 1470680 w 2854049"/>
                <a:gd name="connsiteY5" fmla="*/ 0 h 4135471"/>
                <a:gd name="connsiteX6" fmla="*/ 1360088 w 2854049"/>
                <a:gd name="connsiteY6" fmla="*/ 9020 h 4135471"/>
                <a:gd name="connsiteX7" fmla="*/ 1082638 w 2854049"/>
                <a:gd name="connsiteY7" fmla="*/ 72152 h 4135471"/>
                <a:gd name="connsiteX8" fmla="*/ 1000179 w 2854049"/>
                <a:gd name="connsiteY8" fmla="*/ 103217 h 4135471"/>
                <a:gd name="connsiteX9" fmla="*/ 918691 w 2854049"/>
                <a:gd name="connsiteY9" fmla="*/ 138291 h 4135471"/>
                <a:gd name="connsiteX10" fmla="*/ 839141 w 2854049"/>
                <a:gd name="connsiteY10" fmla="*/ 180379 h 4135471"/>
                <a:gd name="connsiteX11" fmla="*/ 765414 w 2854049"/>
                <a:gd name="connsiteY11" fmla="*/ 227479 h 4135471"/>
                <a:gd name="connsiteX12" fmla="*/ 694595 w 2854049"/>
                <a:gd name="connsiteY12" fmla="*/ 280591 h 4135471"/>
                <a:gd name="connsiteX13" fmla="*/ 629599 w 2854049"/>
                <a:gd name="connsiteY13" fmla="*/ 338714 h 4135471"/>
                <a:gd name="connsiteX14" fmla="*/ 569452 w 2854049"/>
                <a:gd name="connsiteY14" fmla="*/ 401847 h 4135471"/>
                <a:gd name="connsiteX15" fmla="*/ 515126 w 2854049"/>
                <a:gd name="connsiteY15" fmla="*/ 470992 h 4135471"/>
                <a:gd name="connsiteX16" fmla="*/ 467591 w 2854049"/>
                <a:gd name="connsiteY16" fmla="*/ 544147 h 4135471"/>
                <a:gd name="connsiteX17" fmla="*/ 426847 w 2854049"/>
                <a:gd name="connsiteY17" fmla="*/ 622311 h 4135471"/>
                <a:gd name="connsiteX18" fmla="*/ 392893 w 2854049"/>
                <a:gd name="connsiteY18" fmla="*/ 706488 h 4135471"/>
                <a:gd name="connsiteX19" fmla="*/ 338568 w 2854049"/>
                <a:gd name="connsiteY19" fmla="*/ 937976 h 4135471"/>
                <a:gd name="connsiteX20" fmla="*/ 333717 w 2854049"/>
                <a:gd name="connsiteY20" fmla="*/ 994094 h 4135471"/>
                <a:gd name="connsiteX21" fmla="*/ 331776 w 2854049"/>
                <a:gd name="connsiteY21" fmla="*/ 1047206 h 4135471"/>
                <a:gd name="connsiteX22" fmla="*/ 333717 w 2854049"/>
                <a:gd name="connsiteY22" fmla="*/ 1096308 h 4135471"/>
                <a:gd name="connsiteX23" fmla="*/ 334686 w 2854049"/>
                <a:gd name="connsiteY23" fmla="*/ 1145413 h 4135471"/>
                <a:gd name="connsiteX24" fmla="*/ 334686 w 2854049"/>
                <a:gd name="connsiteY24" fmla="*/ 1191509 h 4135471"/>
                <a:gd name="connsiteX25" fmla="*/ 329836 w 2854049"/>
                <a:gd name="connsiteY25" fmla="*/ 1234599 h 4135471"/>
                <a:gd name="connsiteX26" fmla="*/ 315284 w 2854049"/>
                <a:gd name="connsiteY26" fmla="*/ 1278693 h 4135471"/>
                <a:gd name="connsiteX27" fmla="*/ 289092 w 2854049"/>
                <a:gd name="connsiteY27" fmla="*/ 1331805 h 4135471"/>
                <a:gd name="connsiteX28" fmla="*/ 257078 w 2854049"/>
                <a:gd name="connsiteY28" fmla="*/ 1380908 h 4135471"/>
                <a:gd name="connsiteX29" fmla="*/ 222155 w 2854049"/>
                <a:gd name="connsiteY29" fmla="*/ 1423998 h 4135471"/>
                <a:gd name="connsiteX30" fmla="*/ 185291 w 2854049"/>
                <a:gd name="connsiteY30" fmla="*/ 1468092 h 4135471"/>
                <a:gd name="connsiteX31" fmla="*/ 146487 w 2854049"/>
                <a:gd name="connsiteY31" fmla="*/ 1508176 h 4135471"/>
                <a:gd name="connsiteX32" fmla="*/ 107683 w 2854049"/>
                <a:gd name="connsiteY32" fmla="*/ 1548261 h 4135471"/>
                <a:gd name="connsiteX33" fmla="*/ 70819 w 2854049"/>
                <a:gd name="connsiteY33" fmla="*/ 1592354 h 4135471"/>
                <a:gd name="connsiteX34" fmla="*/ 58206 w 2854049"/>
                <a:gd name="connsiteY34" fmla="*/ 1604378 h 4135471"/>
                <a:gd name="connsiteX35" fmla="*/ 42684 w 2854049"/>
                <a:gd name="connsiteY35" fmla="*/ 1619410 h 4135471"/>
                <a:gd name="connsiteX36" fmla="*/ 26193 w 2854049"/>
                <a:gd name="connsiteY36" fmla="*/ 1637448 h 4135471"/>
                <a:gd name="connsiteX37" fmla="*/ 12611 w 2854049"/>
                <a:gd name="connsiteY37" fmla="*/ 1655486 h 4135471"/>
                <a:gd name="connsiteX38" fmla="*/ 3882 w 2854049"/>
                <a:gd name="connsiteY38" fmla="*/ 1677533 h 4135471"/>
                <a:gd name="connsiteX39" fmla="*/ 0 w 2854049"/>
                <a:gd name="connsiteY39" fmla="*/ 1701583 h 4135471"/>
                <a:gd name="connsiteX40" fmla="*/ 4851 w 2854049"/>
                <a:gd name="connsiteY40" fmla="*/ 1726636 h 4135471"/>
                <a:gd name="connsiteX41" fmla="*/ 17462 w 2854049"/>
                <a:gd name="connsiteY41" fmla="*/ 1750687 h 4135471"/>
                <a:gd name="connsiteX42" fmla="*/ 38806 w 2854049"/>
                <a:gd name="connsiteY42" fmla="*/ 1770728 h 4135471"/>
                <a:gd name="connsiteX43" fmla="*/ 63057 w 2854049"/>
                <a:gd name="connsiteY43" fmla="*/ 1784759 h 4135471"/>
                <a:gd name="connsiteX44" fmla="*/ 93130 w 2854049"/>
                <a:gd name="connsiteY44" fmla="*/ 1797786 h 4135471"/>
                <a:gd name="connsiteX45" fmla="*/ 125143 w 2854049"/>
                <a:gd name="connsiteY45" fmla="*/ 1808809 h 4135471"/>
                <a:gd name="connsiteX46" fmla="*/ 157158 w 2854049"/>
                <a:gd name="connsiteY46" fmla="*/ 1819833 h 4135471"/>
                <a:gd name="connsiteX47" fmla="*/ 188201 w 2854049"/>
                <a:gd name="connsiteY47" fmla="*/ 1830855 h 4135471"/>
                <a:gd name="connsiteX48" fmla="*/ 218273 w 2854049"/>
                <a:gd name="connsiteY48" fmla="*/ 1843883 h 4135471"/>
                <a:gd name="connsiteX49" fmla="*/ 245437 w 2854049"/>
                <a:gd name="connsiteY49" fmla="*/ 1857912 h 4135471"/>
                <a:gd name="connsiteX50" fmla="*/ 264839 w 2854049"/>
                <a:gd name="connsiteY50" fmla="*/ 1875951 h 4135471"/>
                <a:gd name="connsiteX51" fmla="*/ 259018 w 2854049"/>
                <a:gd name="connsiteY51" fmla="*/ 1900001 h 4135471"/>
                <a:gd name="connsiteX52" fmla="*/ 248347 w 2854049"/>
                <a:gd name="connsiteY52" fmla="*/ 1922047 h 4135471"/>
                <a:gd name="connsiteX53" fmla="*/ 237676 w 2854049"/>
                <a:gd name="connsiteY53" fmla="*/ 1945097 h 4135471"/>
                <a:gd name="connsiteX54" fmla="*/ 226035 w 2854049"/>
                <a:gd name="connsiteY54" fmla="*/ 1967142 h 4135471"/>
                <a:gd name="connsiteX55" fmla="*/ 215364 w 2854049"/>
                <a:gd name="connsiteY55" fmla="*/ 1989189 h 4135471"/>
                <a:gd name="connsiteX56" fmla="*/ 207602 w 2854049"/>
                <a:gd name="connsiteY56" fmla="*/ 2011236 h 4135471"/>
                <a:gd name="connsiteX57" fmla="*/ 204693 w 2854049"/>
                <a:gd name="connsiteY57" fmla="*/ 2031277 h 4135471"/>
                <a:gd name="connsiteX58" fmla="*/ 206633 w 2854049"/>
                <a:gd name="connsiteY58" fmla="*/ 2053324 h 4135471"/>
                <a:gd name="connsiteX59" fmla="*/ 217304 w 2854049"/>
                <a:gd name="connsiteY59" fmla="*/ 2073366 h 4135471"/>
                <a:gd name="connsiteX60" fmla="*/ 236706 w 2854049"/>
                <a:gd name="connsiteY60" fmla="*/ 2093409 h 4135471"/>
                <a:gd name="connsiteX61" fmla="*/ 264839 w 2854049"/>
                <a:gd name="connsiteY61" fmla="*/ 2113450 h 4135471"/>
                <a:gd name="connsiteX62" fmla="*/ 259018 w 2854049"/>
                <a:gd name="connsiteY62" fmla="*/ 2129483 h 4135471"/>
                <a:gd name="connsiteX63" fmla="*/ 250288 w 2854049"/>
                <a:gd name="connsiteY63" fmla="*/ 2145517 h 4135471"/>
                <a:gd name="connsiteX64" fmla="*/ 243497 w 2854049"/>
                <a:gd name="connsiteY64" fmla="*/ 2164557 h 4135471"/>
                <a:gd name="connsiteX65" fmla="*/ 241557 w 2854049"/>
                <a:gd name="connsiteY65" fmla="*/ 2184601 h 4135471"/>
                <a:gd name="connsiteX66" fmla="*/ 245437 w 2854049"/>
                <a:gd name="connsiteY66" fmla="*/ 2204642 h 4135471"/>
                <a:gd name="connsiteX67" fmla="*/ 256109 w 2854049"/>
                <a:gd name="connsiteY67" fmla="*/ 2222680 h 4135471"/>
                <a:gd name="connsiteX68" fmla="*/ 269690 w 2854049"/>
                <a:gd name="connsiteY68" fmla="*/ 2236709 h 4135471"/>
                <a:gd name="connsiteX69" fmla="*/ 287151 w 2854049"/>
                <a:gd name="connsiteY69" fmla="*/ 2249737 h 4135471"/>
                <a:gd name="connsiteX70" fmla="*/ 304613 w 2854049"/>
                <a:gd name="connsiteY70" fmla="*/ 2258756 h 4135471"/>
                <a:gd name="connsiteX71" fmla="*/ 321105 w 2854049"/>
                <a:gd name="connsiteY71" fmla="*/ 2269780 h 4135471"/>
                <a:gd name="connsiteX72" fmla="*/ 336627 w 2854049"/>
                <a:gd name="connsiteY72" fmla="*/ 2284810 h 4135471"/>
                <a:gd name="connsiteX73" fmla="*/ 345358 w 2854049"/>
                <a:gd name="connsiteY73" fmla="*/ 2300845 h 4135471"/>
                <a:gd name="connsiteX74" fmla="*/ 354089 w 2854049"/>
                <a:gd name="connsiteY74" fmla="*/ 2329906 h 4135471"/>
                <a:gd name="connsiteX75" fmla="*/ 354089 w 2854049"/>
                <a:gd name="connsiteY75" fmla="*/ 2362976 h 4135471"/>
                <a:gd name="connsiteX76" fmla="*/ 351179 w 2854049"/>
                <a:gd name="connsiteY76" fmla="*/ 2394041 h 4135471"/>
                <a:gd name="connsiteX77" fmla="*/ 343417 w 2854049"/>
                <a:gd name="connsiteY77" fmla="*/ 2426108 h 4135471"/>
                <a:gd name="connsiteX78" fmla="*/ 336627 w 2854049"/>
                <a:gd name="connsiteY78" fmla="*/ 2457173 h 4135471"/>
                <a:gd name="connsiteX79" fmla="*/ 331776 w 2854049"/>
                <a:gd name="connsiteY79" fmla="*/ 2485233 h 4135471"/>
                <a:gd name="connsiteX80" fmla="*/ 327896 w 2854049"/>
                <a:gd name="connsiteY80" fmla="*/ 2525318 h 4135471"/>
                <a:gd name="connsiteX81" fmla="*/ 331776 w 2854049"/>
                <a:gd name="connsiteY81" fmla="*/ 2561393 h 4135471"/>
                <a:gd name="connsiteX82" fmla="*/ 342447 w 2854049"/>
                <a:gd name="connsiteY82" fmla="*/ 2594464 h 4135471"/>
                <a:gd name="connsiteX83" fmla="*/ 356029 w 2854049"/>
                <a:gd name="connsiteY83" fmla="*/ 2623524 h 4135471"/>
                <a:gd name="connsiteX84" fmla="*/ 375432 w 2854049"/>
                <a:gd name="connsiteY84" fmla="*/ 2646572 h 4135471"/>
                <a:gd name="connsiteX85" fmla="*/ 400654 w 2854049"/>
                <a:gd name="connsiteY85" fmla="*/ 2668619 h 4135471"/>
                <a:gd name="connsiteX86" fmla="*/ 424906 w 2854049"/>
                <a:gd name="connsiteY86" fmla="*/ 2686657 h 4135471"/>
                <a:gd name="connsiteX87" fmla="*/ 453040 w 2854049"/>
                <a:gd name="connsiteY87" fmla="*/ 2701688 h 4135471"/>
                <a:gd name="connsiteX88" fmla="*/ 481173 w 2854049"/>
                <a:gd name="connsiteY88" fmla="*/ 2714717 h 4135471"/>
                <a:gd name="connsiteX89" fmla="*/ 509306 w 2854049"/>
                <a:gd name="connsiteY89" fmla="*/ 2721731 h 4135471"/>
                <a:gd name="connsiteX90" fmla="*/ 560721 w 2854049"/>
                <a:gd name="connsiteY90" fmla="*/ 2730751 h 4135471"/>
                <a:gd name="connsiteX91" fmla="*/ 615047 w 2854049"/>
                <a:gd name="connsiteY91" fmla="*/ 2734758 h 4135471"/>
                <a:gd name="connsiteX92" fmla="*/ 672284 w 2854049"/>
                <a:gd name="connsiteY92" fmla="*/ 2732755 h 4135471"/>
                <a:gd name="connsiteX93" fmla="*/ 728550 w 2854049"/>
                <a:gd name="connsiteY93" fmla="*/ 2726742 h 4135471"/>
                <a:gd name="connsiteX94" fmla="*/ 784816 w 2854049"/>
                <a:gd name="connsiteY94" fmla="*/ 2719726 h 4135471"/>
                <a:gd name="connsiteX95" fmla="*/ 838171 w 2854049"/>
                <a:gd name="connsiteY95" fmla="*/ 2708704 h 4135471"/>
                <a:gd name="connsiteX96" fmla="*/ 885706 w 2854049"/>
                <a:gd name="connsiteY96" fmla="*/ 2695677 h 4135471"/>
                <a:gd name="connsiteX97" fmla="*/ 927421 w 2854049"/>
                <a:gd name="connsiteY97" fmla="*/ 2681646 h 4135471"/>
                <a:gd name="connsiteX98" fmla="*/ 944882 w 2854049"/>
                <a:gd name="connsiteY98" fmla="*/ 2675633 h 4135471"/>
                <a:gd name="connsiteX99" fmla="*/ 968165 w 2854049"/>
                <a:gd name="connsiteY99" fmla="*/ 2668619 h 4135471"/>
                <a:gd name="connsiteX100" fmla="*/ 993388 w 2854049"/>
                <a:gd name="connsiteY100" fmla="*/ 2661605 h 4135471"/>
                <a:gd name="connsiteX101" fmla="*/ 1019581 w 2854049"/>
                <a:gd name="connsiteY101" fmla="*/ 2654590 h 4135471"/>
                <a:gd name="connsiteX102" fmla="*/ 1047714 w 2854049"/>
                <a:gd name="connsiteY102" fmla="*/ 2650582 h 4135471"/>
                <a:gd name="connsiteX103" fmla="*/ 1075847 w 2854049"/>
                <a:gd name="connsiteY103" fmla="*/ 2648577 h 4135471"/>
                <a:gd name="connsiteX104" fmla="*/ 1100100 w 2854049"/>
                <a:gd name="connsiteY104" fmla="*/ 2652585 h 4135471"/>
                <a:gd name="connsiteX105" fmla="*/ 1121442 w 2854049"/>
                <a:gd name="connsiteY105" fmla="*/ 2661605 h 4135471"/>
                <a:gd name="connsiteX106" fmla="*/ 1140844 w 2854049"/>
                <a:gd name="connsiteY106" fmla="*/ 2679643 h 4135471"/>
                <a:gd name="connsiteX107" fmla="*/ 1158306 w 2854049"/>
                <a:gd name="connsiteY107" fmla="*/ 2708704 h 4135471"/>
                <a:gd name="connsiteX108" fmla="*/ 1174797 w 2854049"/>
                <a:gd name="connsiteY108" fmla="*/ 2745782 h 4135471"/>
                <a:gd name="connsiteX109" fmla="*/ 1190319 w 2854049"/>
                <a:gd name="connsiteY109" fmla="*/ 2788872 h 4135471"/>
                <a:gd name="connsiteX110" fmla="*/ 1202931 w 2854049"/>
                <a:gd name="connsiteY110" fmla="*/ 2837975 h 4135471"/>
                <a:gd name="connsiteX111" fmla="*/ 1215541 w 2854049"/>
                <a:gd name="connsiteY111" fmla="*/ 2889083 h 4135471"/>
                <a:gd name="connsiteX112" fmla="*/ 1226212 w 2854049"/>
                <a:gd name="connsiteY112" fmla="*/ 2942195 h 4135471"/>
                <a:gd name="connsiteX113" fmla="*/ 1235914 w 2854049"/>
                <a:gd name="connsiteY113" fmla="*/ 2996309 h 4135471"/>
                <a:gd name="connsiteX114" fmla="*/ 1245616 w 2854049"/>
                <a:gd name="connsiteY114" fmla="*/ 3049421 h 4135471"/>
                <a:gd name="connsiteX115" fmla="*/ 1252407 w 2854049"/>
                <a:gd name="connsiteY115" fmla="*/ 3098524 h 4135471"/>
                <a:gd name="connsiteX116" fmla="*/ 1261138 w 2854049"/>
                <a:gd name="connsiteY116" fmla="*/ 3144621 h 4135471"/>
                <a:gd name="connsiteX117" fmla="*/ 1267927 w 2854049"/>
                <a:gd name="connsiteY117" fmla="*/ 3182701 h 4135471"/>
                <a:gd name="connsiteX118" fmla="*/ 1273749 w 2854049"/>
                <a:gd name="connsiteY118" fmla="*/ 3215771 h 4135471"/>
                <a:gd name="connsiteX119" fmla="*/ 1405683 w 2854049"/>
                <a:gd name="connsiteY119" fmla="*/ 3238820 h 4135471"/>
                <a:gd name="connsiteX120" fmla="*/ 1539558 w 2854049"/>
                <a:gd name="connsiteY120" fmla="*/ 3251847 h 4135471"/>
                <a:gd name="connsiteX121" fmla="*/ 1677312 w 2854049"/>
                <a:gd name="connsiteY121" fmla="*/ 3253851 h 4135471"/>
                <a:gd name="connsiteX122" fmla="*/ 1817977 w 2854049"/>
                <a:gd name="connsiteY122" fmla="*/ 3246837 h 4135471"/>
                <a:gd name="connsiteX123" fmla="*/ 1963493 w 2854049"/>
                <a:gd name="connsiteY123" fmla="*/ 3226793 h 4135471"/>
                <a:gd name="connsiteX124" fmla="*/ 1998071 w 2854049"/>
                <a:gd name="connsiteY124" fmla="*/ 3220300 h 4135471"/>
                <a:gd name="connsiteX125" fmla="*/ 1972544 w 2854049"/>
                <a:gd name="connsiteY125" fmla="*/ 2990832 h 4135471"/>
                <a:gd name="connsiteX126" fmla="*/ 1866104 w 2854049"/>
                <a:gd name="connsiteY126" fmla="*/ 2529483 h 4135471"/>
                <a:gd name="connsiteX127" fmla="*/ 1085631 w 2854049"/>
                <a:gd name="connsiteY127" fmla="*/ 1773024 h 4135471"/>
                <a:gd name="connsiteX128" fmla="*/ 1277747 w 2854049"/>
                <a:gd name="connsiteY128" fmla="*/ 968535 h 4135471"/>
                <a:gd name="connsiteX129" fmla="*/ 1914134 w 2854049"/>
                <a:gd name="connsiteY129" fmla="*/ 872477 h 4135471"/>
                <a:gd name="connsiteX130" fmla="*/ 2334389 w 2854049"/>
                <a:gd name="connsiteY130" fmla="*/ 1316747 h 4135471"/>
                <a:gd name="connsiteX131" fmla="*/ 2850702 w 2854049"/>
                <a:gd name="connsiteY131" fmla="*/ 1256710 h 4135471"/>
                <a:gd name="connsiteX132" fmla="*/ 2851858 w 2854049"/>
                <a:gd name="connsiteY132" fmla="*/ 1288484 h 4135471"/>
                <a:gd name="connsiteX133" fmla="*/ 2854049 w 2854049"/>
                <a:gd name="connsiteY133" fmla="*/ 1252639 h 4135471"/>
                <a:gd name="connsiteX134" fmla="*/ 2852109 w 2854049"/>
                <a:gd name="connsiteY134" fmla="*/ 1156435 h 4135471"/>
                <a:gd name="connsiteX135" fmla="*/ 2845318 w 2854049"/>
                <a:gd name="connsiteY135" fmla="*/ 1062236 h 4135471"/>
                <a:gd name="connsiteX136" fmla="*/ 2830767 w 2854049"/>
                <a:gd name="connsiteY136" fmla="*/ 971045 h 4135471"/>
                <a:gd name="connsiteX137" fmla="*/ 2811365 w 2854049"/>
                <a:gd name="connsiteY137" fmla="*/ 881857 h 4135471"/>
                <a:gd name="connsiteX138" fmla="*/ 2787112 w 2854049"/>
                <a:gd name="connsiteY138" fmla="*/ 799684 h 4135471"/>
                <a:gd name="connsiteX139" fmla="*/ 2759950 w 2854049"/>
                <a:gd name="connsiteY139" fmla="*/ 724526 h 4135471"/>
                <a:gd name="connsiteX140" fmla="*/ 2728906 w 2854049"/>
                <a:gd name="connsiteY140" fmla="*/ 657385 h 4135471"/>
                <a:gd name="connsiteX141" fmla="*/ 2682340 w 2854049"/>
                <a:gd name="connsiteY141" fmla="*/ 577215 h 4135471"/>
                <a:gd name="connsiteX142" fmla="*/ 2631895 w 2854049"/>
                <a:gd name="connsiteY142" fmla="*/ 501055 h 4135471"/>
                <a:gd name="connsiteX143" fmla="*/ 2574659 w 2854049"/>
                <a:gd name="connsiteY143" fmla="*/ 429907 h 4135471"/>
                <a:gd name="connsiteX144" fmla="*/ 2513543 w 2854049"/>
                <a:gd name="connsiteY144" fmla="*/ 361762 h 4135471"/>
                <a:gd name="connsiteX145" fmla="*/ 2446606 w 2854049"/>
                <a:gd name="connsiteY145" fmla="*/ 300634 h 4135471"/>
                <a:gd name="connsiteX146" fmla="*/ 2371907 w 2854049"/>
                <a:gd name="connsiteY146" fmla="*/ 243513 h 4135471"/>
                <a:gd name="connsiteX147" fmla="*/ 2294299 w 2854049"/>
                <a:gd name="connsiteY147" fmla="*/ 192406 h 4135471"/>
                <a:gd name="connsiteX148" fmla="*/ 2211840 w 2854049"/>
                <a:gd name="connsiteY148" fmla="*/ 147311 h 4135471"/>
                <a:gd name="connsiteX149" fmla="*/ 2121620 w 2854049"/>
                <a:gd name="connsiteY149" fmla="*/ 109230 h 4135471"/>
                <a:gd name="connsiteX150" fmla="*/ 2028490 w 2854049"/>
                <a:gd name="connsiteY150" fmla="*/ 74157 h 4135471"/>
                <a:gd name="connsiteX151" fmla="*/ 1927599 w 2854049"/>
                <a:gd name="connsiteY151" fmla="*/ 47099 h 4135471"/>
                <a:gd name="connsiteX152" fmla="*/ 1821858 w 2854049"/>
                <a:gd name="connsiteY152" fmla="*/ 25053 h 4135471"/>
                <a:gd name="connsiteX153" fmla="*/ 1711265 w 2854049"/>
                <a:gd name="connsiteY153" fmla="*/ 10021 h 4135471"/>
                <a:gd name="connsiteX154" fmla="*/ 1594853 w 2854049"/>
                <a:gd name="connsiteY154" fmla="*/ 1002 h 413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854049" h="4135471">
                  <a:moveTo>
                    <a:pt x="1696267" y="3431657"/>
                  </a:moveTo>
                  <a:cubicBezTo>
                    <a:pt x="1501914" y="3431657"/>
                    <a:pt x="1344360" y="3589211"/>
                    <a:pt x="1344360" y="3783564"/>
                  </a:cubicBezTo>
                  <a:cubicBezTo>
                    <a:pt x="1344360" y="3977917"/>
                    <a:pt x="1501914" y="4135471"/>
                    <a:pt x="1696267" y="4135471"/>
                  </a:cubicBezTo>
                  <a:cubicBezTo>
                    <a:pt x="1890620" y="4135471"/>
                    <a:pt x="2048174" y="3977917"/>
                    <a:pt x="2048174" y="3783564"/>
                  </a:cubicBezTo>
                  <a:cubicBezTo>
                    <a:pt x="2048174" y="3589211"/>
                    <a:pt x="1890620" y="3431657"/>
                    <a:pt x="1696267" y="3431657"/>
                  </a:cubicBezTo>
                  <a:close/>
                  <a:moveTo>
                    <a:pt x="1470680" y="0"/>
                  </a:moveTo>
                  <a:lnTo>
                    <a:pt x="1360088" y="9020"/>
                  </a:lnTo>
                  <a:lnTo>
                    <a:pt x="1082638" y="72152"/>
                  </a:lnTo>
                  <a:lnTo>
                    <a:pt x="1000179" y="103217"/>
                  </a:lnTo>
                  <a:lnTo>
                    <a:pt x="918691" y="138291"/>
                  </a:lnTo>
                  <a:lnTo>
                    <a:pt x="839141" y="180379"/>
                  </a:lnTo>
                  <a:lnTo>
                    <a:pt x="765414" y="227479"/>
                  </a:lnTo>
                  <a:lnTo>
                    <a:pt x="694595" y="280591"/>
                  </a:lnTo>
                  <a:lnTo>
                    <a:pt x="629599" y="338714"/>
                  </a:lnTo>
                  <a:lnTo>
                    <a:pt x="569452" y="401847"/>
                  </a:lnTo>
                  <a:lnTo>
                    <a:pt x="515126" y="470992"/>
                  </a:lnTo>
                  <a:lnTo>
                    <a:pt x="467591" y="544147"/>
                  </a:lnTo>
                  <a:lnTo>
                    <a:pt x="426847" y="622311"/>
                  </a:lnTo>
                  <a:lnTo>
                    <a:pt x="392893" y="706488"/>
                  </a:lnTo>
                  <a:lnTo>
                    <a:pt x="338568" y="937976"/>
                  </a:lnTo>
                  <a:lnTo>
                    <a:pt x="333717" y="994094"/>
                  </a:lnTo>
                  <a:lnTo>
                    <a:pt x="331776" y="1047206"/>
                  </a:lnTo>
                  <a:lnTo>
                    <a:pt x="333717" y="1096308"/>
                  </a:lnTo>
                  <a:lnTo>
                    <a:pt x="334686" y="1145413"/>
                  </a:lnTo>
                  <a:lnTo>
                    <a:pt x="334686" y="1191509"/>
                  </a:lnTo>
                  <a:lnTo>
                    <a:pt x="329836" y="1234599"/>
                  </a:lnTo>
                  <a:lnTo>
                    <a:pt x="315284" y="1278693"/>
                  </a:lnTo>
                  <a:lnTo>
                    <a:pt x="289092" y="1331805"/>
                  </a:lnTo>
                  <a:lnTo>
                    <a:pt x="257078" y="1380908"/>
                  </a:lnTo>
                  <a:lnTo>
                    <a:pt x="222155" y="1423998"/>
                  </a:lnTo>
                  <a:lnTo>
                    <a:pt x="185291" y="1468092"/>
                  </a:lnTo>
                  <a:lnTo>
                    <a:pt x="146487" y="1508176"/>
                  </a:lnTo>
                  <a:lnTo>
                    <a:pt x="107683" y="1548261"/>
                  </a:lnTo>
                  <a:lnTo>
                    <a:pt x="70819" y="1592354"/>
                  </a:lnTo>
                  <a:lnTo>
                    <a:pt x="58206" y="1604378"/>
                  </a:lnTo>
                  <a:lnTo>
                    <a:pt x="42684" y="1619410"/>
                  </a:lnTo>
                  <a:lnTo>
                    <a:pt x="26193" y="1637448"/>
                  </a:lnTo>
                  <a:lnTo>
                    <a:pt x="12611" y="1655486"/>
                  </a:lnTo>
                  <a:lnTo>
                    <a:pt x="3882" y="1677533"/>
                  </a:lnTo>
                  <a:lnTo>
                    <a:pt x="0" y="1701583"/>
                  </a:lnTo>
                  <a:lnTo>
                    <a:pt x="4851" y="1726636"/>
                  </a:lnTo>
                  <a:lnTo>
                    <a:pt x="17462" y="1750687"/>
                  </a:lnTo>
                  <a:lnTo>
                    <a:pt x="38806" y="1770728"/>
                  </a:lnTo>
                  <a:lnTo>
                    <a:pt x="63057" y="1784759"/>
                  </a:lnTo>
                  <a:lnTo>
                    <a:pt x="93130" y="1797786"/>
                  </a:lnTo>
                  <a:lnTo>
                    <a:pt x="125143" y="1808809"/>
                  </a:lnTo>
                  <a:lnTo>
                    <a:pt x="157158" y="1819833"/>
                  </a:lnTo>
                  <a:lnTo>
                    <a:pt x="188201" y="1830855"/>
                  </a:lnTo>
                  <a:lnTo>
                    <a:pt x="218273" y="1843883"/>
                  </a:lnTo>
                  <a:lnTo>
                    <a:pt x="245437" y="1857912"/>
                  </a:lnTo>
                  <a:lnTo>
                    <a:pt x="264839" y="1875951"/>
                  </a:lnTo>
                  <a:lnTo>
                    <a:pt x="259018" y="1900001"/>
                  </a:lnTo>
                  <a:lnTo>
                    <a:pt x="248347" y="1922047"/>
                  </a:lnTo>
                  <a:lnTo>
                    <a:pt x="237676" y="1945097"/>
                  </a:lnTo>
                  <a:lnTo>
                    <a:pt x="226035" y="1967142"/>
                  </a:lnTo>
                  <a:lnTo>
                    <a:pt x="215364" y="1989189"/>
                  </a:lnTo>
                  <a:lnTo>
                    <a:pt x="207602" y="2011236"/>
                  </a:lnTo>
                  <a:lnTo>
                    <a:pt x="204693" y="2031277"/>
                  </a:lnTo>
                  <a:lnTo>
                    <a:pt x="206633" y="2053324"/>
                  </a:lnTo>
                  <a:lnTo>
                    <a:pt x="217304" y="2073366"/>
                  </a:lnTo>
                  <a:lnTo>
                    <a:pt x="236706" y="2093409"/>
                  </a:lnTo>
                  <a:lnTo>
                    <a:pt x="264839" y="2113450"/>
                  </a:lnTo>
                  <a:lnTo>
                    <a:pt x="259018" y="2129483"/>
                  </a:lnTo>
                  <a:lnTo>
                    <a:pt x="250288" y="2145517"/>
                  </a:lnTo>
                  <a:lnTo>
                    <a:pt x="243497" y="2164557"/>
                  </a:lnTo>
                  <a:lnTo>
                    <a:pt x="241557" y="2184601"/>
                  </a:lnTo>
                  <a:lnTo>
                    <a:pt x="245437" y="2204642"/>
                  </a:lnTo>
                  <a:lnTo>
                    <a:pt x="256109" y="2222680"/>
                  </a:lnTo>
                  <a:lnTo>
                    <a:pt x="269690" y="2236709"/>
                  </a:lnTo>
                  <a:lnTo>
                    <a:pt x="287151" y="2249737"/>
                  </a:lnTo>
                  <a:lnTo>
                    <a:pt x="304613" y="2258756"/>
                  </a:lnTo>
                  <a:lnTo>
                    <a:pt x="321105" y="2269780"/>
                  </a:lnTo>
                  <a:lnTo>
                    <a:pt x="336627" y="2284810"/>
                  </a:lnTo>
                  <a:lnTo>
                    <a:pt x="345358" y="2300845"/>
                  </a:lnTo>
                  <a:lnTo>
                    <a:pt x="354089" y="2329906"/>
                  </a:lnTo>
                  <a:lnTo>
                    <a:pt x="354089" y="2362976"/>
                  </a:lnTo>
                  <a:lnTo>
                    <a:pt x="351179" y="2394041"/>
                  </a:lnTo>
                  <a:lnTo>
                    <a:pt x="343417" y="2426108"/>
                  </a:lnTo>
                  <a:lnTo>
                    <a:pt x="336627" y="2457173"/>
                  </a:lnTo>
                  <a:lnTo>
                    <a:pt x="331776" y="2485233"/>
                  </a:lnTo>
                  <a:lnTo>
                    <a:pt x="327896" y="2525318"/>
                  </a:lnTo>
                  <a:lnTo>
                    <a:pt x="331776" y="2561393"/>
                  </a:lnTo>
                  <a:lnTo>
                    <a:pt x="342447" y="2594464"/>
                  </a:lnTo>
                  <a:lnTo>
                    <a:pt x="356029" y="2623524"/>
                  </a:lnTo>
                  <a:lnTo>
                    <a:pt x="375432" y="2646572"/>
                  </a:lnTo>
                  <a:lnTo>
                    <a:pt x="400654" y="2668619"/>
                  </a:lnTo>
                  <a:lnTo>
                    <a:pt x="424906" y="2686657"/>
                  </a:lnTo>
                  <a:lnTo>
                    <a:pt x="453040" y="2701688"/>
                  </a:lnTo>
                  <a:lnTo>
                    <a:pt x="481173" y="2714717"/>
                  </a:lnTo>
                  <a:lnTo>
                    <a:pt x="509306" y="2721731"/>
                  </a:lnTo>
                  <a:lnTo>
                    <a:pt x="560721" y="2730751"/>
                  </a:lnTo>
                  <a:lnTo>
                    <a:pt x="615047" y="2734758"/>
                  </a:lnTo>
                  <a:lnTo>
                    <a:pt x="672284" y="2732755"/>
                  </a:lnTo>
                  <a:lnTo>
                    <a:pt x="728550" y="2726742"/>
                  </a:lnTo>
                  <a:lnTo>
                    <a:pt x="784816" y="2719726"/>
                  </a:lnTo>
                  <a:lnTo>
                    <a:pt x="838171" y="2708704"/>
                  </a:lnTo>
                  <a:lnTo>
                    <a:pt x="885706" y="2695677"/>
                  </a:lnTo>
                  <a:lnTo>
                    <a:pt x="927421" y="2681646"/>
                  </a:lnTo>
                  <a:lnTo>
                    <a:pt x="944882" y="2675633"/>
                  </a:lnTo>
                  <a:lnTo>
                    <a:pt x="968165" y="2668619"/>
                  </a:lnTo>
                  <a:lnTo>
                    <a:pt x="993388" y="2661605"/>
                  </a:lnTo>
                  <a:lnTo>
                    <a:pt x="1019581" y="2654590"/>
                  </a:lnTo>
                  <a:lnTo>
                    <a:pt x="1047714" y="2650582"/>
                  </a:lnTo>
                  <a:lnTo>
                    <a:pt x="1075847" y="2648577"/>
                  </a:lnTo>
                  <a:lnTo>
                    <a:pt x="1100100" y="2652585"/>
                  </a:lnTo>
                  <a:lnTo>
                    <a:pt x="1121442" y="2661605"/>
                  </a:lnTo>
                  <a:lnTo>
                    <a:pt x="1140844" y="2679643"/>
                  </a:lnTo>
                  <a:lnTo>
                    <a:pt x="1158306" y="2708704"/>
                  </a:lnTo>
                  <a:lnTo>
                    <a:pt x="1174797" y="2745782"/>
                  </a:lnTo>
                  <a:lnTo>
                    <a:pt x="1190319" y="2788872"/>
                  </a:lnTo>
                  <a:lnTo>
                    <a:pt x="1202931" y="2837975"/>
                  </a:lnTo>
                  <a:lnTo>
                    <a:pt x="1215541" y="2889083"/>
                  </a:lnTo>
                  <a:lnTo>
                    <a:pt x="1226212" y="2942195"/>
                  </a:lnTo>
                  <a:lnTo>
                    <a:pt x="1235914" y="2996309"/>
                  </a:lnTo>
                  <a:lnTo>
                    <a:pt x="1245616" y="3049421"/>
                  </a:lnTo>
                  <a:lnTo>
                    <a:pt x="1252407" y="3098524"/>
                  </a:lnTo>
                  <a:lnTo>
                    <a:pt x="1261138" y="3144621"/>
                  </a:lnTo>
                  <a:lnTo>
                    <a:pt x="1267927" y="3182701"/>
                  </a:lnTo>
                  <a:lnTo>
                    <a:pt x="1273749" y="3215771"/>
                  </a:lnTo>
                  <a:lnTo>
                    <a:pt x="1405683" y="3238820"/>
                  </a:lnTo>
                  <a:lnTo>
                    <a:pt x="1539558" y="3251847"/>
                  </a:lnTo>
                  <a:lnTo>
                    <a:pt x="1677312" y="3253851"/>
                  </a:lnTo>
                  <a:lnTo>
                    <a:pt x="1817977" y="3246837"/>
                  </a:lnTo>
                  <a:lnTo>
                    <a:pt x="1963493" y="3226793"/>
                  </a:lnTo>
                  <a:lnTo>
                    <a:pt x="1998071" y="3220300"/>
                  </a:lnTo>
                  <a:lnTo>
                    <a:pt x="1972544" y="2990832"/>
                  </a:lnTo>
                  <a:cubicBezTo>
                    <a:pt x="1951990" y="2824419"/>
                    <a:pt x="1923973" y="2664322"/>
                    <a:pt x="1866104" y="2529483"/>
                  </a:cubicBezTo>
                  <a:cubicBezTo>
                    <a:pt x="1798827" y="2378364"/>
                    <a:pt x="1318234" y="2057324"/>
                    <a:pt x="1085631" y="1773024"/>
                  </a:cubicBezTo>
                  <a:cubicBezTo>
                    <a:pt x="1039452" y="1683967"/>
                    <a:pt x="924385" y="1218329"/>
                    <a:pt x="1277747" y="968535"/>
                  </a:cubicBezTo>
                  <a:cubicBezTo>
                    <a:pt x="1430175" y="835482"/>
                    <a:pt x="1702005" y="831017"/>
                    <a:pt x="1914134" y="872477"/>
                  </a:cubicBezTo>
                  <a:cubicBezTo>
                    <a:pt x="2031257" y="905756"/>
                    <a:pt x="2240228" y="1053847"/>
                    <a:pt x="2334389" y="1316747"/>
                  </a:cubicBezTo>
                  <a:lnTo>
                    <a:pt x="2850702" y="1256710"/>
                  </a:lnTo>
                  <a:lnTo>
                    <a:pt x="2851858" y="1288484"/>
                  </a:lnTo>
                  <a:lnTo>
                    <a:pt x="2854049" y="1252639"/>
                  </a:lnTo>
                  <a:lnTo>
                    <a:pt x="2852109" y="1156435"/>
                  </a:lnTo>
                  <a:lnTo>
                    <a:pt x="2845318" y="1062236"/>
                  </a:lnTo>
                  <a:lnTo>
                    <a:pt x="2830767" y="971045"/>
                  </a:lnTo>
                  <a:lnTo>
                    <a:pt x="2811365" y="881857"/>
                  </a:lnTo>
                  <a:lnTo>
                    <a:pt x="2787112" y="799684"/>
                  </a:lnTo>
                  <a:lnTo>
                    <a:pt x="2759950" y="724526"/>
                  </a:lnTo>
                  <a:lnTo>
                    <a:pt x="2728906" y="657385"/>
                  </a:lnTo>
                  <a:lnTo>
                    <a:pt x="2682340" y="577215"/>
                  </a:lnTo>
                  <a:lnTo>
                    <a:pt x="2631895" y="501055"/>
                  </a:lnTo>
                  <a:lnTo>
                    <a:pt x="2574659" y="429907"/>
                  </a:lnTo>
                  <a:lnTo>
                    <a:pt x="2513543" y="361762"/>
                  </a:lnTo>
                  <a:lnTo>
                    <a:pt x="2446606" y="300634"/>
                  </a:lnTo>
                  <a:lnTo>
                    <a:pt x="2371907" y="243513"/>
                  </a:lnTo>
                  <a:lnTo>
                    <a:pt x="2294299" y="192406"/>
                  </a:lnTo>
                  <a:lnTo>
                    <a:pt x="2211840" y="147311"/>
                  </a:lnTo>
                  <a:lnTo>
                    <a:pt x="2121620" y="109230"/>
                  </a:lnTo>
                  <a:lnTo>
                    <a:pt x="2028490" y="74157"/>
                  </a:lnTo>
                  <a:lnTo>
                    <a:pt x="1927599" y="47099"/>
                  </a:lnTo>
                  <a:lnTo>
                    <a:pt x="1821858" y="25053"/>
                  </a:lnTo>
                  <a:lnTo>
                    <a:pt x="1711265" y="10021"/>
                  </a:lnTo>
                  <a:lnTo>
                    <a:pt x="1594853" y="1002"/>
                  </a:lnTo>
                  <a:close/>
                </a:path>
              </a:pathLst>
            </a:custGeom>
            <a:solidFill>
              <a:schemeClr val="tx1">
                <a:lumMod val="75000"/>
                <a:lumOff val="25000"/>
              </a:schemeClr>
            </a:solidFill>
            <a:ln>
              <a:solidFill>
                <a:srgbClr val="163F74"/>
              </a:solid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anchor="t" anchorCtr="0" compatLnSpc="1">
              <a:prstTxWarp prst="textNoShape">
                <a:avLst/>
              </a:prstTxWarp>
              <a:noAutofit/>
            </a:bodyPr>
            <a:lstStyle/>
            <a:p>
              <a:endParaRPr lang="ko-KR" altLang="en-US" sz="2026" dirty="0"/>
            </a:p>
          </p:txBody>
        </p:sp>
        <p:sp>
          <p:nvSpPr>
            <p:cNvPr id="16" name="Freeform: Shape 15">
              <a:extLst>
                <a:ext uri="{FF2B5EF4-FFF2-40B4-BE49-F238E27FC236}">
                  <a16:creationId xmlns:a16="http://schemas.microsoft.com/office/drawing/2014/main" id="{68C7E696-0B18-41D8-BADC-63197E0C7B5D}"/>
                </a:ext>
              </a:extLst>
            </p:cNvPr>
            <p:cNvSpPr/>
            <p:nvPr/>
          </p:nvSpPr>
          <p:spPr>
            <a:xfrm flipH="1">
              <a:off x="457200" y="590550"/>
              <a:ext cx="2979057" cy="1921717"/>
            </a:xfrm>
            <a:custGeom>
              <a:avLst/>
              <a:gdLst>
                <a:gd name="connsiteX0" fmla="*/ 1547519 w 3095038"/>
                <a:gd name="connsiteY0" fmla="*/ 0 h 2022026"/>
                <a:gd name="connsiteX1" fmla="*/ 3095038 w 3095038"/>
                <a:gd name="connsiteY1" fmla="*/ 627509 h 2022026"/>
                <a:gd name="connsiteX2" fmla="*/ 2825277 w 3095038"/>
                <a:gd name="connsiteY2" fmla="*/ 736897 h 2022026"/>
                <a:gd name="connsiteX3" fmla="*/ 2825277 w 3095038"/>
                <a:gd name="connsiteY3" fmla="*/ 1583608 h 2022026"/>
                <a:gd name="connsiteX4" fmla="*/ 2829142 w 3095038"/>
                <a:gd name="connsiteY4" fmla="*/ 1585209 h 2022026"/>
                <a:gd name="connsiteX5" fmla="*/ 2841509 w 3095038"/>
                <a:gd name="connsiteY5" fmla="*/ 1615067 h 2022026"/>
                <a:gd name="connsiteX6" fmla="*/ 2829142 w 3095038"/>
                <a:gd name="connsiteY6" fmla="*/ 1644926 h 2022026"/>
                <a:gd name="connsiteX7" fmla="*/ 2826092 w 3095038"/>
                <a:gd name="connsiteY7" fmla="*/ 1646189 h 2022026"/>
                <a:gd name="connsiteX8" fmla="*/ 2876626 w 3095038"/>
                <a:gd name="connsiteY8" fmla="*/ 2022026 h 2022026"/>
                <a:gd name="connsiteX9" fmla="*/ 2721940 w 3095038"/>
                <a:gd name="connsiteY9" fmla="*/ 2022026 h 2022026"/>
                <a:gd name="connsiteX10" fmla="*/ 2772475 w 3095038"/>
                <a:gd name="connsiteY10" fmla="*/ 1646189 h 2022026"/>
                <a:gd name="connsiteX11" fmla="*/ 2769425 w 3095038"/>
                <a:gd name="connsiteY11" fmla="*/ 1644926 h 2022026"/>
                <a:gd name="connsiteX12" fmla="*/ 2757057 w 3095038"/>
                <a:gd name="connsiteY12" fmla="*/ 1615067 h 2022026"/>
                <a:gd name="connsiteX13" fmla="*/ 2769425 w 3095038"/>
                <a:gd name="connsiteY13" fmla="*/ 1585209 h 2022026"/>
                <a:gd name="connsiteX14" fmla="*/ 2773289 w 3095038"/>
                <a:gd name="connsiteY14" fmla="*/ 1583608 h 2022026"/>
                <a:gd name="connsiteX15" fmla="*/ 2773289 w 3095038"/>
                <a:gd name="connsiteY15" fmla="*/ 757978 h 2022026"/>
                <a:gd name="connsiteX16" fmla="*/ 2747752 w 3095038"/>
                <a:gd name="connsiteY16" fmla="*/ 768333 h 2022026"/>
                <a:gd name="connsiteX17" fmla="*/ 2473970 w 3095038"/>
                <a:gd name="connsiteY17" fmla="*/ 981499 h 2022026"/>
                <a:gd name="connsiteX18" fmla="*/ 2473970 w 3095038"/>
                <a:gd name="connsiteY18" fmla="*/ 1333096 h 2022026"/>
                <a:gd name="connsiteX19" fmla="*/ 1442377 w 3095038"/>
                <a:gd name="connsiteY19" fmla="*/ 1553521 h 2022026"/>
                <a:gd name="connsiteX20" fmla="*/ 628675 w 3095038"/>
                <a:gd name="connsiteY20" fmla="*/ 1422110 h 2022026"/>
                <a:gd name="connsiteX21" fmla="*/ 635755 w 3095038"/>
                <a:gd name="connsiteY21" fmla="*/ 1406334 h 2022026"/>
                <a:gd name="connsiteX22" fmla="*/ 621068 w 3095038"/>
                <a:gd name="connsiteY22" fmla="*/ 1402746 h 2022026"/>
                <a:gd name="connsiteX23" fmla="*/ 621068 w 3095038"/>
                <a:gd name="connsiteY23" fmla="*/ 981499 h 2022026"/>
                <a:gd name="connsiteX24" fmla="*/ 0 w 3095038"/>
                <a:gd name="connsiteY24" fmla="*/ 627509 h 202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95038" h="2022026">
                  <a:moveTo>
                    <a:pt x="1547519" y="0"/>
                  </a:moveTo>
                  <a:lnTo>
                    <a:pt x="3095038" y="627509"/>
                  </a:lnTo>
                  <a:lnTo>
                    <a:pt x="2825277" y="736897"/>
                  </a:lnTo>
                  <a:lnTo>
                    <a:pt x="2825277" y="1583608"/>
                  </a:lnTo>
                  <a:lnTo>
                    <a:pt x="2829142" y="1585209"/>
                  </a:lnTo>
                  <a:cubicBezTo>
                    <a:pt x="2836783" y="1592850"/>
                    <a:pt x="2841509" y="1603406"/>
                    <a:pt x="2841509" y="1615067"/>
                  </a:cubicBezTo>
                  <a:cubicBezTo>
                    <a:pt x="2841509" y="1626728"/>
                    <a:pt x="2836783" y="1637284"/>
                    <a:pt x="2829142" y="1644926"/>
                  </a:cubicBezTo>
                  <a:lnTo>
                    <a:pt x="2826092" y="1646189"/>
                  </a:lnTo>
                  <a:lnTo>
                    <a:pt x="2876626" y="2022026"/>
                  </a:lnTo>
                  <a:lnTo>
                    <a:pt x="2721940" y="2022026"/>
                  </a:lnTo>
                  <a:lnTo>
                    <a:pt x="2772475" y="1646189"/>
                  </a:lnTo>
                  <a:lnTo>
                    <a:pt x="2769425" y="1644926"/>
                  </a:lnTo>
                  <a:cubicBezTo>
                    <a:pt x="2761784" y="1637284"/>
                    <a:pt x="2757057" y="1626728"/>
                    <a:pt x="2757057" y="1615067"/>
                  </a:cubicBezTo>
                  <a:cubicBezTo>
                    <a:pt x="2757057" y="1603406"/>
                    <a:pt x="2761784" y="1592850"/>
                    <a:pt x="2769425" y="1585209"/>
                  </a:cubicBezTo>
                  <a:lnTo>
                    <a:pt x="2773289" y="1583608"/>
                  </a:lnTo>
                  <a:lnTo>
                    <a:pt x="2773289" y="757978"/>
                  </a:lnTo>
                  <a:lnTo>
                    <a:pt x="2747752" y="768333"/>
                  </a:lnTo>
                  <a:lnTo>
                    <a:pt x="2473970" y="981499"/>
                  </a:lnTo>
                  <a:lnTo>
                    <a:pt x="2473970" y="1333096"/>
                  </a:lnTo>
                  <a:cubicBezTo>
                    <a:pt x="2176456" y="1474039"/>
                    <a:pt x="1822001" y="1553521"/>
                    <a:pt x="1442377" y="1553521"/>
                  </a:cubicBezTo>
                  <a:cubicBezTo>
                    <a:pt x="1151810" y="1553521"/>
                    <a:pt x="875988" y="1506956"/>
                    <a:pt x="628675" y="1422110"/>
                  </a:cubicBezTo>
                  <a:cubicBezTo>
                    <a:pt x="630298" y="1416654"/>
                    <a:pt x="632987" y="1411486"/>
                    <a:pt x="635755" y="1406334"/>
                  </a:cubicBezTo>
                  <a:cubicBezTo>
                    <a:pt x="631035" y="1404608"/>
                    <a:pt x="626049" y="1403669"/>
                    <a:pt x="621068" y="1402746"/>
                  </a:cubicBezTo>
                  <a:lnTo>
                    <a:pt x="621068" y="981499"/>
                  </a:lnTo>
                  <a:lnTo>
                    <a:pt x="0" y="62750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sz="2026" dirty="0"/>
            </a:p>
          </p:txBody>
        </p:sp>
      </p:grpSp>
      <p:graphicFrame>
        <p:nvGraphicFramePr>
          <p:cNvPr id="5" name="Object 4" hidden="1">
            <a:extLst>
              <a:ext uri="{FF2B5EF4-FFF2-40B4-BE49-F238E27FC236}">
                <a16:creationId xmlns:a16="http://schemas.microsoft.com/office/drawing/2014/main" id="{A9E43DCD-F115-4EC7-90AE-5F5E6C473889}"/>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1575" name="think-cell Slide" r:id="rId8" imgW="383" imgH="384" progId="TCLayout.ActiveDocument.1">
                  <p:embed/>
                </p:oleObj>
              </mc:Choice>
              <mc:Fallback>
                <p:oleObj name="think-cell Slide" r:id="rId8" imgW="383" imgH="384" progId="TCLayout.ActiveDocument.1">
                  <p:embed/>
                  <p:pic>
                    <p:nvPicPr>
                      <p:cNvPr id="5" name="Object 4" hidden="1">
                        <a:extLst>
                          <a:ext uri="{FF2B5EF4-FFF2-40B4-BE49-F238E27FC236}">
                            <a16:creationId xmlns:a16="http://schemas.microsoft.com/office/drawing/2014/main" id="{A9E43DCD-F115-4EC7-90AE-5F5E6C473889}"/>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140B3F-4BDA-4FDA-A9EE-3C673CDF2373}"/>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b="1" dirty="0">
              <a:latin typeface="Segoe UI" panose="020B0502040204020203" pitchFamily="34" charset="0"/>
              <a:ea typeface="+mj-ea"/>
              <a:cs typeface="Segoe UI" panose="020B0502040204020203" pitchFamily="34" charset="0"/>
              <a:sym typeface="Segoe UI" panose="020B0502040204020203" pitchFamily="34" charset="0"/>
            </a:endParaRPr>
          </a:p>
        </p:txBody>
      </p:sp>
      <p:cxnSp>
        <p:nvCxnSpPr>
          <p:cNvPr id="8" name="Straight Connector 7">
            <a:extLst>
              <a:ext uri="{FF2B5EF4-FFF2-40B4-BE49-F238E27FC236}">
                <a16:creationId xmlns:a16="http://schemas.microsoft.com/office/drawing/2014/main" id="{FDDCB1DF-AB7E-4220-9C07-5A95CD99AED5}"/>
              </a:ext>
            </a:extLst>
          </p:cNvPr>
          <p:cNvCxnSpPr>
            <a:cxnSpLocks/>
          </p:cNvCxnSpPr>
          <p:nvPr/>
        </p:nvCxnSpPr>
        <p:spPr>
          <a:xfrm flipH="1">
            <a:off x="264252" y="4162255"/>
            <a:ext cx="712513" cy="9885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544301-48A2-4C9C-9CBF-01A720F732C0}"/>
              </a:ext>
            </a:extLst>
          </p:cNvPr>
          <p:cNvCxnSpPr>
            <a:cxnSpLocks/>
          </p:cNvCxnSpPr>
          <p:nvPr/>
        </p:nvCxnSpPr>
        <p:spPr>
          <a:xfrm flipH="1">
            <a:off x="725918" y="1"/>
            <a:ext cx="501694" cy="69604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E0D0D9FA-3DBB-4185-910C-1F200143EFAC}"/>
              </a:ext>
            </a:extLst>
          </p:cNvPr>
          <p:cNvSpPr>
            <a:spLocks noGrp="1"/>
          </p:cNvSpPr>
          <p:nvPr>
            <p:ph type="title"/>
          </p:nvPr>
        </p:nvSpPr>
        <p:spPr>
          <a:xfrm>
            <a:off x="2707341" y="2020384"/>
            <a:ext cx="6436659" cy="1200329"/>
          </a:xfrm>
        </p:spPr>
        <p:txBody>
          <a:bodyPr vert="horz" wrap="square" lIns="91440" tIns="45720" rIns="91440" bIns="45720" rtlCol="0" anchor="t">
            <a:spAutoFit/>
          </a:bodyPr>
          <a:lstStyle/>
          <a:p>
            <a:pPr marL="11545" algn="l">
              <a:spcBef>
                <a:spcPts val="72"/>
              </a:spcBef>
            </a:pPr>
            <a:r>
              <a:rPr lang="en-US" sz="3600"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rPr>
              <a:t>Eligibility Criteria for Engineering</a:t>
            </a:r>
          </a:p>
        </p:txBody>
      </p:sp>
      <p:sp>
        <p:nvSpPr>
          <p:cNvPr id="17" name="Rectangle 16">
            <a:extLst>
              <a:ext uri="{FF2B5EF4-FFF2-40B4-BE49-F238E27FC236}">
                <a16:creationId xmlns:a16="http://schemas.microsoft.com/office/drawing/2014/main" id="{E481DB9C-92EC-43E7-B4B1-F15D6B9CE47D}"/>
              </a:ext>
            </a:extLst>
          </p:cNvPr>
          <p:cNvSpPr/>
          <p:nvPr/>
        </p:nvSpPr>
        <p:spPr>
          <a:xfrm>
            <a:off x="2707341" y="3430160"/>
            <a:ext cx="6436659" cy="48896"/>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pic>
        <p:nvPicPr>
          <p:cNvPr id="18" name="Picture 17">
            <a:extLst>
              <a:ext uri="{FF2B5EF4-FFF2-40B4-BE49-F238E27FC236}">
                <a16:creationId xmlns:a16="http://schemas.microsoft.com/office/drawing/2014/main" id="{B0A90377-81CA-4657-B4C4-E76E44A78812}"/>
              </a:ext>
            </a:extLst>
          </p:cNvPr>
          <p:cNvPicPr>
            <a:picLocks noChangeAspect="1"/>
          </p:cNvPicPr>
          <p:nvPr/>
        </p:nvPicPr>
        <p:blipFill rotWithShape="1">
          <a:blip r:embed="rId10"/>
          <a:srcRect l="86667" b="81138"/>
          <a:stretch/>
        </p:blipFill>
        <p:spPr>
          <a:xfrm>
            <a:off x="7924800" y="-1"/>
            <a:ext cx="1219200" cy="971551"/>
          </a:xfrm>
          <a:prstGeom prst="rect">
            <a:avLst/>
          </a:prstGeom>
        </p:spPr>
      </p:pic>
    </p:spTree>
    <p:extLst>
      <p:ext uri="{BB962C8B-B14F-4D97-AF65-F5344CB8AC3E}">
        <p14:creationId xmlns:p14="http://schemas.microsoft.com/office/powerpoint/2010/main" val="315383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283" y="202700"/>
            <a:ext cx="7503317" cy="473898"/>
          </a:xfrm>
          <a:effectLst/>
        </p:spPr>
        <p:txBody>
          <a:bodyPr vert="horz" lIns="91440" tIns="45720" rIns="91440" bIns="45720" rtlCol="0" anchor="ctr">
            <a:noAutofit/>
          </a:bodyPr>
          <a:lstStyle/>
          <a:p>
            <a:pPr algn="l"/>
            <a:r>
              <a:rPr lang="en-US" sz="2800" dirty="0">
                <a:solidFill>
                  <a:srgbClr val="52CBBE"/>
                </a:solidFill>
                <a:latin typeface="Gotham Bold" panose="02000803030000020004" pitchFamily="2" charset="0"/>
              </a:rPr>
              <a:t>Eligibility Criteria</a:t>
            </a:r>
            <a:endParaRPr lang="en-US" sz="2800" dirty="0">
              <a:solidFill>
                <a:srgbClr val="FF5969"/>
              </a:solidFill>
              <a:latin typeface="Gotham Bold" panose="02000803030000020004" pitchFamily="2" charset="0"/>
            </a:endParaRPr>
          </a:p>
        </p:txBody>
      </p:sp>
      <p:sp>
        <p:nvSpPr>
          <p:cNvPr id="14" name="Rectangle 13">
            <a:extLst>
              <a:ext uri="{FF2B5EF4-FFF2-40B4-BE49-F238E27FC236}">
                <a16:creationId xmlns:a16="http://schemas.microsoft.com/office/drawing/2014/main" id="{409F94E2-AA90-48F7-B1A1-D19E95051655}"/>
              </a:ext>
            </a:extLst>
          </p:cNvPr>
          <p:cNvSpPr/>
          <p:nvPr/>
        </p:nvSpPr>
        <p:spPr>
          <a:xfrm>
            <a:off x="1" y="0"/>
            <a:ext cx="145325" cy="5143499"/>
          </a:xfrm>
          <a:prstGeom prst="rect">
            <a:avLst/>
          </a:prstGeom>
          <a:solidFill>
            <a:srgbClr val="FF596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16" name="Rectangle 15">
            <a:extLst>
              <a:ext uri="{FF2B5EF4-FFF2-40B4-BE49-F238E27FC236}">
                <a16:creationId xmlns:a16="http://schemas.microsoft.com/office/drawing/2014/main" id="{984FA07D-EE46-4AD9-8DBB-229FAA46DCF3}"/>
              </a:ext>
            </a:extLst>
          </p:cNvPr>
          <p:cNvSpPr/>
          <p:nvPr/>
        </p:nvSpPr>
        <p:spPr>
          <a:xfrm>
            <a:off x="13448" y="5010149"/>
            <a:ext cx="2805952" cy="133349"/>
          </a:xfrm>
          <a:prstGeom prst="rect">
            <a:avLst/>
          </a:prstGeom>
          <a:solidFill>
            <a:srgbClr val="FF596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17" name="Rectangle 16">
            <a:extLst>
              <a:ext uri="{FF2B5EF4-FFF2-40B4-BE49-F238E27FC236}">
                <a16:creationId xmlns:a16="http://schemas.microsoft.com/office/drawing/2014/main" id="{35C7A1FF-FA12-4221-8956-6985FC3E54C3}"/>
              </a:ext>
            </a:extLst>
          </p:cNvPr>
          <p:cNvSpPr/>
          <p:nvPr/>
        </p:nvSpPr>
        <p:spPr>
          <a:xfrm>
            <a:off x="77312" y="269752"/>
            <a:ext cx="145325" cy="339794"/>
          </a:xfrm>
          <a:prstGeom prst="rect">
            <a:avLst/>
          </a:prstGeom>
          <a:solidFill>
            <a:schemeClr val="tx1">
              <a:lumMod val="50000"/>
              <a:lumOff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15" name="Content Placeholder 2">
            <a:extLst>
              <a:ext uri="{FF2B5EF4-FFF2-40B4-BE49-F238E27FC236}">
                <a16:creationId xmlns:a16="http://schemas.microsoft.com/office/drawing/2014/main" id="{DB50A921-9918-47A9-B523-04773373190A}"/>
              </a:ext>
            </a:extLst>
          </p:cNvPr>
          <p:cNvSpPr txBox="1">
            <a:spLocks/>
          </p:cNvSpPr>
          <p:nvPr/>
        </p:nvSpPr>
        <p:spPr>
          <a:xfrm>
            <a:off x="699520" y="788158"/>
            <a:ext cx="8444480" cy="4298191"/>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20000"/>
              </a:lnSpc>
              <a:buFont typeface="Wingdings" pitchFamily="2" charset="2"/>
              <a:buChar char="§"/>
            </a:pPr>
            <a:r>
              <a:rPr lang="en-US" sz="1800" dirty="0">
                <a:solidFill>
                  <a:srgbClr val="FF5969"/>
                </a:solidFill>
                <a:latin typeface="Gotham Medium" panose="02000603030000020004" pitchFamily="2" charset="0"/>
              </a:rPr>
              <a:t>Minimum 45% </a:t>
            </a:r>
            <a:r>
              <a:rPr lang="en-US" sz="1800" dirty="0">
                <a:latin typeface="Gotham Medium" panose="02000603030000020004" pitchFamily="2" charset="0"/>
              </a:rPr>
              <a:t>marks in Physics, Mathematics &amp; third subject taken together </a:t>
            </a:r>
            <a:r>
              <a:rPr lang="en-US" sz="1600" dirty="0">
                <a:latin typeface="Gotham Medium" panose="02000603030000020004" pitchFamily="2" charset="0"/>
              </a:rPr>
              <a:t>(</a:t>
            </a:r>
            <a:r>
              <a:rPr lang="en-US" sz="1600" i="1" dirty="0">
                <a:solidFill>
                  <a:srgbClr val="FF5969"/>
                </a:solidFill>
                <a:latin typeface="Gotham Medium" panose="02000603030000020004" pitchFamily="2" charset="0"/>
              </a:rPr>
              <a:t>at least 40% </a:t>
            </a:r>
            <a:r>
              <a:rPr lang="en-US" sz="1600" i="1" dirty="0">
                <a:latin typeface="Gotham Medium" panose="02000603030000020004" pitchFamily="2" charset="0"/>
              </a:rPr>
              <a:t>marks, in case of Backward Class categories, </a:t>
            </a:r>
            <a:r>
              <a:rPr lang="en-US" sz="1600" i="1" dirty="0">
                <a:solidFill>
                  <a:srgbClr val="FF5969"/>
                </a:solidFill>
                <a:latin typeface="Gotham Medium" panose="02000603030000020004" pitchFamily="2" charset="0"/>
              </a:rPr>
              <a:t>Economically Weaker Section (EWS) </a:t>
            </a:r>
            <a:r>
              <a:rPr lang="en-US" sz="1600" i="1" dirty="0">
                <a:latin typeface="Gotham Medium" panose="02000603030000020004" pitchFamily="2" charset="0"/>
              </a:rPr>
              <a:t>and Persons with Disability category candidates belonging to Maharashtra State</a:t>
            </a:r>
            <a:r>
              <a:rPr lang="en-US" sz="1600" dirty="0">
                <a:latin typeface="Gotham Medium" panose="02000603030000020004" pitchFamily="2" charset="0"/>
              </a:rPr>
              <a:t>) </a:t>
            </a:r>
            <a:r>
              <a:rPr lang="en-US" sz="1800" dirty="0">
                <a:latin typeface="Gotham Medium" panose="02000603030000020004" pitchFamily="2" charset="0"/>
              </a:rPr>
              <a:t>in HSC or equivalent examination</a:t>
            </a:r>
          </a:p>
          <a:p>
            <a:pPr>
              <a:lnSpc>
                <a:spcPct val="120000"/>
              </a:lnSpc>
              <a:buFont typeface="Wingdings" pitchFamily="2" charset="2"/>
              <a:buChar char="§"/>
            </a:pPr>
            <a:r>
              <a:rPr lang="en-US" sz="1800" dirty="0">
                <a:latin typeface="Gotham Medium" panose="02000603030000020004" pitchFamily="2" charset="0"/>
              </a:rPr>
              <a:t> Third Subject – </a:t>
            </a:r>
          </a:p>
          <a:p>
            <a:pPr lvl="1">
              <a:lnSpc>
                <a:spcPct val="120000"/>
              </a:lnSpc>
              <a:buFont typeface="Wingdings" pitchFamily="2" charset="2"/>
              <a:buChar char="§"/>
            </a:pPr>
            <a:r>
              <a:rPr lang="en-US" sz="1400" dirty="0">
                <a:solidFill>
                  <a:srgbClr val="FF5969"/>
                </a:solidFill>
                <a:latin typeface="Gotham Medium" panose="02000603030000020004" pitchFamily="2" charset="0"/>
              </a:rPr>
              <a:t>Chemistry</a:t>
            </a:r>
          </a:p>
          <a:p>
            <a:pPr lvl="1">
              <a:lnSpc>
                <a:spcPct val="120000"/>
              </a:lnSpc>
              <a:buFont typeface="Wingdings" pitchFamily="2" charset="2"/>
              <a:buChar char="§"/>
            </a:pPr>
            <a:r>
              <a:rPr lang="en-US" sz="1400" dirty="0">
                <a:solidFill>
                  <a:srgbClr val="FF5969"/>
                </a:solidFill>
                <a:latin typeface="Gotham Medium" panose="02000603030000020004" pitchFamily="2" charset="0"/>
              </a:rPr>
              <a:t>Biology</a:t>
            </a:r>
          </a:p>
          <a:p>
            <a:pPr lvl="1">
              <a:lnSpc>
                <a:spcPct val="120000"/>
              </a:lnSpc>
              <a:buFont typeface="Wingdings" pitchFamily="2" charset="2"/>
              <a:buChar char="§"/>
            </a:pPr>
            <a:r>
              <a:rPr lang="en-US" sz="1400" dirty="0">
                <a:solidFill>
                  <a:srgbClr val="FF5969"/>
                </a:solidFill>
                <a:latin typeface="Gotham Medium" panose="02000603030000020004" pitchFamily="2" charset="0"/>
              </a:rPr>
              <a:t>Biotechnology</a:t>
            </a:r>
          </a:p>
          <a:p>
            <a:pPr lvl="1">
              <a:lnSpc>
                <a:spcPct val="120000"/>
              </a:lnSpc>
              <a:buFont typeface="Wingdings" pitchFamily="2" charset="2"/>
              <a:buChar char="§"/>
            </a:pPr>
            <a:r>
              <a:rPr lang="en-US" sz="1400" dirty="0">
                <a:solidFill>
                  <a:srgbClr val="FF5969"/>
                </a:solidFill>
                <a:latin typeface="Gotham Medium" panose="02000603030000020004" pitchFamily="2" charset="0"/>
              </a:rPr>
              <a:t>Agriculture</a:t>
            </a:r>
          </a:p>
          <a:p>
            <a:pPr lvl="1">
              <a:lnSpc>
                <a:spcPct val="120000"/>
              </a:lnSpc>
              <a:buFont typeface="Wingdings" pitchFamily="2" charset="2"/>
              <a:buChar char="§"/>
            </a:pPr>
            <a:r>
              <a:rPr lang="en-US" sz="1400" dirty="0">
                <a:solidFill>
                  <a:srgbClr val="FF5969"/>
                </a:solidFill>
                <a:latin typeface="Gotham Medium" panose="02000603030000020004" pitchFamily="2" charset="0"/>
              </a:rPr>
              <a:t>Business Studies</a:t>
            </a:r>
          </a:p>
          <a:p>
            <a:pPr>
              <a:lnSpc>
                <a:spcPct val="120000"/>
              </a:lnSpc>
              <a:buFont typeface="Wingdings" pitchFamily="2" charset="2"/>
              <a:buChar char="§"/>
            </a:pPr>
            <a:r>
              <a:rPr lang="en-US" sz="1800" dirty="0">
                <a:latin typeface="Gotham Medium" panose="02000603030000020004" pitchFamily="2" charset="0"/>
              </a:rPr>
              <a:t>MHT-CET 2021 or JEE Main 2021 Paper – I Score</a:t>
            </a:r>
          </a:p>
        </p:txBody>
      </p:sp>
      <p:sp>
        <p:nvSpPr>
          <p:cNvPr id="8" name="TextBox 7">
            <a:extLst>
              <a:ext uri="{FF2B5EF4-FFF2-40B4-BE49-F238E27FC236}">
                <a16:creationId xmlns:a16="http://schemas.microsoft.com/office/drawing/2014/main" id="{F55CF8CA-A295-4441-BD9D-0B14D5F982DE}"/>
              </a:ext>
            </a:extLst>
          </p:cNvPr>
          <p:cNvSpPr txBox="1"/>
          <p:nvPr/>
        </p:nvSpPr>
        <p:spPr>
          <a:xfrm>
            <a:off x="3124200" y="2820447"/>
            <a:ext cx="4572000" cy="1525418"/>
          </a:xfrm>
          <a:prstGeom prst="rect">
            <a:avLst/>
          </a:prstGeom>
          <a:noFill/>
        </p:spPr>
        <p:txBody>
          <a:bodyPr wrap="square">
            <a:spAutoFit/>
          </a:bodyPr>
          <a:lstStyle/>
          <a:p>
            <a:pPr marL="742950" lvl="1" indent="-285750">
              <a:lnSpc>
                <a:spcPct val="120000"/>
              </a:lnSpc>
              <a:spcBef>
                <a:spcPct val="20000"/>
              </a:spcBef>
              <a:buFont typeface="Wingdings" pitchFamily="2" charset="2"/>
              <a:buChar char="§"/>
            </a:pPr>
            <a:r>
              <a:rPr lang="en-US" sz="1400" dirty="0">
                <a:solidFill>
                  <a:srgbClr val="FF5969"/>
                </a:solidFill>
                <a:latin typeface="Gotham Medium" panose="02000603030000020004" pitchFamily="2" charset="0"/>
              </a:rPr>
              <a:t>Electronics</a:t>
            </a:r>
          </a:p>
          <a:p>
            <a:pPr marL="742950" lvl="1" indent="-285750">
              <a:lnSpc>
                <a:spcPct val="120000"/>
              </a:lnSpc>
              <a:spcBef>
                <a:spcPct val="20000"/>
              </a:spcBef>
              <a:buFont typeface="Wingdings" pitchFamily="2" charset="2"/>
              <a:buChar char="§"/>
            </a:pPr>
            <a:r>
              <a:rPr lang="en-US" sz="1400" dirty="0">
                <a:solidFill>
                  <a:srgbClr val="FF5969"/>
                </a:solidFill>
                <a:latin typeface="Gotham Medium" panose="02000603030000020004" pitchFamily="2" charset="0"/>
              </a:rPr>
              <a:t>Computer Science</a:t>
            </a:r>
          </a:p>
          <a:p>
            <a:pPr marL="742950" lvl="1" indent="-285750">
              <a:lnSpc>
                <a:spcPct val="120000"/>
              </a:lnSpc>
              <a:spcBef>
                <a:spcPct val="20000"/>
              </a:spcBef>
              <a:buFont typeface="Wingdings" pitchFamily="2" charset="2"/>
              <a:buChar char="§"/>
            </a:pPr>
            <a:r>
              <a:rPr lang="en-US" sz="1400" dirty="0">
                <a:solidFill>
                  <a:srgbClr val="FF5969"/>
                </a:solidFill>
                <a:latin typeface="Gotham Medium" panose="02000603030000020004" pitchFamily="2" charset="0"/>
              </a:rPr>
              <a:t>Informatics Practices </a:t>
            </a:r>
          </a:p>
          <a:p>
            <a:pPr marL="742950" lvl="1" indent="-285750">
              <a:lnSpc>
                <a:spcPct val="120000"/>
              </a:lnSpc>
              <a:spcBef>
                <a:spcPct val="20000"/>
              </a:spcBef>
              <a:buFont typeface="Wingdings" pitchFamily="2" charset="2"/>
              <a:buChar char="§"/>
            </a:pPr>
            <a:r>
              <a:rPr lang="en-US" sz="1400" dirty="0">
                <a:solidFill>
                  <a:srgbClr val="FF5969"/>
                </a:solidFill>
                <a:latin typeface="Gotham Medium" panose="02000603030000020004" pitchFamily="2" charset="0"/>
              </a:rPr>
              <a:t>Information Technology </a:t>
            </a:r>
          </a:p>
          <a:p>
            <a:pPr marL="742950" lvl="1" indent="-285750">
              <a:lnSpc>
                <a:spcPct val="120000"/>
              </a:lnSpc>
              <a:spcBef>
                <a:spcPct val="20000"/>
              </a:spcBef>
              <a:buFont typeface="Wingdings" pitchFamily="2" charset="2"/>
              <a:buChar char="§"/>
            </a:pPr>
            <a:r>
              <a:rPr lang="en-US" sz="1400" dirty="0">
                <a:solidFill>
                  <a:srgbClr val="FF5969"/>
                </a:solidFill>
                <a:latin typeface="Gotham Medium" panose="02000603030000020004" pitchFamily="2" charset="0"/>
              </a:rPr>
              <a:t>Technical Vocational Subject</a:t>
            </a:r>
          </a:p>
        </p:txBody>
      </p:sp>
    </p:spTree>
    <p:extLst>
      <p:ext uri="{BB962C8B-B14F-4D97-AF65-F5344CB8AC3E}">
        <p14:creationId xmlns:p14="http://schemas.microsoft.com/office/powerpoint/2010/main" val="140154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283" y="202700"/>
            <a:ext cx="7503317" cy="473898"/>
          </a:xfrm>
          <a:effectLst/>
        </p:spPr>
        <p:txBody>
          <a:bodyPr vert="horz" lIns="91440" tIns="45720" rIns="91440" bIns="45720" rtlCol="0" anchor="ctr">
            <a:noAutofit/>
          </a:bodyPr>
          <a:lstStyle/>
          <a:p>
            <a:pPr algn="l"/>
            <a:r>
              <a:rPr lang="en-US" sz="2800" dirty="0">
                <a:solidFill>
                  <a:srgbClr val="52CBBE"/>
                </a:solidFill>
                <a:latin typeface="Gotham Bold" panose="02000803030000020004" pitchFamily="2" charset="0"/>
              </a:rPr>
              <a:t>Eligibility Criteria for </a:t>
            </a:r>
            <a:r>
              <a:rPr lang="en-US" sz="2800" dirty="0">
                <a:solidFill>
                  <a:srgbClr val="FF5969"/>
                </a:solidFill>
                <a:latin typeface="Gotham Bold" panose="02000803030000020004" pitchFamily="2" charset="0"/>
              </a:rPr>
              <a:t>Diploma Holders </a:t>
            </a:r>
          </a:p>
        </p:txBody>
      </p:sp>
      <p:sp>
        <p:nvSpPr>
          <p:cNvPr id="14" name="Rectangle 13">
            <a:extLst>
              <a:ext uri="{FF2B5EF4-FFF2-40B4-BE49-F238E27FC236}">
                <a16:creationId xmlns:a16="http://schemas.microsoft.com/office/drawing/2014/main" id="{409F94E2-AA90-48F7-B1A1-D19E95051655}"/>
              </a:ext>
            </a:extLst>
          </p:cNvPr>
          <p:cNvSpPr/>
          <p:nvPr/>
        </p:nvSpPr>
        <p:spPr>
          <a:xfrm>
            <a:off x="1" y="0"/>
            <a:ext cx="145325" cy="5143499"/>
          </a:xfrm>
          <a:prstGeom prst="rect">
            <a:avLst/>
          </a:prstGeom>
          <a:solidFill>
            <a:srgbClr val="FF596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16" name="Rectangle 15">
            <a:extLst>
              <a:ext uri="{FF2B5EF4-FFF2-40B4-BE49-F238E27FC236}">
                <a16:creationId xmlns:a16="http://schemas.microsoft.com/office/drawing/2014/main" id="{984FA07D-EE46-4AD9-8DBB-229FAA46DCF3}"/>
              </a:ext>
            </a:extLst>
          </p:cNvPr>
          <p:cNvSpPr/>
          <p:nvPr/>
        </p:nvSpPr>
        <p:spPr>
          <a:xfrm>
            <a:off x="13448" y="5010149"/>
            <a:ext cx="2805952" cy="133349"/>
          </a:xfrm>
          <a:prstGeom prst="rect">
            <a:avLst/>
          </a:prstGeom>
          <a:solidFill>
            <a:srgbClr val="FF596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17" name="Rectangle 16">
            <a:extLst>
              <a:ext uri="{FF2B5EF4-FFF2-40B4-BE49-F238E27FC236}">
                <a16:creationId xmlns:a16="http://schemas.microsoft.com/office/drawing/2014/main" id="{35C7A1FF-FA12-4221-8956-6985FC3E54C3}"/>
              </a:ext>
            </a:extLst>
          </p:cNvPr>
          <p:cNvSpPr/>
          <p:nvPr/>
        </p:nvSpPr>
        <p:spPr>
          <a:xfrm>
            <a:off x="77312" y="269752"/>
            <a:ext cx="145325" cy="339794"/>
          </a:xfrm>
          <a:prstGeom prst="rect">
            <a:avLst/>
          </a:prstGeom>
          <a:solidFill>
            <a:schemeClr val="tx1">
              <a:lumMod val="50000"/>
              <a:lumOff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7" name="Content Placeholder 2">
            <a:extLst>
              <a:ext uri="{FF2B5EF4-FFF2-40B4-BE49-F238E27FC236}">
                <a16:creationId xmlns:a16="http://schemas.microsoft.com/office/drawing/2014/main" id="{CC1357FD-2989-415C-A65A-6707BE66CD30}"/>
              </a:ext>
            </a:extLst>
          </p:cNvPr>
          <p:cNvSpPr txBox="1">
            <a:spLocks/>
          </p:cNvSpPr>
          <p:nvPr/>
        </p:nvSpPr>
        <p:spPr>
          <a:xfrm>
            <a:off x="345283" y="1286540"/>
            <a:ext cx="8305800" cy="2571306"/>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60000"/>
              </a:lnSpc>
              <a:buFont typeface="Wingdings" pitchFamily="2" charset="2"/>
              <a:buChar char="§"/>
            </a:pPr>
            <a:r>
              <a:rPr lang="en-US" sz="2000" dirty="0">
                <a:latin typeface="Gotham Medium" panose="02000603030000020004" pitchFamily="2" charset="0"/>
              </a:rPr>
              <a:t>Passed Diploma in Engineering and Technology and obtained at least 45% marks (at least 40% marks, in case of Backward Class categories, </a:t>
            </a:r>
            <a:r>
              <a:rPr lang="en-US" sz="2000" dirty="0">
                <a:solidFill>
                  <a:srgbClr val="FF0000"/>
                </a:solidFill>
                <a:latin typeface="Gotham Medium" panose="02000603030000020004" pitchFamily="2" charset="0"/>
              </a:rPr>
              <a:t>Economically Weaker Section </a:t>
            </a:r>
            <a:r>
              <a:rPr lang="en-US" sz="2000" dirty="0">
                <a:latin typeface="Gotham Medium" panose="02000603030000020004" pitchFamily="2" charset="0"/>
              </a:rPr>
              <a:t>and Persons with Disability category candidates belonging to Maharashtra State)</a:t>
            </a:r>
          </a:p>
          <a:p>
            <a:pPr>
              <a:lnSpc>
                <a:spcPct val="160000"/>
              </a:lnSpc>
              <a:buFont typeface="Wingdings" pitchFamily="2" charset="2"/>
              <a:buChar char="§"/>
            </a:pPr>
            <a:endParaRPr lang="en-US" sz="2000" dirty="0">
              <a:latin typeface="Gotham Medium" panose="02000603030000020004" pitchFamily="2" charset="0"/>
            </a:endParaRPr>
          </a:p>
        </p:txBody>
      </p:sp>
    </p:spTree>
    <p:extLst>
      <p:ext uri="{BB962C8B-B14F-4D97-AF65-F5344CB8AC3E}">
        <p14:creationId xmlns:p14="http://schemas.microsoft.com/office/powerpoint/2010/main" val="1777782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77" descr="Presentations background 3D model - TurboSquid 1163407">
            <a:extLst>
              <a:ext uri="{FF2B5EF4-FFF2-40B4-BE49-F238E27FC236}">
                <a16:creationId xmlns:a16="http://schemas.microsoft.com/office/drawing/2014/main" id="{D5DD4133-058B-4FF3-B745-2E8983AEC996}"/>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0" y="-1"/>
            <a:ext cx="9142412" cy="51435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6BAE015D-47D1-4E48-8E90-3697142C75CA}"/>
              </a:ext>
            </a:extLst>
          </p:cNvPr>
          <p:cNvSpPr/>
          <p:nvPr/>
        </p:nvSpPr>
        <p:spPr>
          <a:xfrm>
            <a:off x="2057400" y="1872476"/>
            <a:ext cx="7086600" cy="1496146"/>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grpSp>
        <p:nvGrpSpPr>
          <p:cNvPr id="2" name="Group 1">
            <a:extLst>
              <a:ext uri="{FF2B5EF4-FFF2-40B4-BE49-F238E27FC236}">
                <a16:creationId xmlns:a16="http://schemas.microsoft.com/office/drawing/2014/main" id="{54EEDD90-704E-4878-AF8D-68076816A27C}"/>
              </a:ext>
            </a:extLst>
          </p:cNvPr>
          <p:cNvGrpSpPr/>
          <p:nvPr/>
        </p:nvGrpSpPr>
        <p:grpSpPr>
          <a:xfrm>
            <a:off x="268941" y="742950"/>
            <a:ext cx="2438400" cy="3496230"/>
            <a:chOff x="457200" y="590550"/>
            <a:chExt cx="2979057" cy="4182030"/>
          </a:xfrm>
        </p:grpSpPr>
        <p:sp>
          <p:nvSpPr>
            <p:cNvPr id="12" name="Freeform: Shape 11">
              <a:extLst>
                <a:ext uri="{FF2B5EF4-FFF2-40B4-BE49-F238E27FC236}">
                  <a16:creationId xmlns:a16="http://schemas.microsoft.com/office/drawing/2014/main" id="{07097967-BC15-498E-939C-AE11970C5D94}"/>
                </a:ext>
              </a:extLst>
            </p:cNvPr>
            <p:cNvSpPr>
              <a:spLocks/>
            </p:cNvSpPr>
            <p:nvPr/>
          </p:nvSpPr>
          <p:spPr bwMode="auto">
            <a:xfrm rot="410959" flipH="1">
              <a:off x="794188" y="1474662"/>
              <a:ext cx="2305082" cy="3297918"/>
            </a:xfrm>
            <a:custGeom>
              <a:avLst/>
              <a:gdLst>
                <a:gd name="connsiteX0" fmla="*/ 1696267 w 2854049"/>
                <a:gd name="connsiteY0" fmla="*/ 3431657 h 4135471"/>
                <a:gd name="connsiteX1" fmla="*/ 1344360 w 2854049"/>
                <a:gd name="connsiteY1" fmla="*/ 3783564 h 4135471"/>
                <a:gd name="connsiteX2" fmla="*/ 1696267 w 2854049"/>
                <a:gd name="connsiteY2" fmla="*/ 4135471 h 4135471"/>
                <a:gd name="connsiteX3" fmla="*/ 2048174 w 2854049"/>
                <a:gd name="connsiteY3" fmla="*/ 3783564 h 4135471"/>
                <a:gd name="connsiteX4" fmla="*/ 1696267 w 2854049"/>
                <a:gd name="connsiteY4" fmla="*/ 3431657 h 4135471"/>
                <a:gd name="connsiteX5" fmla="*/ 1470680 w 2854049"/>
                <a:gd name="connsiteY5" fmla="*/ 0 h 4135471"/>
                <a:gd name="connsiteX6" fmla="*/ 1360088 w 2854049"/>
                <a:gd name="connsiteY6" fmla="*/ 9020 h 4135471"/>
                <a:gd name="connsiteX7" fmla="*/ 1082638 w 2854049"/>
                <a:gd name="connsiteY7" fmla="*/ 72152 h 4135471"/>
                <a:gd name="connsiteX8" fmla="*/ 1000179 w 2854049"/>
                <a:gd name="connsiteY8" fmla="*/ 103217 h 4135471"/>
                <a:gd name="connsiteX9" fmla="*/ 918691 w 2854049"/>
                <a:gd name="connsiteY9" fmla="*/ 138291 h 4135471"/>
                <a:gd name="connsiteX10" fmla="*/ 839141 w 2854049"/>
                <a:gd name="connsiteY10" fmla="*/ 180379 h 4135471"/>
                <a:gd name="connsiteX11" fmla="*/ 765414 w 2854049"/>
                <a:gd name="connsiteY11" fmla="*/ 227479 h 4135471"/>
                <a:gd name="connsiteX12" fmla="*/ 694595 w 2854049"/>
                <a:gd name="connsiteY12" fmla="*/ 280591 h 4135471"/>
                <a:gd name="connsiteX13" fmla="*/ 629599 w 2854049"/>
                <a:gd name="connsiteY13" fmla="*/ 338714 h 4135471"/>
                <a:gd name="connsiteX14" fmla="*/ 569452 w 2854049"/>
                <a:gd name="connsiteY14" fmla="*/ 401847 h 4135471"/>
                <a:gd name="connsiteX15" fmla="*/ 515126 w 2854049"/>
                <a:gd name="connsiteY15" fmla="*/ 470992 h 4135471"/>
                <a:gd name="connsiteX16" fmla="*/ 467591 w 2854049"/>
                <a:gd name="connsiteY16" fmla="*/ 544147 h 4135471"/>
                <a:gd name="connsiteX17" fmla="*/ 426847 w 2854049"/>
                <a:gd name="connsiteY17" fmla="*/ 622311 h 4135471"/>
                <a:gd name="connsiteX18" fmla="*/ 392893 w 2854049"/>
                <a:gd name="connsiteY18" fmla="*/ 706488 h 4135471"/>
                <a:gd name="connsiteX19" fmla="*/ 338568 w 2854049"/>
                <a:gd name="connsiteY19" fmla="*/ 937976 h 4135471"/>
                <a:gd name="connsiteX20" fmla="*/ 333717 w 2854049"/>
                <a:gd name="connsiteY20" fmla="*/ 994094 h 4135471"/>
                <a:gd name="connsiteX21" fmla="*/ 331776 w 2854049"/>
                <a:gd name="connsiteY21" fmla="*/ 1047206 h 4135471"/>
                <a:gd name="connsiteX22" fmla="*/ 333717 w 2854049"/>
                <a:gd name="connsiteY22" fmla="*/ 1096308 h 4135471"/>
                <a:gd name="connsiteX23" fmla="*/ 334686 w 2854049"/>
                <a:gd name="connsiteY23" fmla="*/ 1145413 h 4135471"/>
                <a:gd name="connsiteX24" fmla="*/ 334686 w 2854049"/>
                <a:gd name="connsiteY24" fmla="*/ 1191509 h 4135471"/>
                <a:gd name="connsiteX25" fmla="*/ 329836 w 2854049"/>
                <a:gd name="connsiteY25" fmla="*/ 1234599 h 4135471"/>
                <a:gd name="connsiteX26" fmla="*/ 315284 w 2854049"/>
                <a:gd name="connsiteY26" fmla="*/ 1278693 h 4135471"/>
                <a:gd name="connsiteX27" fmla="*/ 289092 w 2854049"/>
                <a:gd name="connsiteY27" fmla="*/ 1331805 h 4135471"/>
                <a:gd name="connsiteX28" fmla="*/ 257078 w 2854049"/>
                <a:gd name="connsiteY28" fmla="*/ 1380908 h 4135471"/>
                <a:gd name="connsiteX29" fmla="*/ 222155 w 2854049"/>
                <a:gd name="connsiteY29" fmla="*/ 1423998 h 4135471"/>
                <a:gd name="connsiteX30" fmla="*/ 185291 w 2854049"/>
                <a:gd name="connsiteY30" fmla="*/ 1468092 h 4135471"/>
                <a:gd name="connsiteX31" fmla="*/ 146487 w 2854049"/>
                <a:gd name="connsiteY31" fmla="*/ 1508176 h 4135471"/>
                <a:gd name="connsiteX32" fmla="*/ 107683 w 2854049"/>
                <a:gd name="connsiteY32" fmla="*/ 1548261 h 4135471"/>
                <a:gd name="connsiteX33" fmla="*/ 70819 w 2854049"/>
                <a:gd name="connsiteY33" fmla="*/ 1592354 h 4135471"/>
                <a:gd name="connsiteX34" fmla="*/ 58206 w 2854049"/>
                <a:gd name="connsiteY34" fmla="*/ 1604378 h 4135471"/>
                <a:gd name="connsiteX35" fmla="*/ 42684 w 2854049"/>
                <a:gd name="connsiteY35" fmla="*/ 1619410 h 4135471"/>
                <a:gd name="connsiteX36" fmla="*/ 26193 w 2854049"/>
                <a:gd name="connsiteY36" fmla="*/ 1637448 h 4135471"/>
                <a:gd name="connsiteX37" fmla="*/ 12611 w 2854049"/>
                <a:gd name="connsiteY37" fmla="*/ 1655486 h 4135471"/>
                <a:gd name="connsiteX38" fmla="*/ 3882 w 2854049"/>
                <a:gd name="connsiteY38" fmla="*/ 1677533 h 4135471"/>
                <a:gd name="connsiteX39" fmla="*/ 0 w 2854049"/>
                <a:gd name="connsiteY39" fmla="*/ 1701583 h 4135471"/>
                <a:gd name="connsiteX40" fmla="*/ 4851 w 2854049"/>
                <a:gd name="connsiteY40" fmla="*/ 1726636 h 4135471"/>
                <a:gd name="connsiteX41" fmla="*/ 17462 w 2854049"/>
                <a:gd name="connsiteY41" fmla="*/ 1750687 h 4135471"/>
                <a:gd name="connsiteX42" fmla="*/ 38806 w 2854049"/>
                <a:gd name="connsiteY42" fmla="*/ 1770728 h 4135471"/>
                <a:gd name="connsiteX43" fmla="*/ 63057 w 2854049"/>
                <a:gd name="connsiteY43" fmla="*/ 1784759 h 4135471"/>
                <a:gd name="connsiteX44" fmla="*/ 93130 w 2854049"/>
                <a:gd name="connsiteY44" fmla="*/ 1797786 h 4135471"/>
                <a:gd name="connsiteX45" fmla="*/ 125143 w 2854049"/>
                <a:gd name="connsiteY45" fmla="*/ 1808809 h 4135471"/>
                <a:gd name="connsiteX46" fmla="*/ 157158 w 2854049"/>
                <a:gd name="connsiteY46" fmla="*/ 1819833 h 4135471"/>
                <a:gd name="connsiteX47" fmla="*/ 188201 w 2854049"/>
                <a:gd name="connsiteY47" fmla="*/ 1830855 h 4135471"/>
                <a:gd name="connsiteX48" fmla="*/ 218273 w 2854049"/>
                <a:gd name="connsiteY48" fmla="*/ 1843883 h 4135471"/>
                <a:gd name="connsiteX49" fmla="*/ 245437 w 2854049"/>
                <a:gd name="connsiteY49" fmla="*/ 1857912 h 4135471"/>
                <a:gd name="connsiteX50" fmla="*/ 264839 w 2854049"/>
                <a:gd name="connsiteY50" fmla="*/ 1875951 h 4135471"/>
                <a:gd name="connsiteX51" fmla="*/ 259018 w 2854049"/>
                <a:gd name="connsiteY51" fmla="*/ 1900001 h 4135471"/>
                <a:gd name="connsiteX52" fmla="*/ 248347 w 2854049"/>
                <a:gd name="connsiteY52" fmla="*/ 1922047 h 4135471"/>
                <a:gd name="connsiteX53" fmla="*/ 237676 w 2854049"/>
                <a:gd name="connsiteY53" fmla="*/ 1945097 h 4135471"/>
                <a:gd name="connsiteX54" fmla="*/ 226035 w 2854049"/>
                <a:gd name="connsiteY54" fmla="*/ 1967142 h 4135471"/>
                <a:gd name="connsiteX55" fmla="*/ 215364 w 2854049"/>
                <a:gd name="connsiteY55" fmla="*/ 1989189 h 4135471"/>
                <a:gd name="connsiteX56" fmla="*/ 207602 w 2854049"/>
                <a:gd name="connsiteY56" fmla="*/ 2011236 h 4135471"/>
                <a:gd name="connsiteX57" fmla="*/ 204693 w 2854049"/>
                <a:gd name="connsiteY57" fmla="*/ 2031277 h 4135471"/>
                <a:gd name="connsiteX58" fmla="*/ 206633 w 2854049"/>
                <a:gd name="connsiteY58" fmla="*/ 2053324 h 4135471"/>
                <a:gd name="connsiteX59" fmla="*/ 217304 w 2854049"/>
                <a:gd name="connsiteY59" fmla="*/ 2073366 h 4135471"/>
                <a:gd name="connsiteX60" fmla="*/ 236706 w 2854049"/>
                <a:gd name="connsiteY60" fmla="*/ 2093409 h 4135471"/>
                <a:gd name="connsiteX61" fmla="*/ 264839 w 2854049"/>
                <a:gd name="connsiteY61" fmla="*/ 2113450 h 4135471"/>
                <a:gd name="connsiteX62" fmla="*/ 259018 w 2854049"/>
                <a:gd name="connsiteY62" fmla="*/ 2129483 h 4135471"/>
                <a:gd name="connsiteX63" fmla="*/ 250288 w 2854049"/>
                <a:gd name="connsiteY63" fmla="*/ 2145517 h 4135471"/>
                <a:gd name="connsiteX64" fmla="*/ 243497 w 2854049"/>
                <a:gd name="connsiteY64" fmla="*/ 2164557 h 4135471"/>
                <a:gd name="connsiteX65" fmla="*/ 241557 w 2854049"/>
                <a:gd name="connsiteY65" fmla="*/ 2184601 h 4135471"/>
                <a:gd name="connsiteX66" fmla="*/ 245437 w 2854049"/>
                <a:gd name="connsiteY66" fmla="*/ 2204642 h 4135471"/>
                <a:gd name="connsiteX67" fmla="*/ 256109 w 2854049"/>
                <a:gd name="connsiteY67" fmla="*/ 2222680 h 4135471"/>
                <a:gd name="connsiteX68" fmla="*/ 269690 w 2854049"/>
                <a:gd name="connsiteY68" fmla="*/ 2236709 h 4135471"/>
                <a:gd name="connsiteX69" fmla="*/ 287151 w 2854049"/>
                <a:gd name="connsiteY69" fmla="*/ 2249737 h 4135471"/>
                <a:gd name="connsiteX70" fmla="*/ 304613 w 2854049"/>
                <a:gd name="connsiteY70" fmla="*/ 2258756 h 4135471"/>
                <a:gd name="connsiteX71" fmla="*/ 321105 w 2854049"/>
                <a:gd name="connsiteY71" fmla="*/ 2269780 h 4135471"/>
                <a:gd name="connsiteX72" fmla="*/ 336627 w 2854049"/>
                <a:gd name="connsiteY72" fmla="*/ 2284810 h 4135471"/>
                <a:gd name="connsiteX73" fmla="*/ 345358 w 2854049"/>
                <a:gd name="connsiteY73" fmla="*/ 2300845 h 4135471"/>
                <a:gd name="connsiteX74" fmla="*/ 354089 w 2854049"/>
                <a:gd name="connsiteY74" fmla="*/ 2329906 h 4135471"/>
                <a:gd name="connsiteX75" fmla="*/ 354089 w 2854049"/>
                <a:gd name="connsiteY75" fmla="*/ 2362976 h 4135471"/>
                <a:gd name="connsiteX76" fmla="*/ 351179 w 2854049"/>
                <a:gd name="connsiteY76" fmla="*/ 2394041 h 4135471"/>
                <a:gd name="connsiteX77" fmla="*/ 343417 w 2854049"/>
                <a:gd name="connsiteY77" fmla="*/ 2426108 h 4135471"/>
                <a:gd name="connsiteX78" fmla="*/ 336627 w 2854049"/>
                <a:gd name="connsiteY78" fmla="*/ 2457173 h 4135471"/>
                <a:gd name="connsiteX79" fmla="*/ 331776 w 2854049"/>
                <a:gd name="connsiteY79" fmla="*/ 2485233 h 4135471"/>
                <a:gd name="connsiteX80" fmla="*/ 327896 w 2854049"/>
                <a:gd name="connsiteY80" fmla="*/ 2525318 h 4135471"/>
                <a:gd name="connsiteX81" fmla="*/ 331776 w 2854049"/>
                <a:gd name="connsiteY81" fmla="*/ 2561393 h 4135471"/>
                <a:gd name="connsiteX82" fmla="*/ 342447 w 2854049"/>
                <a:gd name="connsiteY82" fmla="*/ 2594464 h 4135471"/>
                <a:gd name="connsiteX83" fmla="*/ 356029 w 2854049"/>
                <a:gd name="connsiteY83" fmla="*/ 2623524 h 4135471"/>
                <a:gd name="connsiteX84" fmla="*/ 375432 w 2854049"/>
                <a:gd name="connsiteY84" fmla="*/ 2646572 h 4135471"/>
                <a:gd name="connsiteX85" fmla="*/ 400654 w 2854049"/>
                <a:gd name="connsiteY85" fmla="*/ 2668619 h 4135471"/>
                <a:gd name="connsiteX86" fmla="*/ 424906 w 2854049"/>
                <a:gd name="connsiteY86" fmla="*/ 2686657 h 4135471"/>
                <a:gd name="connsiteX87" fmla="*/ 453040 w 2854049"/>
                <a:gd name="connsiteY87" fmla="*/ 2701688 h 4135471"/>
                <a:gd name="connsiteX88" fmla="*/ 481173 w 2854049"/>
                <a:gd name="connsiteY88" fmla="*/ 2714717 h 4135471"/>
                <a:gd name="connsiteX89" fmla="*/ 509306 w 2854049"/>
                <a:gd name="connsiteY89" fmla="*/ 2721731 h 4135471"/>
                <a:gd name="connsiteX90" fmla="*/ 560721 w 2854049"/>
                <a:gd name="connsiteY90" fmla="*/ 2730751 h 4135471"/>
                <a:gd name="connsiteX91" fmla="*/ 615047 w 2854049"/>
                <a:gd name="connsiteY91" fmla="*/ 2734758 h 4135471"/>
                <a:gd name="connsiteX92" fmla="*/ 672284 w 2854049"/>
                <a:gd name="connsiteY92" fmla="*/ 2732755 h 4135471"/>
                <a:gd name="connsiteX93" fmla="*/ 728550 w 2854049"/>
                <a:gd name="connsiteY93" fmla="*/ 2726742 h 4135471"/>
                <a:gd name="connsiteX94" fmla="*/ 784816 w 2854049"/>
                <a:gd name="connsiteY94" fmla="*/ 2719726 h 4135471"/>
                <a:gd name="connsiteX95" fmla="*/ 838171 w 2854049"/>
                <a:gd name="connsiteY95" fmla="*/ 2708704 h 4135471"/>
                <a:gd name="connsiteX96" fmla="*/ 885706 w 2854049"/>
                <a:gd name="connsiteY96" fmla="*/ 2695677 h 4135471"/>
                <a:gd name="connsiteX97" fmla="*/ 927421 w 2854049"/>
                <a:gd name="connsiteY97" fmla="*/ 2681646 h 4135471"/>
                <a:gd name="connsiteX98" fmla="*/ 944882 w 2854049"/>
                <a:gd name="connsiteY98" fmla="*/ 2675633 h 4135471"/>
                <a:gd name="connsiteX99" fmla="*/ 968165 w 2854049"/>
                <a:gd name="connsiteY99" fmla="*/ 2668619 h 4135471"/>
                <a:gd name="connsiteX100" fmla="*/ 993388 w 2854049"/>
                <a:gd name="connsiteY100" fmla="*/ 2661605 h 4135471"/>
                <a:gd name="connsiteX101" fmla="*/ 1019581 w 2854049"/>
                <a:gd name="connsiteY101" fmla="*/ 2654590 h 4135471"/>
                <a:gd name="connsiteX102" fmla="*/ 1047714 w 2854049"/>
                <a:gd name="connsiteY102" fmla="*/ 2650582 h 4135471"/>
                <a:gd name="connsiteX103" fmla="*/ 1075847 w 2854049"/>
                <a:gd name="connsiteY103" fmla="*/ 2648577 h 4135471"/>
                <a:gd name="connsiteX104" fmla="*/ 1100100 w 2854049"/>
                <a:gd name="connsiteY104" fmla="*/ 2652585 h 4135471"/>
                <a:gd name="connsiteX105" fmla="*/ 1121442 w 2854049"/>
                <a:gd name="connsiteY105" fmla="*/ 2661605 h 4135471"/>
                <a:gd name="connsiteX106" fmla="*/ 1140844 w 2854049"/>
                <a:gd name="connsiteY106" fmla="*/ 2679643 h 4135471"/>
                <a:gd name="connsiteX107" fmla="*/ 1158306 w 2854049"/>
                <a:gd name="connsiteY107" fmla="*/ 2708704 h 4135471"/>
                <a:gd name="connsiteX108" fmla="*/ 1174797 w 2854049"/>
                <a:gd name="connsiteY108" fmla="*/ 2745782 h 4135471"/>
                <a:gd name="connsiteX109" fmla="*/ 1190319 w 2854049"/>
                <a:gd name="connsiteY109" fmla="*/ 2788872 h 4135471"/>
                <a:gd name="connsiteX110" fmla="*/ 1202931 w 2854049"/>
                <a:gd name="connsiteY110" fmla="*/ 2837975 h 4135471"/>
                <a:gd name="connsiteX111" fmla="*/ 1215541 w 2854049"/>
                <a:gd name="connsiteY111" fmla="*/ 2889083 h 4135471"/>
                <a:gd name="connsiteX112" fmla="*/ 1226212 w 2854049"/>
                <a:gd name="connsiteY112" fmla="*/ 2942195 h 4135471"/>
                <a:gd name="connsiteX113" fmla="*/ 1235914 w 2854049"/>
                <a:gd name="connsiteY113" fmla="*/ 2996309 h 4135471"/>
                <a:gd name="connsiteX114" fmla="*/ 1245616 w 2854049"/>
                <a:gd name="connsiteY114" fmla="*/ 3049421 h 4135471"/>
                <a:gd name="connsiteX115" fmla="*/ 1252407 w 2854049"/>
                <a:gd name="connsiteY115" fmla="*/ 3098524 h 4135471"/>
                <a:gd name="connsiteX116" fmla="*/ 1261138 w 2854049"/>
                <a:gd name="connsiteY116" fmla="*/ 3144621 h 4135471"/>
                <a:gd name="connsiteX117" fmla="*/ 1267927 w 2854049"/>
                <a:gd name="connsiteY117" fmla="*/ 3182701 h 4135471"/>
                <a:gd name="connsiteX118" fmla="*/ 1273749 w 2854049"/>
                <a:gd name="connsiteY118" fmla="*/ 3215771 h 4135471"/>
                <a:gd name="connsiteX119" fmla="*/ 1405683 w 2854049"/>
                <a:gd name="connsiteY119" fmla="*/ 3238820 h 4135471"/>
                <a:gd name="connsiteX120" fmla="*/ 1539558 w 2854049"/>
                <a:gd name="connsiteY120" fmla="*/ 3251847 h 4135471"/>
                <a:gd name="connsiteX121" fmla="*/ 1677312 w 2854049"/>
                <a:gd name="connsiteY121" fmla="*/ 3253851 h 4135471"/>
                <a:gd name="connsiteX122" fmla="*/ 1817977 w 2854049"/>
                <a:gd name="connsiteY122" fmla="*/ 3246837 h 4135471"/>
                <a:gd name="connsiteX123" fmla="*/ 1963493 w 2854049"/>
                <a:gd name="connsiteY123" fmla="*/ 3226793 h 4135471"/>
                <a:gd name="connsiteX124" fmla="*/ 1998071 w 2854049"/>
                <a:gd name="connsiteY124" fmla="*/ 3220300 h 4135471"/>
                <a:gd name="connsiteX125" fmla="*/ 1972544 w 2854049"/>
                <a:gd name="connsiteY125" fmla="*/ 2990832 h 4135471"/>
                <a:gd name="connsiteX126" fmla="*/ 1866104 w 2854049"/>
                <a:gd name="connsiteY126" fmla="*/ 2529483 h 4135471"/>
                <a:gd name="connsiteX127" fmla="*/ 1085631 w 2854049"/>
                <a:gd name="connsiteY127" fmla="*/ 1773024 h 4135471"/>
                <a:gd name="connsiteX128" fmla="*/ 1277747 w 2854049"/>
                <a:gd name="connsiteY128" fmla="*/ 968535 h 4135471"/>
                <a:gd name="connsiteX129" fmla="*/ 1914134 w 2854049"/>
                <a:gd name="connsiteY129" fmla="*/ 872477 h 4135471"/>
                <a:gd name="connsiteX130" fmla="*/ 2334389 w 2854049"/>
                <a:gd name="connsiteY130" fmla="*/ 1316747 h 4135471"/>
                <a:gd name="connsiteX131" fmla="*/ 2850702 w 2854049"/>
                <a:gd name="connsiteY131" fmla="*/ 1256710 h 4135471"/>
                <a:gd name="connsiteX132" fmla="*/ 2851858 w 2854049"/>
                <a:gd name="connsiteY132" fmla="*/ 1288484 h 4135471"/>
                <a:gd name="connsiteX133" fmla="*/ 2854049 w 2854049"/>
                <a:gd name="connsiteY133" fmla="*/ 1252639 h 4135471"/>
                <a:gd name="connsiteX134" fmla="*/ 2852109 w 2854049"/>
                <a:gd name="connsiteY134" fmla="*/ 1156435 h 4135471"/>
                <a:gd name="connsiteX135" fmla="*/ 2845318 w 2854049"/>
                <a:gd name="connsiteY135" fmla="*/ 1062236 h 4135471"/>
                <a:gd name="connsiteX136" fmla="*/ 2830767 w 2854049"/>
                <a:gd name="connsiteY136" fmla="*/ 971045 h 4135471"/>
                <a:gd name="connsiteX137" fmla="*/ 2811365 w 2854049"/>
                <a:gd name="connsiteY137" fmla="*/ 881857 h 4135471"/>
                <a:gd name="connsiteX138" fmla="*/ 2787112 w 2854049"/>
                <a:gd name="connsiteY138" fmla="*/ 799684 h 4135471"/>
                <a:gd name="connsiteX139" fmla="*/ 2759950 w 2854049"/>
                <a:gd name="connsiteY139" fmla="*/ 724526 h 4135471"/>
                <a:gd name="connsiteX140" fmla="*/ 2728906 w 2854049"/>
                <a:gd name="connsiteY140" fmla="*/ 657385 h 4135471"/>
                <a:gd name="connsiteX141" fmla="*/ 2682340 w 2854049"/>
                <a:gd name="connsiteY141" fmla="*/ 577215 h 4135471"/>
                <a:gd name="connsiteX142" fmla="*/ 2631895 w 2854049"/>
                <a:gd name="connsiteY142" fmla="*/ 501055 h 4135471"/>
                <a:gd name="connsiteX143" fmla="*/ 2574659 w 2854049"/>
                <a:gd name="connsiteY143" fmla="*/ 429907 h 4135471"/>
                <a:gd name="connsiteX144" fmla="*/ 2513543 w 2854049"/>
                <a:gd name="connsiteY144" fmla="*/ 361762 h 4135471"/>
                <a:gd name="connsiteX145" fmla="*/ 2446606 w 2854049"/>
                <a:gd name="connsiteY145" fmla="*/ 300634 h 4135471"/>
                <a:gd name="connsiteX146" fmla="*/ 2371907 w 2854049"/>
                <a:gd name="connsiteY146" fmla="*/ 243513 h 4135471"/>
                <a:gd name="connsiteX147" fmla="*/ 2294299 w 2854049"/>
                <a:gd name="connsiteY147" fmla="*/ 192406 h 4135471"/>
                <a:gd name="connsiteX148" fmla="*/ 2211840 w 2854049"/>
                <a:gd name="connsiteY148" fmla="*/ 147311 h 4135471"/>
                <a:gd name="connsiteX149" fmla="*/ 2121620 w 2854049"/>
                <a:gd name="connsiteY149" fmla="*/ 109230 h 4135471"/>
                <a:gd name="connsiteX150" fmla="*/ 2028490 w 2854049"/>
                <a:gd name="connsiteY150" fmla="*/ 74157 h 4135471"/>
                <a:gd name="connsiteX151" fmla="*/ 1927599 w 2854049"/>
                <a:gd name="connsiteY151" fmla="*/ 47099 h 4135471"/>
                <a:gd name="connsiteX152" fmla="*/ 1821858 w 2854049"/>
                <a:gd name="connsiteY152" fmla="*/ 25053 h 4135471"/>
                <a:gd name="connsiteX153" fmla="*/ 1711265 w 2854049"/>
                <a:gd name="connsiteY153" fmla="*/ 10021 h 4135471"/>
                <a:gd name="connsiteX154" fmla="*/ 1594853 w 2854049"/>
                <a:gd name="connsiteY154" fmla="*/ 1002 h 413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854049" h="4135471">
                  <a:moveTo>
                    <a:pt x="1696267" y="3431657"/>
                  </a:moveTo>
                  <a:cubicBezTo>
                    <a:pt x="1501914" y="3431657"/>
                    <a:pt x="1344360" y="3589211"/>
                    <a:pt x="1344360" y="3783564"/>
                  </a:cubicBezTo>
                  <a:cubicBezTo>
                    <a:pt x="1344360" y="3977917"/>
                    <a:pt x="1501914" y="4135471"/>
                    <a:pt x="1696267" y="4135471"/>
                  </a:cubicBezTo>
                  <a:cubicBezTo>
                    <a:pt x="1890620" y="4135471"/>
                    <a:pt x="2048174" y="3977917"/>
                    <a:pt x="2048174" y="3783564"/>
                  </a:cubicBezTo>
                  <a:cubicBezTo>
                    <a:pt x="2048174" y="3589211"/>
                    <a:pt x="1890620" y="3431657"/>
                    <a:pt x="1696267" y="3431657"/>
                  </a:cubicBezTo>
                  <a:close/>
                  <a:moveTo>
                    <a:pt x="1470680" y="0"/>
                  </a:moveTo>
                  <a:lnTo>
                    <a:pt x="1360088" y="9020"/>
                  </a:lnTo>
                  <a:lnTo>
                    <a:pt x="1082638" y="72152"/>
                  </a:lnTo>
                  <a:lnTo>
                    <a:pt x="1000179" y="103217"/>
                  </a:lnTo>
                  <a:lnTo>
                    <a:pt x="918691" y="138291"/>
                  </a:lnTo>
                  <a:lnTo>
                    <a:pt x="839141" y="180379"/>
                  </a:lnTo>
                  <a:lnTo>
                    <a:pt x="765414" y="227479"/>
                  </a:lnTo>
                  <a:lnTo>
                    <a:pt x="694595" y="280591"/>
                  </a:lnTo>
                  <a:lnTo>
                    <a:pt x="629599" y="338714"/>
                  </a:lnTo>
                  <a:lnTo>
                    <a:pt x="569452" y="401847"/>
                  </a:lnTo>
                  <a:lnTo>
                    <a:pt x="515126" y="470992"/>
                  </a:lnTo>
                  <a:lnTo>
                    <a:pt x="467591" y="544147"/>
                  </a:lnTo>
                  <a:lnTo>
                    <a:pt x="426847" y="622311"/>
                  </a:lnTo>
                  <a:lnTo>
                    <a:pt x="392893" y="706488"/>
                  </a:lnTo>
                  <a:lnTo>
                    <a:pt x="338568" y="937976"/>
                  </a:lnTo>
                  <a:lnTo>
                    <a:pt x="333717" y="994094"/>
                  </a:lnTo>
                  <a:lnTo>
                    <a:pt x="331776" y="1047206"/>
                  </a:lnTo>
                  <a:lnTo>
                    <a:pt x="333717" y="1096308"/>
                  </a:lnTo>
                  <a:lnTo>
                    <a:pt x="334686" y="1145413"/>
                  </a:lnTo>
                  <a:lnTo>
                    <a:pt x="334686" y="1191509"/>
                  </a:lnTo>
                  <a:lnTo>
                    <a:pt x="329836" y="1234599"/>
                  </a:lnTo>
                  <a:lnTo>
                    <a:pt x="315284" y="1278693"/>
                  </a:lnTo>
                  <a:lnTo>
                    <a:pt x="289092" y="1331805"/>
                  </a:lnTo>
                  <a:lnTo>
                    <a:pt x="257078" y="1380908"/>
                  </a:lnTo>
                  <a:lnTo>
                    <a:pt x="222155" y="1423998"/>
                  </a:lnTo>
                  <a:lnTo>
                    <a:pt x="185291" y="1468092"/>
                  </a:lnTo>
                  <a:lnTo>
                    <a:pt x="146487" y="1508176"/>
                  </a:lnTo>
                  <a:lnTo>
                    <a:pt x="107683" y="1548261"/>
                  </a:lnTo>
                  <a:lnTo>
                    <a:pt x="70819" y="1592354"/>
                  </a:lnTo>
                  <a:lnTo>
                    <a:pt x="58206" y="1604378"/>
                  </a:lnTo>
                  <a:lnTo>
                    <a:pt x="42684" y="1619410"/>
                  </a:lnTo>
                  <a:lnTo>
                    <a:pt x="26193" y="1637448"/>
                  </a:lnTo>
                  <a:lnTo>
                    <a:pt x="12611" y="1655486"/>
                  </a:lnTo>
                  <a:lnTo>
                    <a:pt x="3882" y="1677533"/>
                  </a:lnTo>
                  <a:lnTo>
                    <a:pt x="0" y="1701583"/>
                  </a:lnTo>
                  <a:lnTo>
                    <a:pt x="4851" y="1726636"/>
                  </a:lnTo>
                  <a:lnTo>
                    <a:pt x="17462" y="1750687"/>
                  </a:lnTo>
                  <a:lnTo>
                    <a:pt x="38806" y="1770728"/>
                  </a:lnTo>
                  <a:lnTo>
                    <a:pt x="63057" y="1784759"/>
                  </a:lnTo>
                  <a:lnTo>
                    <a:pt x="93130" y="1797786"/>
                  </a:lnTo>
                  <a:lnTo>
                    <a:pt x="125143" y="1808809"/>
                  </a:lnTo>
                  <a:lnTo>
                    <a:pt x="157158" y="1819833"/>
                  </a:lnTo>
                  <a:lnTo>
                    <a:pt x="188201" y="1830855"/>
                  </a:lnTo>
                  <a:lnTo>
                    <a:pt x="218273" y="1843883"/>
                  </a:lnTo>
                  <a:lnTo>
                    <a:pt x="245437" y="1857912"/>
                  </a:lnTo>
                  <a:lnTo>
                    <a:pt x="264839" y="1875951"/>
                  </a:lnTo>
                  <a:lnTo>
                    <a:pt x="259018" y="1900001"/>
                  </a:lnTo>
                  <a:lnTo>
                    <a:pt x="248347" y="1922047"/>
                  </a:lnTo>
                  <a:lnTo>
                    <a:pt x="237676" y="1945097"/>
                  </a:lnTo>
                  <a:lnTo>
                    <a:pt x="226035" y="1967142"/>
                  </a:lnTo>
                  <a:lnTo>
                    <a:pt x="215364" y="1989189"/>
                  </a:lnTo>
                  <a:lnTo>
                    <a:pt x="207602" y="2011236"/>
                  </a:lnTo>
                  <a:lnTo>
                    <a:pt x="204693" y="2031277"/>
                  </a:lnTo>
                  <a:lnTo>
                    <a:pt x="206633" y="2053324"/>
                  </a:lnTo>
                  <a:lnTo>
                    <a:pt x="217304" y="2073366"/>
                  </a:lnTo>
                  <a:lnTo>
                    <a:pt x="236706" y="2093409"/>
                  </a:lnTo>
                  <a:lnTo>
                    <a:pt x="264839" y="2113450"/>
                  </a:lnTo>
                  <a:lnTo>
                    <a:pt x="259018" y="2129483"/>
                  </a:lnTo>
                  <a:lnTo>
                    <a:pt x="250288" y="2145517"/>
                  </a:lnTo>
                  <a:lnTo>
                    <a:pt x="243497" y="2164557"/>
                  </a:lnTo>
                  <a:lnTo>
                    <a:pt x="241557" y="2184601"/>
                  </a:lnTo>
                  <a:lnTo>
                    <a:pt x="245437" y="2204642"/>
                  </a:lnTo>
                  <a:lnTo>
                    <a:pt x="256109" y="2222680"/>
                  </a:lnTo>
                  <a:lnTo>
                    <a:pt x="269690" y="2236709"/>
                  </a:lnTo>
                  <a:lnTo>
                    <a:pt x="287151" y="2249737"/>
                  </a:lnTo>
                  <a:lnTo>
                    <a:pt x="304613" y="2258756"/>
                  </a:lnTo>
                  <a:lnTo>
                    <a:pt x="321105" y="2269780"/>
                  </a:lnTo>
                  <a:lnTo>
                    <a:pt x="336627" y="2284810"/>
                  </a:lnTo>
                  <a:lnTo>
                    <a:pt x="345358" y="2300845"/>
                  </a:lnTo>
                  <a:lnTo>
                    <a:pt x="354089" y="2329906"/>
                  </a:lnTo>
                  <a:lnTo>
                    <a:pt x="354089" y="2362976"/>
                  </a:lnTo>
                  <a:lnTo>
                    <a:pt x="351179" y="2394041"/>
                  </a:lnTo>
                  <a:lnTo>
                    <a:pt x="343417" y="2426108"/>
                  </a:lnTo>
                  <a:lnTo>
                    <a:pt x="336627" y="2457173"/>
                  </a:lnTo>
                  <a:lnTo>
                    <a:pt x="331776" y="2485233"/>
                  </a:lnTo>
                  <a:lnTo>
                    <a:pt x="327896" y="2525318"/>
                  </a:lnTo>
                  <a:lnTo>
                    <a:pt x="331776" y="2561393"/>
                  </a:lnTo>
                  <a:lnTo>
                    <a:pt x="342447" y="2594464"/>
                  </a:lnTo>
                  <a:lnTo>
                    <a:pt x="356029" y="2623524"/>
                  </a:lnTo>
                  <a:lnTo>
                    <a:pt x="375432" y="2646572"/>
                  </a:lnTo>
                  <a:lnTo>
                    <a:pt x="400654" y="2668619"/>
                  </a:lnTo>
                  <a:lnTo>
                    <a:pt x="424906" y="2686657"/>
                  </a:lnTo>
                  <a:lnTo>
                    <a:pt x="453040" y="2701688"/>
                  </a:lnTo>
                  <a:lnTo>
                    <a:pt x="481173" y="2714717"/>
                  </a:lnTo>
                  <a:lnTo>
                    <a:pt x="509306" y="2721731"/>
                  </a:lnTo>
                  <a:lnTo>
                    <a:pt x="560721" y="2730751"/>
                  </a:lnTo>
                  <a:lnTo>
                    <a:pt x="615047" y="2734758"/>
                  </a:lnTo>
                  <a:lnTo>
                    <a:pt x="672284" y="2732755"/>
                  </a:lnTo>
                  <a:lnTo>
                    <a:pt x="728550" y="2726742"/>
                  </a:lnTo>
                  <a:lnTo>
                    <a:pt x="784816" y="2719726"/>
                  </a:lnTo>
                  <a:lnTo>
                    <a:pt x="838171" y="2708704"/>
                  </a:lnTo>
                  <a:lnTo>
                    <a:pt x="885706" y="2695677"/>
                  </a:lnTo>
                  <a:lnTo>
                    <a:pt x="927421" y="2681646"/>
                  </a:lnTo>
                  <a:lnTo>
                    <a:pt x="944882" y="2675633"/>
                  </a:lnTo>
                  <a:lnTo>
                    <a:pt x="968165" y="2668619"/>
                  </a:lnTo>
                  <a:lnTo>
                    <a:pt x="993388" y="2661605"/>
                  </a:lnTo>
                  <a:lnTo>
                    <a:pt x="1019581" y="2654590"/>
                  </a:lnTo>
                  <a:lnTo>
                    <a:pt x="1047714" y="2650582"/>
                  </a:lnTo>
                  <a:lnTo>
                    <a:pt x="1075847" y="2648577"/>
                  </a:lnTo>
                  <a:lnTo>
                    <a:pt x="1100100" y="2652585"/>
                  </a:lnTo>
                  <a:lnTo>
                    <a:pt x="1121442" y="2661605"/>
                  </a:lnTo>
                  <a:lnTo>
                    <a:pt x="1140844" y="2679643"/>
                  </a:lnTo>
                  <a:lnTo>
                    <a:pt x="1158306" y="2708704"/>
                  </a:lnTo>
                  <a:lnTo>
                    <a:pt x="1174797" y="2745782"/>
                  </a:lnTo>
                  <a:lnTo>
                    <a:pt x="1190319" y="2788872"/>
                  </a:lnTo>
                  <a:lnTo>
                    <a:pt x="1202931" y="2837975"/>
                  </a:lnTo>
                  <a:lnTo>
                    <a:pt x="1215541" y="2889083"/>
                  </a:lnTo>
                  <a:lnTo>
                    <a:pt x="1226212" y="2942195"/>
                  </a:lnTo>
                  <a:lnTo>
                    <a:pt x="1235914" y="2996309"/>
                  </a:lnTo>
                  <a:lnTo>
                    <a:pt x="1245616" y="3049421"/>
                  </a:lnTo>
                  <a:lnTo>
                    <a:pt x="1252407" y="3098524"/>
                  </a:lnTo>
                  <a:lnTo>
                    <a:pt x="1261138" y="3144621"/>
                  </a:lnTo>
                  <a:lnTo>
                    <a:pt x="1267927" y="3182701"/>
                  </a:lnTo>
                  <a:lnTo>
                    <a:pt x="1273749" y="3215771"/>
                  </a:lnTo>
                  <a:lnTo>
                    <a:pt x="1405683" y="3238820"/>
                  </a:lnTo>
                  <a:lnTo>
                    <a:pt x="1539558" y="3251847"/>
                  </a:lnTo>
                  <a:lnTo>
                    <a:pt x="1677312" y="3253851"/>
                  </a:lnTo>
                  <a:lnTo>
                    <a:pt x="1817977" y="3246837"/>
                  </a:lnTo>
                  <a:lnTo>
                    <a:pt x="1963493" y="3226793"/>
                  </a:lnTo>
                  <a:lnTo>
                    <a:pt x="1998071" y="3220300"/>
                  </a:lnTo>
                  <a:lnTo>
                    <a:pt x="1972544" y="2990832"/>
                  </a:lnTo>
                  <a:cubicBezTo>
                    <a:pt x="1951990" y="2824419"/>
                    <a:pt x="1923973" y="2664322"/>
                    <a:pt x="1866104" y="2529483"/>
                  </a:cubicBezTo>
                  <a:cubicBezTo>
                    <a:pt x="1798827" y="2378364"/>
                    <a:pt x="1318234" y="2057324"/>
                    <a:pt x="1085631" y="1773024"/>
                  </a:cubicBezTo>
                  <a:cubicBezTo>
                    <a:pt x="1039452" y="1683967"/>
                    <a:pt x="924385" y="1218329"/>
                    <a:pt x="1277747" y="968535"/>
                  </a:cubicBezTo>
                  <a:cubicBezTo>
                    <a:pt x="1430175" y="835482"/>
                    <a:pt x="1702005" y="831017"/>
                    <a:pt x="1914134" y="872477"/>
                  </a:cubicBezTo>
                  <a:cubicBezTo>
                    <a:pt x="2031257" y="905756"/>
                    <a:pt x="2240228" y="1053847"/>
                    <a:pt x="2334389" y="1316747"/>
                  </a:cubicBezTo>
                  <a:lnTo>
                    <a:pt x="2850702" y="1256710"/>
                  </a:lnTo>
                  <a:lnTo>
                    <a:pt x="2851858" y="1288484"/>
                  </a:lnTo>
                  <a:lnTo>
                    <a:pt x="2854049" y="1252639"/>
                  </a:lnTo>
                  <a:lnTo>
                    <a:pt x="2852109" y="1156435"/>
                  </a:lnTo>
                  <a:lnTo>
                    <a:pt x="2845318" y="1062236"/>
                  </a:lnTo>
                  <a:lnTo>
                    <a:pt x="2830767" y="971045"/>
                  </a:lnTo>
                  <a:lnTo>
                    <a:pt x="2811365" y="881857"/>
                  </a:lnTo>
                  <a:lnTo>
                    <a:pt x="2787112" y="799684"/>
                  </a:lnTo>
                  <a:lnTo>
                    <a:pt x="2759950" y="724526"/>
                  </a:lnTo>
                  <a:lnTo>
                    <a:pt x="2728906" y="657385"/>
                  </a:lnTo>
                  <a:lnTo>
                    <a:pt x="2682340" y="577215"/>
                  </a:lnTo>
                  <a:lnTo>
                    <a:pt x="2631895" y="501055"/>
                  </a:lnTo>
                  <a:lnTo>
                    <a:pt x="2574659" y="429907"/>
                  </a:lnTo>
                  <a:lnTo>
                    <a:pt x="2513543" y="361762"/>
                  </a:lnTo>
                  <a:lnTo>
                    <a:pt x="2446606" y="300634"/>
                  </a:lnTo>
                  <a:lnTo>
                    <a:pt x="2371907" y="243513"/>
                  </a:lnTo>
                  <a:lnTo>
                    <a:pt x="2294299" y="192406"/>
                  </a:lnTo>
                  <a:lnTo>
                    <a:pt x="2211840" y="147311"/>
                  </a:lnTo>
                  <a:lnTo>
                    <a:pt x="2121620" y="109230"/>
                  </a:lnTo>
                  <a:lnTo>
                    <a:pt x="2028490" y="74157"/>
                  </a:lnTo>
                  <a:lnTo>
                    <a:pt x="1927599" y="47099"/>
                  </a:lnTo>
                  <a:lnTo>
                    <a:pt x="1821858" y="25053"/>
                  </a:lnTo>
                  <a:lnTo>
                    <a:pt x="1711265" y="10021"/>
                  </a:lnTo>
                  <a:lnTo>
                    <a:pt x="1594853" y="1002"/>
                  </a:lnTo>
                  <a:close/>
                </a:path>
              </a:pathLst>
            </a:custGeom>
            <a:solidFill>
              <a:schemeClr val="tx1">
                <a:lumMod val="75000"/>
                <a:lumOff val="25000"/>
              </a:schemeClr>
            </a:solidFill>
            <a:ln>
              <a:solidFill>
                <a:srgbClr val="163F74"/>
              </a:solid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anchor="t" anchorCtr="0" compatLnSpc="1">
              <a:prstTxWarp prst="textNoShape">
                <a:avLst/>
              </a:prstTxWarp>
              <a:noAutofit/>
            </a:bodyPr>
            <a:lstStyle/>
            <a:p>
              <a:endParaRPr lang="ko-KR" altLang="en-US" sz="2026" dirty="0"/>
            </a:p>
          </p:txBody>
        </p:sp>
        <p:sp>
          <p:nvSpPr>
            <p:cNvPr id="16" name="Freeform: Shape 15">
              <a:extLst>
                <a:ext uri="{FF2B5EF4-FFF2-40B4-BE49-F238E27FC236}">
                  <a16:creationId xmlns:a16="http://schemas.microsoft.com/office/drawing/2014/main" id="{68C7E696-0B18-41D8-BADC-63197E0C7B5D}"/>
                </a:ext>
              </a:extLst>
            </p:cNvPr>
            <p:cNvSpPr/>
            <p:nvPr/>
          </p:nvSpPr>
          <p:spPr>
            <a:xfrm flipH="1">
              <a:off x="457200" y="590550"/>
              <a:ext cx="2979057" cy="1921717"/>
            </a:xfrm>
            <a:custGeom>
              <a:avLst/>
              <a:gdLst>
                <a:gd name="connsiteX0" fmla="*/ 1547519 w 3095038"/>
                <a:gd name="connsiteY0" fmla="*/ 0 h 2022026"/>
                <a:gd name="connsiteX1" fmla="*/ 3095038 w 3095038"/>
                <a:gd name="connsiteY1" fmla="*/ 627509 h 2022026"/>
                <a:gd name="connsiteX2" fmla="*/ 2825277 w 3095038"/>
                <a:gd name="connsiteY2" fmla="*/ 736897 h 2022026"/>
                <a:gd name="connsiteX3" fmla="*/ 2825277 w 3095038"/>
                <a:gd name="connsiteY3" fmla="*/ 1583608 h 2022026"/>
                <a:gd name="connsiteX4" fmla="*/ 2829142 w 3095038"/>
                <a:gd name="connsiteY4" fmla="*/ 1585209 h 2022026"/>
                <a:gd name="connsiteX5" fmla="*/ 2841509 w 3095038"/>
                <a:gd name="connsiteY5" fmla="*/ 1615067 h 2022026"/>
                <a:gd name="connsiteX6" fmla="*/ 2829142 w 3095038"/>
                <a:gd name="connsiteY6" fmla="*/ 1644926 h 2022026"/>
                <a:gd name="connsiteX7" fmla="*/ 2826092 w 3095038"/>
                <a:gd name="connsiteY7" fmla="*/ 1646189 h 2022026"/>
                <a:gd name="connsiteX8" fmla="*/ 2876626 w 3095038"/>
                <a:gd name="connsiteY8" fmla="*/ 2022026 h 2022026"/>
                <a:gd name="connsiteX9" fmla="*/ 2721940 w 3095038"/>
                <a:gd name="connsiteY9" fmla="*/ 2022026 h 2022026"/>
                <a:gd name="connsiteX10" fmla="*/ 2772475 w 3095038"/>
                <a:gd name="connsiteY10" fmla="*/ 1646189 h 2022026"/>
                <a:gd name="connsiteX11" fmla="*/ 2769425 w 3095038"/>
                <a:gd name="connsiteY11" fmla="*/ 1644926 h 2022026"/>
                <a:gd name="connsiteX12" fmla="*/ 2757057 w 3095038"/>
                <a:gd name="connsiteY12" fmla="*/ 1615067 h 2022026"/>
                <a:gd name="connsiteX13" fmla="*/ 2769425 w 3095038"/>
                <a:gd name="connsiteY13" fmla="*/ 1585209 h 2022026"/>
                <a:gd name="connsiteX14" fmla="*/ 2773289 w 3095038"/>
                <a:gd name="connsiteY14" fmla="*/ 1583608 h 2022026"/>
                <a:gd name="connsiteX15" fmla="*/ 2773289 w 3095038"/>
                <a:gd name="connsiteY15" fmla="*/ 757978 h 2022026"/>
                <a:gd name="connsiteX16" fmla="*/ 2747752 w 3095038"/>
                <a:gd name="connsiteY16" fmla="*/ 768333 h 2022026"/>
                <a:gd name="connsiteX17" fmla="*/ 2473970 w 3095038"/>
                <a:gd name="connsiteY17" fmla="*/ 981499 h 2022026"/>
                <a:gd name="connsiteX18" fmla="*/ 2473970 w 3095038"/>
                <a:gd name="connsiteY18" fmla="*/ 1333096 h 2022026"/>
                <a:gd name="connsiteX19" fmla="*/ 1442377 w 3095038"/>
                <a:gd name="connsiteY19" fmla="*/ 1553521 h 2022026"/>
                <a:gd name="connsiteX20" fmla="*/ 628675 w 3095038"/>
                <a:gd name="connsiteY20" fmla="*/ 1422110 h 2022026"/>
                <a:gd name="connsiteX21" fmla="*/ 635755 w 3095038"/>
                <a:gd name="connsiteY21" fmla="*/ 1406334 h 2022026"/>
                <a:gd name="connsiteX22" fmla="*/ 621068 w 3095038"/>
                <a:gd name="connsiteY22" fmla="*/ 1402746 h 2022026"/>
                <a:gd name="connsiteX23" fmla="*/ 621068 w 3095038"/>
                <a:gd name="connsiteY23" fmla="*/ 981499 h 2022026"/>
                <a:gd name="connsiteX24" fmla="*/ 0 w 3095038"/>
                <a:gd name="connsiteY24" fmla="*/ 627509 h 202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95038" h="2022026">
                  <a:moveTo>
                    <a:pt x="1547519" y="0"/>
                  </a:moveTo>
                  <a:lnTo>
                    <a:pt x="3095038" y="627509"/>
                  </a:lnTo>
                  <a:lnTo>
                    <a:pt x="2825277" y="736897"/>
                  </a:lnTo>
                  <a:lnTo>
                    <a:pt x="2825277" y="1583608"/>
                  </a:lnTo>
                  <a:lnTo>
                    <a:pt x="2829142" y="1585209"/>
                  </a:lnTo>
                  <a:cubicBezTo>
                    <a:pt x="2836783" y="1592850"/>
                    <a:pt x="2841509" y="1603406"/>
                    <a:pt x="2841509" y="1615067"/>
                  </a:cubicBezTo>
                  <a:cubicBezTo>
                    <a:pt x="2841509" y="1626728"/>
                    <a:pt x="2836783" y="1637284"/>
                    <a:pt x="2829142" y="1644926"/>
                  </a:cubicBezTo>
                  <a:lnTo>
                    <a:pt x="2826092" y="1646189"/>
                  </a:lnTo>
                  <a:lnTo>
                    <a:pt x="2876626" y="2022026"/>
                  </a:lnTo>
                  <a:lnTo>
                    <a:pt x="2721940" y="2022026"/>
                  </a:lnTo>
                  <a:lnTo>
                    <a:pt x="2772475" y="1646189"/>
                  </a:lnTo>
                  <a:lnTo>
                    <a:pt x="2769425" y="1644926"/>
                  </a:lnTo>
                  <a:cubicBezTo>
                    <a:pt x="2761784" y="1637284"/>
                    <a:pt x="2757057" y="1626728"/>
                    <a:pt x="2757057" y="1615067"/>
                  </a:cubicBezTo>
                  <a:cubicBezTo>
                    <a:pt x="2757057" y="1603406"/>
                    <a:pt x="2761784" y="1592850"/>
                    <a:pt x="2769425" y="1585209"/>
                  </a:cubicBezTo>
                  <a:lnTo>
                    <a:pt x="2773289" y="1583608"/>
                  </a:lnTo>
                  <a:lnTo>
                    <a:pt x="2773289" y="757978"/>
                  </a:lnTo>
                  <a:lnTo>
                    <a:pt x="2747752" y="768333"/>
                  </a:lnTo>
                  <a:lnTo>
                    <a:pt x="2473970" y="981499"/>
                  </a:lnTo>
                  <a:lnTo>
                    <a:pt x="2473970" y="1333096"/>
                  </a:lnTo>
                  <a:cubicBezTo>
                    <a:pt x="2176456" y="1474039"/>
                    <a:pt x="1822001" y="1553521"/>
                    <a:pt x="1442377" y="1553521"/>
                  </a:cubicBezTo>
                  <a:cubicBezTo>
                    <a:pt x="1151810" y="1553521"/>
                    <a:pt x="875988" y="1506956"/>
                    <a:pt x="628675" y="1422110"/>
                  </a:cubicBezTo>
                  <a:cubicBezTo>
                    <a:pt x="630298" y="1416654"/>
                    <a:pt x="632987" y="1411486"/>
                    <a:pt x="635755" y="1406334"/>
                  </a:cubicBezTo>
                  <a:cubicBezTo>
                    <a:pt x="631035" y="1404608"/>
                    <a:pt x="626049" y="1403669"/>
                    <a:pt x="621068" y="1402746"/>
                  </a:cubicBezTo>
                  <a:lnTo>
                    <a:pt x="621068" y="981499"/>
                  </a:lnTo>
                  <a:lnTo>
                    <a:pt x="0" y="62750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sz="2026" dirty="0"/>
            </a:p>
          </p:txBody>
        </p:sp>
      </p:grpSp>
      <p:graphicFrame>
        <p:nvGraphicFramePr>
          <p:cNvPr id="5" name="Object 4" hidden="1">
            <a:extLst>
              <a:ext uri="{FF2B5EF4-FFF2-40B4-BE49-F238E27FC236}">
                <a16:creationId xmlns:a16="http://schemas.microsoft.com/office/drawing/2014/main" id="{A9E43DCD-F115-4EC7-90AE-5F5E6C473889}"/>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9756" name="think-cell Slide" r:id="rId8" imgW="383" imgH="384" progId="TCLayout.ActiveDocument.1">
                  <p:embed/>
                </p:oleObj>
              </mc:Choice>
              <mc:Fallback>
                <p:oleObj name="think-cell Slide" r:id="rId8" imgW="383" imgH="384" progId="TCLayout.ActiveDocument.1">
                  <p:embed/>
                  <p:pic>
                    <p:nvPicPr>
                      <p:cNvPr id="5" name="Object 4" hidden="1">
                        <a:extLst>
                          <a:ext uri="{FF2B5EF4-FFF2-40B4-BE49-F238E27FC236}">
                            <a16:creationId xmlns:a16="http://schemas.microsoft.com/office/drawing/2014/main" id="{A9E43DCD-F115-4EC7-90AE-5F5E6C473889}"/>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140B3F-4BDA-4FDA-A9EE-3C673CDF2373}"/>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b="1" dirty="0">
              <a:latin typeface="Segoe UI" panose="020B0502040204020203" pitchFamily="34" charset="0"/>
              <a:ea typeface="+mj-ea"/>
              <a:cs typeface="Segoe UI" panose="020B0502040204020203" pitchFamily="34" charset="0"/>
              <a:sym typeface="Segoe UI" panose="020B0502040204020203" pitchFamily="34" charset="0"/>
            </a:endParaRPr>
          </a:p>
        </p:txBody>
      </p:sp>
      <p:cxnSp>
        <p:nvCxnSpPr>
          <p:cNvPr id="8" name="Straight Connector 7">
            <a:extLst>
              <a:ext uri="{FF2B5EF4-FFF2-40B4-BE49-F238E27FC236}">
                <a16:creationId xmlns:a16="http://schemas.microsoft.com/office/drawing/2014/main" id="{FDDCB1DF-AB7E-4220-9C07-5A95CD99AED5}"/>
              </a:ext>
            </a:extLst>
          </p:cNvPr>
          <p:cNvCxnSpPr>
            <a:cxnSpLocks/>
          </p:cNvCxnSpPr>
          <p:nvPr/>
        </p:nvCxnSpPr>
        <p:spPr>
          <a:xfrm flipH="1">
            <a:off x="264252" y="4162255"/>
            <a:ext cx="712513" cy="9885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544301-48A2-4C9C-9CBF-01A720F732C0}"/>
              </a:ext>
            </a:extLst>
          </p:cNvPr>
          <p:cNvCxnSpPr>
            <a:cxnSpLocks/>
          </p:cNvCxnSpPr>
          <p:nvPr/>
        </p:nvCxnSpPr>
        <p:spPr>
          <a:xfrm flipH="1">
            <a:off x="725918" y="1"/>
            <a:ext cx="501694" cy="69604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E0D0D9FA-3DBB-4185-910C-1F200143EFAC}"/>
              </a:ext>
            </a:extLst>
          </p:cNvPr>
          <p:cNvSpPr>
            <a:spLocks noGrp="1"/>
          </p:cNvSpPr>
          <p:nvPr>
            <p:ph type="title"/>
          </p:nvPr>
        </p:nvSpPr>
        <p:spPr>
          <a:xfrm>
            <a:off x="2716719" y="2248584"/>
            <a:ext cx="6436659" cy="646331"/>
          </a:xfrm>
        </p:spPr>
        <p:txBody>
          <a:bodyPr vert="horz" wrap="square" lIns="91440" tIns="45720" rIns="91440" bIns="45720" rtlCol="0" anchor="t">
            <a:spAutoFit/>
          </a:bodyPr>
          <a:lstStyle/>
          <a:p>
            <a:pPr marL="11545" algn="l">
              <a:spcBef>
                <a:spcPts val="72"/>
              </a:spcBef>
            </a:pPr>
            <a:r>
              <a:rPr lang="en-US" sz="3600"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rPr>
              <a:t>Distribution of Seats</a:t>
            </a:r>
          </a:p>
        </p:txBody>
      </p:sp>
      <p:sp>
        <p:nvSpPr>
          <p:cNvPr id="17" name="Rectangle 16">
            <a:extLst>
              <a:ext uri="{FF2B5EF4-FFF2-40B4-BE49-F238E27FC236}">
                <a16:creationId xmlns:a16="http://schemas.microsoft.com/office/drawing/2014/main" id="{E481DB9C-92EC-43E7-B4B1-F15D6B9CE47D}"/>
              </a:ext>
            </a:extLst>
          </p:cNvPr>
          <p:cNvSpPr/>
          <p:nvPr/>
        </p:nvSpPr>
        <p:spPr>
          <a:xfrm>
            <a:off x="2707341" y="3430160"/>
            <a:ext cx="6436659" cy="48896"/>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pic>
        <p:nvPicPr>
          <p:cNvPr id="18" name="Picture 17">
            <a:extLst>
              <a:ext uri="{FF2B5EF4-FFF2-40B4-BE49-F238E27FC236}">
                <a16:creationId xmlns:a16="http://schemas.microsoft.com/office/drawing/2014/main" id="{2714F457-74C5-4604-9CE2-861944CBF3B0}"/>
              </a:ext>
            </a:extLst>
          </p:cNvPr>
          <p:cNvPicPr>
            <a:picLocks noChangeAspect="1"/>
          </p:cNvPicPr>
          <p:nvPr/>
        </p:nvPicPr>
        <p:blipFill rotWithShape="1">
          <a:blip r:embed="rId10"/>
          <a:srcRect l="86667" b="81138"/>
          <a:stretch/>
        </p:blipFill>
        <p:spPr>
          <a:xfrm>
            <a:off x="7924800" y="-1"/>
            <a:ext cx="1219200" cy="971551"/>
          </a:xfrm>
          <a:prstGeom prst="rect">
            <a:avLst/>
          </a:prstGeom>
        </p:spPr>
      </p:pic>
    </p:spTree>
    <p:extLst>
      <p:ext uri="{BB962C8B-B14F-4D97-AF65-F5344CB8AC3E}">
        <p14:creationId xmlns:p14="http://schemas.microsoft.com/office/powerpoint/2010/main" val="1399876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AF390EF-852F-4340-9611-1A62B921FFFB}"/>
              </a:ext>
            </a:extLst>
          </p:cNvPr>
          <p:cNvSpPr txBox="1">
            <a:spLocks/>
          </p:cNvSpPr>
          <p:nvPr/>
        </p:nvSpPr>
        <p:spPr>
          <a:xfrm>
            <a:off x="95373" y="184083"/>
            <a:ext cx="6324601" cy="533401"/>
          </a:xfrm>
          <a:prstGeom prst="rect">
            <a:avLst/>
          </a:prstGeom>
        </p:spPr>
        <p:txBody>
          <a:bodyPr vert="horz" lIns="91440" tIns="45720" rIns="91440" bIns="45720" rtlCol="0" anchor="ctr">
            <a:noAutofit/>
          </a:bodyPr>
          <a:lstStyle>
            <a:lvl1pPr algn="ctr" defTabSz="914378"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Distribution of Seats</a:t>
            </a:r>
          </a:p>
        </p:txBody>
      </p:sp>
      <p:sp>
        <p:nvSpPr>
          <p:cNvPr id="7" name="Rectangle 6">
            <a:extLst>
              <a:ext uri="{FF2B5EF4-FFF2-40B4-BE49-F238E27FC236}">
                <a16:creationId xmlns:a16="http://schemas.microsoft.com/office/drawing/2014/main" id="{83CED6C5-B021-40C9-9D46-FCB84F158A93}"/>
              </a:ext>
            </a:extLst>
          </p:cNvPr>
          <p:cNvSpPr/>
          <p:nvPr/>
        </p:nvSpPr>
        <p:spPr>
          <a:xfrm>
            <a:off x="0" y="184084"/>
            <a:ext cx="122267" cy="5334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8" name="Rectangle 7">
            <a:extLst>
              <a:ext uri="{FF2B5EF4-FFF2-40B4-BE49-F238E27FC236}">
                <a16:creationId xmlns:a16="http://schemas.microsoft.com/office/drawing/2014/main" id="{B2289E16-21E0-4345-B206-E9B2694CBD02}"/>
              </a:ext>
            </a:extLst>
          </p:cNvPr>
          <p:cNvSpPr/>
          <p:nvPr/>
        </p:nvSpPr>
        <p:spPr>
          <a:xfrm>
            <a:off x="0" y="5078502"/>
            <a:ext cx="3352800" cy="64997"/>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10" name="Rectangle 9">
            <a:extLst>
              <a:ext uri="{FF2B5EF4-FFF2-40B4-BE49-F238E27FC236}">
                <a16:creationId xmlns:a16="http://schemas.microsoft.com/office/drawing/2014/main" id="{93BCD5CB-62AD-44BF-9000-5671798225C1}"/>
              </a:ext>
            </a:extLst>
          </p:cNvPr>
          <p:cNvSpPr/>
          <p:nvPr/>
        </p:nvSpPr>
        <p:spPr>
          <a:xfrm>
            <a:off x="1752600" y="751715"/>
            <a:ext cx="7391400" cy="49026"/>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srgbClr val="083D65"/>
              </a:solidFill>
            </a:endParaRPr>
          </a:p>
        </p:txBody>
      </p:sp>
      <p:graphicFrame>
        <p:nvGraphicFramePr>
          <p:cNvPr id="9" name="Table 8">
            <a:extLst>
              <a:ext uri="{FF2B5EF4-FFF2-40B4-BE49-F238E27FC236}">
                <a16:creationId xmlns:a16="http://schemas.microsoft.com/office/drawing/2014/main" id="{EC8B3A5B-C598-4E0F-83FC-561FF7002C3B}"/>
              </a:ext>
            </a:extLst>
          </p:cNvPr>
          <p:cNvGraphicFramePr>
            <a:graphicFrameLocks noGrp="1"/>
          </p:cNvGraphicFramePr>
          <p:nvPr>
            <p:extLst>
              <p:ext uri="{D42A27DB-BD31-4B8C-83A1-F6EECF244321}">
                <p14:modId xmlns:p14="http://schemas.microsoft.com/office/powerpoint/2010/main" val="1807042138"/>
              </p:ext>
            </p:extLst>
          </p:nvPr>
        </p:nvGraphicFramePr>
        <p:xfrm>
          <a:off x="533400" y="914974"/>
          <a:ext cx="8458201" cy="4049295"/>
        </p:xfrm>
        <a:graphic>
          <a:graphicData uri="http://schemas.openxmlformats.org/drawingml/2006/table">
            <a:tbl>
              <a:tblPr firstRow="1" bandRow="1">
                <a:tableStyleId>{5940675A-B579-460E-94D1-54222C63F5DA}</a:tableStyleId>
              </a:tblPr>
              <a:tblGrid>
                <a:gridCol w="1904750">
                  <a:extLst>
                    <a:ext uri="{9D8B030D-6E8A-4147-A177-3AD203B41FA5}">
                      <a16:colId xmlns:a16="http://schemas.microsoft.com/office/drawing/2014/main" val="20001"/>
                    </a:ext>
                  </a:extLst>
                </a:gridCol>
                <a:gridCol w="1246091">
                  <a:extLst>
                    <a:ext uri="{9D8B030D-6E8A-4147-A177-3AD203B41FA5}">
                      <a16:colId xmlns:a16="http://schemas.microsoft.com/office/drawing/2014/main" val="3713391099"/>
                    </a:ext>
                  </a:extLst>
                </a:gridCol>
                <a:gridCol w="884560">
                  <a:extLst>
                    <a:ext uri="{9D8B030D-6E8A-4147-A177-3AD203B41FA5}">
                      <a16:colId xmlns:a16="http://schemas.microsoft.com/office/drawing/2014/main" val="20002"/>
                    </a:ext>
                  </a:extLst>
                </a:gridCol>
                <a:gridCol w="884560">
                  <a:extLst>
                    <a:ext uri="{9D8B030D-6E8A-4147-A177-3AD203B41FA5}">
                      <a16:colId xmlns:a16="http://schemas.microsoft.com/office/drawing/2014/main" val="20003"/>
                    </a:ext>
                  </a:extLst>
                </a:gridCol>
                <a:gridCol w="884560">
                  <a:extLst>
                    <a:ext uri="{9D8B030D-6E8A-4147-A177-3AD203B41FA5}">
                      <a16:colId xmlns:a16="http://schemas.microsoft.com/office/drawing/2014/main" val="20004"/>
                    </a:ext>
                  </a:extLst>
                </a:gridCol>
                <a:gridCol w="884560">
                  <a:extLst>
                    <a:ext uri="{9D8B030D-6E8A-4147-A177-3AD203B41FA5}">
                      <a16:colId xmlns:a16="http://schemas.microsoft.com/office/drawing/2014/main" val="20005"/>
                    </a:ext>
                  </a:extLst>
                </a:gridCol>
                <a:gridCol w="884560">
                  <a:extLst>
                    <a:ext uri="{9D8B030D-6E8A-4147-A177-3AD203B41FA5}">
                      <a16:colId xmlns:a16="http://schemas.microsoft.com/office/drawing/2014/main" val="20006"/>
                    </a:ext>
                  </a:extLst>
                </a:gridCol>
                <a:gridCol w="884560">
                  <a:extLst>
                    <a:ext uri="{9D8B030D-6E8A-4147-A177-3AD203B41FA5}">
                      <a16:colId xmlns:a16="http://schemas.microsoft.com/office/drawing/2014/main" val="20007"/>
                    </a:ext>
                  </a:extLst>
                </a:gridCol>
              </a:tblGrid>
              <a:tr h="262155">
                <a:tc rowSpan="2" gridSpan="2">
                  <a:txBody>
                    <a:bodyPr/>
                    <a:lstStyle/>
                    <a:p>
                      <a:pPr algn="ctr"/>
                      <a:r>
                        <a:rPr lang="en-US" sz="1600" b="0" dirty="0">
                          <a:solidFill>
                            <a:schemeClr val="bg1"/>
                          </a:solidFill>
                          <a:latin typeface="Gotham Medium" panose="02000603030000020004" pitchFamily="2" charset="0"/>
                        </a:rPr>
                        <a:t>Type of Institute</a:t>
                      </a:r>
                    </a:p>
                  </a:txBody>
                  <a:tcPr anchor="ctr">
                    <a:solidFill>
                      <a:schemeClr val="tx1">
                        <a:lumMod val="50000"/>
                        <a:lumOff val="50000"/>
                      </a:schemeClr>
                    </a:solidFill>
                  </a:tcPr>
                </a:tc>
                <a:tc rowSpan="2" hMerge="1">
                  <a:txBody>
                    <a:bodyPr/>
                    <a:lstStyle/>
                    <a:p>
                      <a:endParaRPr lang="en-IN"/>
                    </a:p>
                  </a:txBody>
                  <a:tcPr/>
                </a:tc>
                <a:tc gridSpan="6">
                  <a:txBody>
                    <a:bodyPr/>
                    <a:lstStyle/>
                    <a:p>
                      <a:pPr algn="ctr"/>
                      <a:r>
                        <a:rPr lang="en-US" sz="1100" b="0" dirty="0">
                          <a:solidFill>
                            <a:schemeClr val="bg1"/>
                          </a:solidFill>
                          <a:latin typeface="Gotham Medium" panose="02000603030000020004" pitchFamily="2" charset="0"/>
                        </a:rPr>
                        <a:t>Percentage of</a:t>
                      </a:r>
                      <a:r>
                        <a:rPr lang="en-US" sz="1100" b="0" baseline="0" dirty="0">
                          <a:solidFill>
                            <a:schemeClr val="bg1"/>
                          </a:solidFill>
                          <a:latin typeface="Gotham Medium" panose="02000603030000020004" pitchFamily="2" charset="0"/>
                        </a:rPr>
                        <a:t> seats</a:t>
                      </a:r>
                      <a:endParaRPr lang="en-US" sz="1100" b="0" dirty="0">
                        <a:solidFill>
                          <a:schemeClr val="bg1"/>
                        </a:solidFill>
                        <a:latin typeface="Gotham Medium" panose="02000603030000020004" pitchFamily="2" charset="0"/>
                      </a:endParaRPr>
                    </a:p>
                  </a:txBody>
                  <a:tcPr anchor="ctr">
                    <a:solidFill>
                      <a:schemeClr val="tx1">
                        <a:lumMod val="50000"/>
                        <a:lumOff val="50000"/>
                      </a:schemeClr>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888414">
                <a:tc gridSpan="2" vMerge="1">
                  <a:txBody>
                    <a:bodyPr/>
                    <a:lstStyle/>
                    <a:p>
                      <a:endParaRPr lang="en-US" dirty="0"/>
                    </a:p>
                  </a:txBody>
                  <a:tcPr/>
                </a:tc>
                <a:tc hMerge="1" vMerge="1">
                  <a:txBody>
                    <a:bodyPr/>
                    <a:lstStyle/>
                    <a:p>
                      <a:endParaRPr lang="en-IN"/>
                    </a:p>
                  </a:txBody>
                  <a:tcPr/>
                </a:tc>
                <a:tc>
                  <a:txBody>
                    <a:bodyPr/>
                    <a:lstStyle/>
                    <a:p>
                      <a:pPr algn="ctr"/>
                      <a:r>
                        <a:rPr lang="en-US" sz="1100" b="0" dirty="0">
                          <a:solidFill>
                            <a:schemeClr val="bg1"/>
                          </a:solidFill>
                          <a:latin typeface="Gotham Medium" panose="02000603030000020004" pitchFamily="2" charset="0"/>
                        </a:rPr>
                        <a:t>State Level Seats</a:t>
                      </a:r>
                    </a:p>
                  </a:txBody>
                  <a:tcPr anchor="ctr">
                    <a:solidFill>
                      <a:schemeClr val="tx1">
                        <a:lumMod val="50000"/>
                        <a:lumOff val="50000"/>
                      </a:schemeClr>
                    </a:solidFill>
                  </a:tcPr>
                </a:tc>
                <a:tc>
                  <a:txBody>
                    <a:bodyPr/>
                    <a:lstStyle/>
                    <a:p>
                      <a:pPr algn="ctr"/>
                      <a:r>
                        <a:rPr lang="en-US" sz="1050" b="0" dirty="0">
                          <a:solidFill>
                            <a:schemeClr val="bg1"/>
                          </a:solidFill>
                          <a:latin typeface="Gotham Medium" panose="02000603030000020004" pitchFamily="2" charset="0"/>
                        </a:rPr>
                        <a:t>Home University Seats</a:t>
                      </a:r>
                    </a:p>
                  </a:txBody>
                  <a:tcPr anchor="ctr">
                    <a:solidFill>
                      <a:schemeClr val="tx1">
                        <a:lumMod val="50000"/>
                        <a:lumOff val="50000"/>
                      </a:schemeClr>
                    </a:solidFill>
                  </a:tcPr>
                </a:tc>
                <a:tc>
                  <a:txBody>
                    <a:bodyPr/>
                    <a:lstStyle/>
                    <a:p>
                      <a:pPr algn="ctr"/>
                      <a:r>
                        <a:rPr lang="en-US" sz="1050" b="0" dirty="0">
                          <a:solidFill>
                            <a:schemeClr val="bg1"/>
                          </a:solidFill>
                          <a:latin typeface="Gotham Medium" panose="02000603030000020004" pitchFamily="2" charset="0"/>
                        </a:rPr>
                        <a:t>Other than Home University Seats</a:t>
                      </a:r>
                    </a:p>
                  </a:txBody>
                  <a:tcPr anchor="ctr">
                    <a:solidFill>
                      <a:schemeClr val="tx1">
                        <a:lumMod val="50000"/>
                        <a:lumOff val="50000"/>
                      </a:schemeClr>
                    </a:solidFill>
                  </a:tcPr>
                </a:tc>
                <a:tc>
                  <a:txBody>
                    <a:bodyPr/>
                    <a:lstStyle/>
                    <a:p>
                      <a:pPr algn="ctr"/>
                      <a:r>
                        <a:rPr lang="en-US" sz="1100" b="0" dirty="0">
                          <a:solidFill>
                            <a:schemeClr val="bg1"/>
                          </a:solidFill>
                          <a:latin typeface="Gotham Medium" panose="02000603030000020004" pitchFamily="2" charset="0"/>
                        </a:rPr>
                        <a:t>Minority Seats</a:t>
                      </a:r>
                    </a:p>
                  </a:txBody>
                  <a:tcPr anchor="ctr">
                    <a:solidFill>
                      <a:schemeClr val="tx1">
                        <a:lumMod val="50000"/>
                        <a:lumOff val="50000"/>
                      </a:schemeClr>
                    </a:solidFill>
                  </a:tcPr>
                </a:tc>
                <a:tc>
                  <a:txBody>
                    <a:bodyPr/>
                    <a:lstStyle/>
                    <a:p>
                      <a:pPr algn="ctr"/>
                      <a:r>
                        <a:rPr lang="en-US" sz="1100" b="0" dirty="0">
                          <a:solidFill>
                            <a:schemeClr val="bg1"/>
                          </a:solidFill>
                          <a:latin typeface="Gotham Medium" panose="02000603030000020004" pitchFamily="2" charset="0"/>
                        </a:rPr>
                        <a:t>All India Level Seats</a:t>
                      </a:r>
                    </a:p>
                  </a:txBody>
                  <a:tcPr anchor="ctr">
                    <a:solidFill>
                      <a:schemeClr val="tx1">
                        <a:lumMod val="50000"/>
                        <a:lumOff val="50000"/>
                      </a:schemeClr>
                    </a:solidFill>
                  </a:tcPr>
                </a:tc>
                <a:tc>
                  <a:txBody>
                    <a:bodyPr/>
                    <a:lstStyle/>
                    <a:p>
                      <a:pPr algn="ctr"/>
                      <a:r>
                        <a:rPr lang="en-US" sz="1100" b="0" dirty="0">
                          <a:solidFill>
                            <a:schemeClr val="bg1"/>
                          </a:solidFill>
                          <a:latin typeface="Gotham Medium" panose="02000603030000020004" pitchFamily="2" charset="0"/>
                        </a:rPr>
                        <a:t>Institute</a:t>
                      </a:r>
                      <a:r>
                        <a:rPr lang="en-US" sz="1100" b="0" baseline="0" dirty="0">
                          <a:solidFill>
                            <a:schemeClr val="bg1"/>
                          </a:solidFill>
                          <a:latin typeface="Gotham Medium" panose="02000603030000020004" pitchFamily="2" charset="0"/>
                        </a:rPr>
                        <a:t> Level Seats</a:t>
                      </a:r>
                      <a:endParaRPr lang="en-US" sz="1100" b="0" dirty="0">
                        <a:solidFill>
                          <a:schemeClr val="bg1"/>
                        </a:solidFill>
                        <a:latin typeface="Gotham Medium" panose="02000603030000020004" pitchFamily="2" charset="0"/>
                      </a:endParaRPr>
                    </a:p>
                  </a:txBody>
                  <a:tcPr anchor="ctr">
                    <a:solidFill>
                      <a:schemeClr val="tx1">
                        <a:lumMod val="50000"/>
                        <a:lumOff val="50000"/>
                      </a:schemeClr>
                    </a:solidFill>
                  </a:tcPr>
                </a:tc>
                <a:extLst>
                  <a:ext uri="{0D108BD9-81ED-4DB2-BD59-A6C34878D82A}">
                    <a16:rowId xmlns:a16="http://schemas.microsoft.com/office/drawing/2014/main" val="10001"/>
                  </a:ext>
                </a:extLst>
              </a:tr>
              <a:tr h="291283">
                <a:tc rowSpan="2">
                  <a:txBody>
                    <a:bodyPr/>
                    <a:lstStyle/>
                    <a:p>
                      <a:pPr algn="ctr"/>
                      <a:r>
                        <a:rPr lang="en-US" sz="1200" b="0" dirty="0">
                          <a:solidFill>
                            <a:schemeClr val="bg1"/>
                          </a:solidFill>
                          <a:latin typeface="Gotham Medium" panose="02000603030000020004" pitchFamily="2" charset="0"/>
                        </a:rPr>
                        <a:t>All Government and Government aided Institutions</a:t>
                      </a:r>
                    </a:p>
                  </a:txBody>
                  <a:tcPr anchor="ct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Gotham Medium" panose="02000603030000020004" pitchFamily="2" charset="0"/>
                        </a:rPr>
                        <a:t>Autonomous</a:t>
                      </a:r>
                      <a:endParaRPr lang="en-US" sz="12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100</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extLst>
                  <a:ext uri="{0D108BD9-81ED-4DB2-BD59-A6C34878D82A}">
                    <a16:rowId xmlns:a16="http://schemas.microsoft.com/office/drawing/2014/main" val="10002"/>
                  </a:ext>
                </a:extLst>
              </a:tr>
              <a:tr h="436925">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b="1" dirty="0">
                        <a:solidFill>
                          <a:srgbClr val="002060"/>
                        </a:solidFill>
                        <a:latin typeface="Calisto MT" panose="02040603050505030304" pitchFamily="18"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Gotham Medium" panose="02000603030000020004" pitchFamily="2" charset="0"/>
                        </a:rPr>
                        <a:t>Non - Autonomous</a:t>
                      </a:r>
                      <a:endParaRPr lang="en-US" sz="12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70</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30</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extLst>
                  <a:ext uri="{0D108BD9-81ED-4DB2-BD59-A6C34878D82A}">
                    <a16:rowId xmlns:a16="http://schemas.microsoft.com/office/drawing/2014/main" val="10003"/>
                  </a:ext>
                </a:extLst>
              </a:tr>
              <a:tr h="291283">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latin typeface="Gotham Medium" panose="02000603030000020004" pitchFamily="2" charset="0"/>
                        </a:rPr>
                        <a:t>Unaided Private Institutions</a:t>
                      </a:r>
                    </a:p>
                  </a:txBody>
                  <a:tcPr anchor="ct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Gotham Medium" panose="02000603030000020004" pitchFamily="2" charset="0"/>
                        </a:rPr>
                        <a:t>Autonomous</a:t>
                      </a:r>
                      <a:endParaRPr lang="en-US" sz="12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65</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15</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20</a:t>
                      </a:r>
                      <a:endParaRPr lang="en-US" sz="1400" b="1" dirty="0">
                        <a:solidFill>
                          <a:srgbClr val="002060"/>
                        </a:solidFill>
                        <a:latin typeface="Gotham Medium" panose="02000603030000020004" pitchFamily="2" charset="0"/>
                      </a:endParaRPr>
                    </a:p>
                  </a:txBody>
                  <a:tcPr anchor="ctr"/>
                </a:tc>
                <a:extLst>
                  <a:ext uri="{0D108BD9-81ED-4DB2-BD59-A6C34878D82A}">
                    <a16:rowId xmlns:a16="http://schemas.microsoft.com/office/drawing/2014/main" val="10004"/>
                  </a:ext>
                </a:extLst>
              </a:tr>
              <a:tr h="436925">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b="1" dirty="0">
                        <a:solidFill>
                          <a:srgbClr val="002060"/>
                        </a:solidFill>
                        <a:latin typeface="Calisto MT" panose="02040603050505030304" pitchFamily="18"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Gotham Medium" panose="02000603030000020004" pitchFamily="2" charset="0"/>
                        </a:rPr>
                        <a:t>Non - Autonomous</a:t>
                      </a:r>
                      <a:endParaRPr lang="en-US" sz="12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45.5</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19.5</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15</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20</a:t>
                      </a:r>
                      <a:endParaRPr lang="en-US" sz="1400" b="1" dirty="0">
                        <a:solidFill>
                          <a:srgbClr val="002060"/>
                        </a:solidFill>
                        <a:latin typeface="Gotham Medium" panose="02000603030000020004" pitchFamily="2" charset="0"/>
                      </a:endParaRPr>
                    </a:p>
                  </a:txBody>
                  <a:tcPr anchor="ctr"/>
                </a:tc>
                <a:extLst>
                  <a:ext uri="{0D108BD9-81ED-4DB2-BD59-A6C34878D82A}">
                    <a16:rowId xmlns:a16="http://schemas.microsoft.com/office/drawing/2014/main" val="10005"/>
                  </a:ext>
                </a:extLst>
              </a:tr>
              <a:tr h="291283">
                <a:tc rowSpan="2">
                  <a:txBody>
                    <a:bodyPr/>
                    <a:lstStyle/>
                    <a:p>
                      <a:pPr algn="ctr"/>
                      <a:r>
                        <a:rPr lang="en-US" sz="1200" b="0" dirty="0">
                          <a:solidFill>
                            <a:schemeClr val="bg1"/>
                          </a:solidFill>
                          <a:latin typeface="Gotham Medium" panose="02000603030000020004" pitchFamily="2" charset="0"/>
                        </a:rPr>
                        <a:t>Unaided Private Minority Institutions</a:t>
                      </a:r>
                    </a:p>
                  </a:txBody>
                  <a:tcPr anchor="ct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Gotham Medium" panose="02000603030000020004" pitchFamily="2" charset="0"/>
                        </a:rPr>
                        <a:t>Autonomous</a:t>
                      </a:r>
                      <a:endParaRPr lang="en-US" sz="12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24.65</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51</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4.35</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20</a:t>
                      </a:r>
                      <a:endParaRPr lang="en-US" sz="1400" b="1" dirty="0">
                        <a:solidFill>
                          <a:srgbClr val="002060"/>
                        </a:solidFill>
                        <a:latin typeface="Gotham Medium" panose="02000603030000020004" pitchFamily="2" charset="0"/>
                      </a:endParaRPr>
                    </a:p>
                  </a:txBody>
                  <a:tcPr anchor="ctr"/>
                </a:tc>
                <a:extLst>
                  <a:ext uri="{0D108BD9-81ED-4DB2-BD59-A6C34878D82A}">
                    <a16:rowId xmlns:a16="http://schemas.microsoft.com/office/drawing/2014/main" val="10006"/>
                  </a:ext>
                </a:extLst>
              </a:tr>
              <a:tr h="436925">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b="1" dirty="0">
                        <a:solidFill>
                          <a:srgbClr val="002060"/>
                        </a:solidFill>
                        <a:latin typeface="Calisto MT" panose="02040603050505030304" pitchFamily="18"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Gotham Medium" panose="02000603030000020004" pitchFamily="2" charset="0"/>
                        </a:rPr>
                        <a:t>Non - Autonomous</a:t>
                      </a:r>
                      <a:endParaRPr lang="en-US" sz="12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17.25</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7.4</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4.35</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extLst>
                  <a:ext uri="{0D108BD9-81ED-4DB2-BD59-A6C34878D82A}">
                    <a16:rowId xmlns:a16="http://schemas.microsoft.com/office/drawing/2014/main" val="10007"/>
                  </a:ext>
                </a:extLst>
              </a:tr>
              <a:tr h="291283">
                <a:tc gridSpan="2">
                  <a:txBody>
                    <a:bodyPr/>
                    <a:lstStyle/>
                    <a:p>
                      <a:pPr algn="ctr"/>
                      <a:r>
                        <a:rPr lang="en-US" sz="1200" b="0" dirty="0">
                          <a:solidFill>
                            <a:schemeClr val="bg1"/>
                          </a:solidFill>
                          <a:latin typeface="Gotham Medium" panose="02000603030000020004" pitchFamily="2" charset="0"/>
                        </a:rPr>
                        <a:t>ICT Mumbai</a:t>
                      </a:r>
                    </a:p>
                  </a:txBody>
                  <a:tcPr anchor="ctr">
                    <a:solidFill>
                      <a:schemeClr val="tx1">
                        <a:lumMod val="50000"/>
                        <a:lumOff val="50000"/>
                      </a:schemeClr>
                    </a:solidFill>
                  </a:tcPr>
                </a:tc>
                <a:tc hMerge="1">
                  <a:txBody>
                    <a:bodyPr/>
                    <a:lstStyle/>
                    <a:p>
                      <a:endParaRPr lang="en-IN"/>
                    </a:p>
                  </a:txBody>
                  <a:tcPr/>
                </a:tc>
                <a:tc>
                  <a:txBody>
                    <a:bodyPr/>
                    <a:lstStyle/>
                    <a:p>
                      <a:pPr algn="ctr"/>
                      <a:r>
                        <a:rPr lang="en-US" sz="1400" dirty="0">
                          <a:latin typeface="Gotham Medium" panose="02000603030000020004" pitchFamily="2" charset="0"/>
                        </a:rPr>
                        <a:t>70</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30</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extLst>
                  <a:ext uri="{0D108BD9-81ED-4DB2-BD59-A6C34878D82A}">
                    <a16:rowId xmlns:a16="http://schemas.microsoft.com/office/drawing/2014/main" val="10008"/>
                  </a:ext>
                </a:extLst>
              </a:tr>
              <a:tr h="291283">
                <a:tc gridSpan="2">
                  <a:txBody>
                    <a:bodyPr/>
                    <a:lstStyle/>
                    <a:p>
                      <a:pPr algn="ctr"/>
                      <a:r>
                        <a:rPr lang="en-US" sz="1200" b="0" dirty="0">
                          <a:solidFill>
                            <a:schemeClr val="bg1"/>
                          </a:solidFill>
                          <a:latin typeface="Gotham Medium" panose="02000603030000020004" pitchFamily="2" charset="0"/>
                        </a:rPr>
                        <a:t>BATU </a:t>
                      </a:r>
                      <a:r>
                        <a:rPr lang="en-US" sz="1200" b="0" dirty="0" err="1">
                          <a:solidFill>
                            <a:schemeClr val="bg1"/>
                          </a:solidFill>
                          <a:latin typeface="Gotham Medium" panose="02000603030000020004" pitchFamily="2" charset="0"/>
                        </a:rPr>
                        <a:t>Lonere</a:t>
                      </a:r>
                      <a:endParaRPr lang="en-US" sz="1200" b="0" dirty="0">
                        <a:solidFill>
                          <a:schemeClr val="bg1"/>
                        </a:solidFill>
                        <a:latin typeface="Gotham Medium" panose="02000603030000020004" pitchFamily="2" charset="0"/>
                      </a:endParaRPr>
                    </a:p>
                  </a:txBody>
                  <a:tcPr anchor="ctr">
                    <a:solidFill>
                      <a:schemeClr val="tx1">
                        <a:lumMod val="50000"/>
                        <a:lumOff val="50000"/>
                      </a:schemeClr>
                    </a:solidFill>
                  </a:tcPr>
                </a:tc>
                <a:tc hMerge="1">
                  <a:txBody>
                    <a:bodyPr/>
                    <a:lstStyle/>
                    <a:p>
                      <a:endParaRPr lang="en-IN"/>
                    </a:p>
                  </a:txBody>
                  <a:tcPr/>
                </a:tc>
                <a:tc>
                  <a:txBody>
                    <a:bodyPr/>
                    <a:lstStyle/>
                    <a:p>
                      <a:pPr algn="ctr"/>
                      <a:r>
                        <a:rPr lang="en-US" sz="1400" dirty="0">
                          <a:latin typeface="Gotham Medium" panose="02000603030000020004" pitchFamily="2" charset="0"/>
                        </a:rPr>
                        <a:t>85</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15</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tc>
                  <a:txBody>
                    <a:bodyPr/>
                    <a:lstStyle/>
                    <a:p>
                      <a:pPr algn="ctr"/>
                      <a:r>
                        <a:rPr lang="en-US" sz="1400" dirty="0">
                          <a:latin typeface="Gotham Medium" panose="02000603030000020004" pitchFamily="2" charset="0"/>
                        </a:rPr>
                        <a:t>-</a:t>
                      </a:r>
                      <a:endParaRPr lang="en-US" sz="1400" b="1" dirty="0">
                        <a:solidFill>
                          <a:srgbClr val="002060"/>
                        </a:solidFill>
                        <a:latin typeface="Gotham Medium" panose="02000603030000020004" pitchFamily="2" charset="0"/>
                      </a:endParaRPr>
                    </a:p>
                  </a:txBody>
                  <a:tcPr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619830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AF390EF-852F-4340-9611-1A62B921FFFB}"/>
              </a:ext>
            </a:extLst>
          </p:cNvPr>
          <p:cNvSpPr txBox="1">
            <a:spLocks/>
          </p:cNvSpPr>
          <p:nvPr/>
        </p:nvSpPr>
        <p:spPr>
          <a:xfrm>
            <a:off x="95373" y="184083"/>
            <a:ext cx="6324601" cy="533401"/>
          </a:xfrm>
          <a:prstGeom prst="rect">
            <a:avLst/>
          </a:prstGeom>
        </p:spPr>
        <p:txBody>
          <a:bodyPr vert="horz" lIns="91440" tIns="45720" rIns="91440" bIns="45720" rtlCol="0" anchor="ctr">
            <a:noAutofit/>
          </a:bodyPr>
          <a:lstStyle>
            <a:lvl1pPr algn="ctr" defTabSz="914378"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Distribution of </a:t>
            </a:r>
            <a:r>
              <a:rPr lang="en-US" sz="2800" dirty="0">
                <a:solidFill>
                  <a:srgbClr val="FEC630"/>
                </a:solidFill>
                <a:latin typeface="Gotham Bold" panose="02000803030000020004" pitchFamily="2" charset="0"/>
              </a:rPr>
              <a:t>Category Seats</a:t>
            </a:r>
          </a:p>
        </p:txBody>
      </p:sp>
      <p:sp>
        <p:nvSpPr>
          <p:cNvPr id="7" name="Rectangle 6">
            <a:extLst>
              <a:ext uri="{FF2B5EF4-FFF2-40B4-BE49-F238E27FC236}">
                <a16:creationId xmlns:a16="http://schemas.microsoft.com/office/drawing/2014/main" id="{83CED6C5-B021-40C9-9D46-FCB84F158A93}"/>
              </a:ext>
            </a:extLst>
          </p:cNvPr>
          <p:cNvSpPr/>
          <p:nvPr/>
        </p:nvSpPr>
        <p:spPr>
          <a:xfrm>
            <a:off x="0" y="184084"/>
            <a:ext cx="122267" cy="5334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8" name="Rectangle 7">
            <a:extLst>
              <a:ext uri="{FF2B5EF4-FFF2-40B4-BE49-F238E27FC236}">
                <a16:creationId xmlns:a16="http://schemas.microsoft.com/office/drawing/2014/main" id="{B2289E16-21E0-4345-B206-E9B2694CBD02}"/>
              </a:ext>
            </a:extLst>
          </p:cNvPr>
          <p:cNvSpPr/>
          <p:nvPr/>
        </p:nvSpPr>
        <p:spPr>
          <a:xfrm>
            <a:off x="0" y="5078502"/>
            <a:ext cx="3352800" cy="64997"/>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10" name="Rectangle 9">
            <a:extLst>
              <a:ext uri="{FF2B5EF4-FFF2-40B4-BE49-F238E27FC236}">
                <a16:creationId xmlns:a16="http://schemas.microsoft.com/office/drawing/2014/main" id="{93BCD5CB-62AD-44BF-9000-5671798225C1}"/>
              </a:ext>
            </a:extLst>
          </p:cNvPr>
          <p:cNvSpPr/>
          <p:nvPr/>
        </p:nvSpPr>
        <p:spPr>
          <a:xfrm>
            <a:off x="1752600" y="751715"/>
            <a:ext cx="7391400" cy="49026"/>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srgbClr val="083D65"/>
              </a:solidFill>
            </a:endParaRPr>
          </a:p>
        </p:txBody>
      </p:sp>
      <p:graphicFrame>
        <p:nvGraphicFramePr>
          <p:cNvPr id="11" name="Table 10">
            <a:extLst>
              <a:ext uri="{FF2B5EF4-FFF2-40B4-BE49-F238E27FC236}">
                <a16:creationId xmlns:a16="http://schemas.microsoft.com/office/drawing/2014/main" id="{E5BDF714-990D-4CA0-9EBC-43DC4A31F682}"/>
              </a:ext>
            </a:extLst>
          </p:cNvPr>
          <p:cNvGraphicFramePr>
            <a:graphicFrameLocks noGrp="1"/>
          </p:cNvGraphicFramePr>
          <p:nvPr>
            <p:extLst>
              <p:ext uri="{D42A27DB-BD31-4B8C-83A1-F6EECF244321}">
                <p14:modId xmlns:p14="http://schemas.microsoft.com/office/powerpoint/2010/main" val="1628423976"/>
              </p:ext>
            </p:extLst>
          </p:nvPr>
        </p:nvGraphicFramePr>
        <p:xfrm>
          <a:off x="373576" y="912740"/>
          <a:ext cx="8416728" cy="3953832"/>
        </p:xfrm>
        <a:graphic>
          <a:graphicData uri="http://schemas.openxmlformats.org/drawingml/2006/table">
            <a:tbl>
              <a:tblPr firstRow="1" bandRow="1">
                <a:tableStyleId>{5940675A-B579-460E-94D1-54222C63F5DA}</a:tableStyleId>
              </a:tblPr>
              <a:tblGrid>
                <a:gridCol w="884555">
                  <a:extLst>
                    <a:ext uri="{9D8B030D-6E8A-4147-A177-3AD203B41FA5}">
                      <a16:colId xmlns:a16="http://schemas.microsoft.com/office/drawing/2014/main" val="20000"/>
                    </a:ext>
                  </a:extLst>
                </a:gridCol>
                <a:gridCol w="5029200">
                  <a:extLst>
                    <a:ext uri="{9D8B030D-6E8A-4147-A177-3AD203B41FA5}">
                      <a16:colId xmlns:a16="http://schemas.microsoft.com/office/drawing/2014/main" val="118061277"/>
                    </a:ext>
                  </a:extLst>
                </a:gridCol>
                <a:gridCol w="2502973">
                  <a:extLst>
                    <a:ext uri="{9D8B030D-6E8A-4147-A177-3AD203B41FA5}">
                      <a16:colId xmlns:a16="http://schemas.microsoft.com/office/drawing/2014/main" val="20002"/>
                    </a:ext>
                  </a:extLst>
                </a:gridCol>
              </a:tblGrid>
              <a:tr h="609380">
                <a:tc>
                  <a:txBody>
                    <a:bodyPr/>
                    <a:lstStyle/>
                    <a:p>
                      <a:pPr algn="ctr">
                        <a:lnSpc>
                          <a:spcPct val="100000"/>
                        </a:lnSpc>
                      </a:pPr>
                      <a:r>
                        <a:rPr lang="en-US" sz="1600" b="0" dirty="0">
                          <a:solidFill>
                            <a:schemeClr val="bg1"/>
                          </a:solidFill>
                          <a:latin typeface="Gotham Medium" panose="02000603030000020004" pitchFamily="2" charset="0"/>
                        </a:rPr>
                        <a:t>Sr. No. </a:t>
                      </a:r>
                      <a:endParaRPr lang="en-US" sz="1600" b="0"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algn="ctr">
                        <a:lnSpc>
                          <a:spcPct val="100000"/>
                        </a:lnSpc>
                      </a:pPr>
                      <a:r>
                        <a:rPr lang="en-US" sz="1600" b="0" dirty="0">
                          <a:solidFill>
                            <a:schemeClr val="bg1"/>
                          </a:solidFill>
                          <a:latin typeface="Gotham Medium" panose="02000603030000020004" pitchFamily="2" charset="0"/>
                        </a:rPr>
                        <a:t>Category of Reservation</a:t>
                      </a:r>
                      <a:endParaRPr lang="en-US" sz="1600" b="0"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algn="ctr">
                        <a:lnSpc>
                          <a:spcPct val="100000"/>
                        </a:lnSpc>
                      </a:pPr>
                      <a:r>
                        <a:rPr lang="en-US" sz="1600" b="0" dirty="0">
                          <a:solidFill>
                            <a:schemeClr val="bg1"/>
                          </a:solidFill>
                          <a:latin typeface="Gotham Medium" panose="02000603030000020004" pitchFamily="2" charset="0"/>
                        </a:rPr>
                        <a:t>Percentage of</a:t>
                      </a:r>
                    </a:p>
                    <a:p>
                      <a:pPr algn="ctr">
                        <a:lnSpc>
                          <a:spcPct val="100000"/>
                        </a:lnSpc>
                      </a:pPr>
                      <a:r>
                        <a:rPr lang="en-US" sz="1600" b="0" dirty="0">
                          <a:solidFill>
                            <a:schemeClr val="bg1"/>
                          </a:solidFill>
                          <a:latin typeface="Gotham Medium" panose="02000603030000020004" pitchFamily="2" charset="0"/>
                        </a:rPr>
                        <a:t>Seats Reserved</a:t>
                      </a:r>
                      <a:endParaRPr lang="en-US" sz="1600" b="0"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extLst>
                  <a:ext uri="{0D108BD9-81ED-4DB2-BD59-A6C34878D82A}">
                    <a16:rowId xmlns:a16="http://schemas.microsoft.com/office/drawing/2014/main" val="10000"/>
                  </a:ext>
                </a:extLst>
              </a:tr>
              <a:tr h="356616">
                <a:tc>
                  <a:txBody>
                    <a:bodyPr/>
                    <a:lstStyle/>
                    <a:p>
                      <a:pPr algn="ctr">
                        <a:lnSpc>
                          <a:spcPct val="100000"/>
                        </a:lnSpc>
                      </a:pPr>
                      <a:r>
                        <a:rPr lang="en-US" sz="1400" b="1" dirty="0">
                          <a:solidFill>
                            <a:schemeClr val="bg1"/>
                          </a:solidFill>
                          <a:latin typeface="Gotham Medium" panose="02000603030000020004" pitchFamily="2" charset="0"/>
                        </a:rPr>
                        <a:t>01</a:t>
                      </a:r>
                      <a:endParaRPr lang="en-US" sz="14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marL="0" algn="ctr" defTabSz="914378" rtl="0" eaLnBrk="1" latinLnBrk="0" hangingPunct="1">
                        <a:lnSpc>
                          <a:spcPct val="100000"/>
                        </a:lnSpc>
                      </a:pPr>
                      <a:r>
                        <a:rPr lang="en-US" sz="1400" b="0" kern="1200" dirty="0">
                          <a:solidFill>
                            <a:schemeClr val="tx1"/>
                          </a:solidFill>
                          <a:latin typeface="Gotham Medium" panose="02000603030000020004" pitchFamily="2" charset="0"/>
                          <a:ea typeface="+mn-ea"/>
                          <a:cs typeface="+mn-cs"/>
                        </a:rPr>
                        <a:t>General</a:t>
                      </a:r>
                    </a:p>
                  </a:txBody>
                  <a:tcPr marT="45730" marB="45730" anchor="ctr">
                    <a:noFill/>
                  </a:tcPr>
                </a:tc>
                <a:tc>
                  <a:txBody>
                    <a:bodyPr/>
                    <a:lstStyle/>
                    <a:p>
                      <a:pPr marL="0" algn="ctr" defTabSz="914378" rtl="0" eaLnBrk="1" latinLnBrk="0" hangingPunct="1">
                        <a:lnSpc>
                          <a:spcPct val="100000"/>
                        </a:lnSpc>
                      </a:pPr>
                      <a:r>
                        <a:rPr lang="en-US" sz="1400" b="0" kern="1200" dirty="0">
                          <a:solidFill>
                            <a:schemeClr val="tx1"/>
                          </a:solidFill>
                          <a:latin typeface="Gotham Medium" panose="02000603030000020004" pitchFamily="2" charset="0"/>
                          <a:ea typeface="+mn-ea"/>
                          <a:cs typeface="+mn-cs"/>
                        </a:rPr>
                        <a:t>50.0 %</a:t>
                      </a:r>
                    </a:p>
                  </a:txBody>
                  <a:tcPr marT="45730" marB="45730" anchor="ctr"/>
                </a:tc>
                <a:extLst>
                  <a:ext uri="{0D108BD9-81ED-4DB2-BD59-A6C34878D82A}">
                    <a16:rowId xmlns:a16="http://schemas.microsoft.com/office/drawing/2014/main" val="50540502"/>
                  </a:ext>
                </a:extLst>
              </a:tr>
              <a:tr h="464414">
                <a:tc>
                  <a:txBody>
                    <a:bodyPr/>
                    <a:lstStyle/>
                    <a:p>
                      <a:pPr algn="ctr">
                        <a:lnSpc>
                          <a:spcPct val="100000"/>
                        </a:lnSpc>
                      </a:pPr>
                      <a:r>
                        <a:rPr lang="en-US" sz="1400" b="1" dirty="0">
                          <a:solidFill>
                            <a:schemeClr val="bg1"/>
                          </a:solidFill>
                          <a:latin typeface="Gotham Medium" panose="02000603030000020004" pitchFamily="2" charset="0"/>
                        </a:rPr>
                        <a:t>02</a:t>
                      </a:r>
                      <a:endParaRPr lang="en-US" sz="14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algn="ctr">
                        <a:lnSpc>
                          <a:spcPct val="100000"/>
                        </a:lnSpc>
                      </a:pPr>
                      <a:r>
                        <a:rPr lang="en-US" sz="1400" b="0" dirty="0">
                          <a:latin typeface="Gotham Medium" panose="02000603030000020004" pitchFamily="2" charset="0"/>
                        </a:rPr>
                        <a:t>Scheduled Castes and Schedule Caste</a:t>
                      </a:r>
                    </a:p>
                    <a:p>
                      <a:pPr algn="ctr">
                        <a:lnSpc>
                          <a:spcPct val="100000"/>
                        </a:lnSpc>
                      </a:pPr>
                      <a:r>
                        <a:rPr lang="en-US" sz="1400" b="0" dirty="0">
                          <a:latin typeface="Gotham Medium" panose="02000603030000020004" pitchFamily="2" charset="0"/>
                        </a:rPr>
                        <a:t>Converts to Buddhism </a:t>
                      </a:r>
                      <a:r>
                        <a:rPr lang="en-US" sz="1400" b="1" dirty="0">
                          <a:latin typeface="Gotham Medium" panose="02000603030000020004" pitchFamily="2" charset="0"/>
                        </a:rPr>
                        <a:t>(SC)</a:t>
                      </a:r>
                      <a:endParaRPr lang="en-US" sz="1400" b="1" dirty="0">
                        <a:solidFill>
                          <a:srgbClr val="002060"/>
                        </a:solidFill>
                        <a:latin typeface="Gotham Medium" panose="02000603030000020004" pitchFamily="2" charset="0"/>
                        <a:cs typeface="Times New Roman" pitchFamily="18" charset="0"/>
                      </a:endParaRPr>
                    </a:p>
                  </a:txBody>
                  <a:tcPr marT="45730" marB="45730" anchor="ctr">
                    <a:noFill/>
                  </a:tcPr>
                </a:tc>
                <a:tc>
                  <a:txBody>
                    <a:bodyPr/>
                    <a:lstStyle/>
                    <a:p>
                      <a:pPr algn="ctr">
                        <a:lnSpc>
                          <a:spcPct val="100000"/>
                        </a:lnSpc>
                      </a:pPr>
                      <a:r>
                        <a:rPr lang="en-US" sz="1600" b="0" dirty="0">
                          <a:latin typeface="Gotham Medium" panose="02000603030000020004" pitchFamily="2" charset="0"/>
                        </a:rPr>
                        <a:t>13.0 %                 </a:t>
                      </a:r>
                      <a:endParaRPr lang="en-US" sz="1600" b="0" dirty="0">
                        <a:solidFill>
                          <a:srgbClr val="002060"/>
                        </a:solidFill>
                        <a:latin typeface="Gotham Medium" panose="02000603030000020004" pitchFamily="2" charset="0"/>
                        <a:cs typeface="Times New Roman" pitchFamily="18" charset="0"/>
                      </a:endParaRPr>
                    </a:p>
                  </a:txBody>
                  <a:tcPr marT="45730" marB="45730" anchor="ctr"/>
                </a:tc>
                <a:extLst>
                  <a:ext uri="{0D108BD9-81ED-4DB2-BD59-A6C34878D82A}">
                    <a16:rowId xmlns:a16="http://schemas.microsoft.com/office/drawing/2014/main" val="10001"/>
                  </a:ext>
                </a:extLst>
              </a:tr>
              <a:tr h="352808">
                <a:tc>
                  <a:txBody>
                    <a:bodyPr/>
                    <a:lstStyle/>
                    <a:p>
                      <a:pPr algn="ctr">
                        <a:lnSpc>
                          <a:spcPct val="100000"/>
                        </a:lnSpc>
                      </a:pPr>
                      <a:r>
                        <a:rPr lang="en-US" sz="1400" b="1" dirty="0">
                          <a:solidFill>
                            <a:schemeClr val="bg1"/>
                          </a:solidFill>
                          <a:latin typeface="Gotham Medium" panose="02000603030000020004" pitchFamily="2" charset="0"/>
                        </a:rPr>
                        <a:t>03 </a:t>
                      </a:r>
                      <a:endParaRPr lang="en-US" sz="14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algn="ctr">
                        <a:lnSpc>
                          <a:spcPct val="100000"/>
                        </a:lnSpc>
                      </a:pPr>
                      <a:r>
                        <a:rPr lang="en-US" sz="1400" b="0" i="0" u="none" strike="noStrike" kern="1200" baseline="0" dirty="0">
                          <a:solidFill>
                            <a:schemeClr val="tx1"/>
                          </a:solidFill>
                          <a:latin typeface="Gotham Medium" panose="02000603030000020004" pitchFamily="2" charset="0"/>
                          <a:ea typeface="+mn-ea"/>
                          <a:cs typeface="+mn-cs"/>
                        </a:rPr>
                        <a:t>Schedule Tribes </a:t>
                      </a:r>
                      <a:r>
                        <a:rPr lang="en-US" sz="1400" b="1" i="0" u="none" strike="noStrike" kern="1200" baseline="0" dirty="0">
                          <a:solidFill>
                            <a:schemeClr val="tx1"/>
                          </a:solidFill>
                          <a:latin typeface="Gotham Medium" panose="02000603030000020004" pitchFamily="2" charset="0"/>
                          <a:ea typeface="+mn-ea"/>
                          <a:cs typeface="+mn-cs"/>
                        </a:rPr>
                        <a:t>(ST)</a:t>
                      </a:r>
                      <a:endParaRPr lang="en-US" sz="1400" b="1" dirty="0">
                        <a:solidFill>
                          <a:srgbClr val="002060"/>
                        </a:solidFill>
                        <a:latin typeface="Gotham Medium" panose="02000603030000020004" pitchFamily="2" charset="0"/>
                        <a:cs typeface="Times New Roman" pitchFamily="18" charset="0"/>
                      </a:endParaRPr>
                    </a:p>
                  </a:txBody>
                  <a:tcPr marT="45730" marB="45730" anchor="c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0" dirty="0">
                          <a:latin typeface="Gotham Medium" panose="02000603030000020004" pitchFamily="2" charset="0"/>
                        </a:rPr>
                        <a:t>7.0 %</a:t>
                      </a:r>
                      <a:endParaRPr lang="en-US" sz="1600" b="0" dirty="0">
                        <a:solidFill>
                          <a:srgbClr val="002060"/>
                        </a:solidFill>
                        <a:latin typeface="Gotham Medium" panose="02000603030000020004" pitchFamily="2" charset="0"/>
                        <a:cs typeface="Times New Roman" pitchFamily="18" charset="0"/>
                      </a:endParaRPr>
                    </a:p>
                  </a:txBody>
                  <a:tcPr marT="45730" marB="45730" anchor="ctr"/>
                </a:tc>
                <a:extLst>
                  <a:ext uri="{0D108BD9-81ED-4DB2-BD59-A6C34878D82A}">
                    <a16:rowId xmlns:a16="http://schemas.microsoft.com/office/drawing/2014/main" val="10002"/>
                  </a:ext>
                </a:extLst>
              </a:tr>
              <a:tr h="352808">
                <a:tc>
                  <a:txBody>
                    <a:bodyPr/>
                    <a:lstStyle/>
                    <a:p>
                      <a:pPr algn="ctr">
                        <a:lnSpc>
                          <a:spcPct val="100000"/>
                        </a:lnSpc>
                      </a:pPr>
                      <a:r>
                        <a:rPr lang="en-US" sz="1400" b="1" dirty="0">
                          <a:solidFill>
                            <a:schemeClr val="bg1"/>
                          </a:solidFill>
                          <a:latin typeface="Gotham Medium" panose="02000603030000020004" pitchFamily="2" charset="0"/>
                        </a:rPr>
                        <a:t>04</a:t>
                      </a:r>
                      <a:endParaRPr lang="en-US" sz="14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algn="ctr"/>
                      <a:r>
                        <a:rPr lang="en-US" sz="1400" b="0" i="0" u="none" strike="noStrike" kern="1200" baseline="0" dirty="0" err="1">
                          <a:solidFill>
                            <a:schemeClr val="tx1"/>
                          </a:solidFill>
                          <a:latin typeface="Gotham Medium" panose="02000603030000020004" pitchFamily="2" charset="0"/>
                          <a:ea typeface="+mn-ea"/>
                          <a:cs typeface="+mn-cs"/>
                        </a:rPr>
                        <a:t>Vimukta</a:t>
                      </a:r>
                      <a:r>
                        <a:rPr lang="en-US" sz="1400" b="0" i="0" u="none" strike="noStrike" kern="1200" baseline="0" dirty="0">
                          <a:solidFill>
                            <a:schemeClr val="tx1"/>
                          </a:solidFill>
                          <a:latin typeface="Gotham Medium" panose="02000603030000020004" pitchFamily="2" charset="0"/>
                          <a:ea typeface="+mn-ea"/>
                          <a:cs typeface="+mn-cs"/>
                        </a:rPr>
                        <a:t> </a:t>
                      </a:r>
                      <a:r>
                        <a:rPr lang="en-US" sz="1400" b="0" i="0" u="none" strike="noStrike" kern="1200" baseline="0" dirty="0" err="1">
                          <a:solidFill>
                            <a:schemeClr val="tx1"/>
                          </a:solidFill>
                          <a:latin typeface="Gotham Medium" panose="02000603030000020004" pitchFamily="2" charset="0"/>
                          <a:ea typeface="+mn-ea"/>
                          <a:cs typeface="+mn-cs"/>
                        </a:rPr>
                        <a:t>Jati</a:t>
                      </a:r>
                      <a:r>
                        <a:rPr lang="en-US" sz="1400" b="0" i="0" u="none" strike="noStrike" kern="1200" baseline="0" dirty="0">
                          <a:solidFill>
                            <a:schemeClr val="tx1"/>
                          </a:solidFill>
                          <a:latin typeface="Gotham Medium" panose="02000603030000020004" pitchFamily="2" charset="0"/>
                          <a:ea typeface="+mn-ea"/>
                          <a:cs typeface="+mn-cs"/>
                        </a:rPr>
                        <a:t> </a:t>
                      </a:r>
                      <a:r>
                        <a:rPr lang="en-US" sz="1400" b="1" i="0" u="none" strike="noStrike" kern="1200" baseline="0" dirty="0">
                          <a:solidFill>
                            <a:schemeClr val="tx1"/>
                          </a:solidFill>
                          <a:latin typeface="Gotham Medium" panose="02000603030000020004" pitchFamily="2" charset="0"/>
                          <a:ea typeface="+mn-ea"/>
                          <a:cs typeface="+mn-cs"/>
                        </a:rPr>
                        <a:t>(VJ) </a:t>
                      </a:r>
                      <a:r>
                        <a:rPr lang="en-US" sz="1400" b="0" i="0" u="none" strike="noStrike" kern="1200" baseline="0" dirty="0">
                          <a:solidFill>
                            <a:schemeClr val="tx1"/>
                          </a:solidFill>
                          <a:latin typeface="Gotham Medium" panose="02000603030000020004" pitchFamily="2" charset="0"/>
                          <a:ea typeface="+mn-ea"/>
                          <a:cs typeface="+mn-cs"/>
                        </a:rPr>
                        <a:t>/ De Notified Tribes </a:t>
                      </a:r>
                      <a:r>
                        <a:rPr lang="en-US" sz="1400" b="1" i="0" u="none" strike="noStrike" kern="1200" baseline="0" dirty="0">
                          <a:solidFill>
                            <a:schemeClr val="tx1"/>
                          </a:solidFill>
                          <a:latin typeface="Gotham Medium" panose="02000603030000020004" pitchFamily="2" charset="0"/>
                          <a:ea typeface="+mn-ea"/>
                          <a:cs typeface="+mn-cs"/>
                        </a:rPr>
                        <a:t>(DT) (NT-A)</a:t>
                      </a:r>
                      <a:endParaRPr lang="en-US" sz="1400" b="1" dirty="0">
                        <a:solidFill>
                          <a:srgbClr val="002060"/>
                        </a:solidFill>
                        <a:latin typeface="Gotham Medium" panose="02000603030000020004" pitchFamily="2" charset="0"/>
                        <a:cs typeface="Times New Roman" pitchFamily="18" charset="0"/>
                      </a:endParaRPr>
                    </a:p>
                  </a:txBody>
                  <a:tcPr marT="45730" marB="45730" anchor="ctr">
                    <a:noFill/>
                  </a:tcPr>
                </a:tc>
                <a:tc>
                  <a:txBody>
                    <a:bodyPr/>
                    <a:lstStyle/>
                    <a:p>
                      <a:pPr algn="ctr">
                        <a:lnSpc>
                          <a:spcPct val="100000"/>
                        </a:lnSpc>
                      </a:pPr>
                      <a:r>
                        <a:rPr lang="en-US" sz="1600" b="0" dirty="0">
                          <a:latin typeface="Gotham Medium" panose="02000603030000020004" pitchFamily="2" charset="0"/>
                        </a:rPr>
                        <a:t>3.0 %</a:t>
                      </a:r>
                      <a:endParaRPr lang="en-US" sz="1600" b="0" dirty="0">
                        <a:solidFill>
                          <a:srgbClr val="002060"/>
                        </a:solidFill>
                        <a:latin typeface="Gotham Medium" panose="02000603030000020004" pitchFamily="2" charset="0"/>
                        <a:cs typeface="Times New Roman" pitchFamily="18" charset="0"/>
                      </a:endParaRPr>
                    </a:p>
                  </a:txBody>
                  <a:tcPr marT="45730" marB="45730" anchor="ctr"/>
                </a:tc>
                <a:extLst>
                  <a:ext uri="{0D108BD9-81ED-4DB2-BD59-A6C34878D82A}">
                    <a16:rowId xmlns:a16="http://schemas.microsoft.com/office/drawing/2014/main" val="10003"/>
                  </a:ext>
                </a:extLst>
              </a:tr>
              <a:tr h="352808">
                <a:tc>
                  <a:txBody>
                    <a:bodyPr/>
                    <a:lstStyle/>
                    <a:p>
                      <a:pPr algn="ctr">
                        <a:lnSpc>
                          <a:spcPct val="100000"/>
                        </a:lnSpc>
                      </a:pPr>
                      <a:r>
                        <a:rPr lang="en-US" sz="1400" b="1" dirty="0">
                          <a:solidFill>
                            <a:schemeClr val="bg1"/>
                          </a:solidFill>
                          <a:latin typeface="Gotham Medium" panose="02000603030000020004" pitchFamily="2" charset="0"/>
                        </a:rPr>
                        <a:t>05</a:t>
                      </a:r>
                      <a:endParaRPr lang="en-US" sz="14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algn="ctr">
                        <a:lnSpc>
                          <a:spcPct val="100000"/>
                        </a:lnSpc>
                      </a:pPr>
                      <a:r>
                        <a:rPr lang="en-US" sz="1400" b="0" i="0" u="none" strike="noStrike" kern="1200" baseline="0" dirty="0">
                          <a:solidFill>
                            <a:schemeClr val="tx1"/>
                          </a:solidFill>
                          <a:latin typeface="Gotham Medium" panose="02000603030000020004" pitchFamily="2" charset="0"/>
                          <a:ea typeface="+mn-ea"/>
                          <a:cs typeface="+mn-cs"/>
                        </a:rPr>
                        <a:t>Nomadic Tribes 1 </a:t>
                      </a:r>
                      <a:r>
                        <a:rPr lang="en-US" sz="1400" b="1" i="0" u="none" strike="noStrike" kern="1200" baseline="0" dirty="0">
                          <a:solidFill>
                            <a:schemeClr val="tx1"/>
                          </a:solidFill>
                          <a:latin typeface="Gotham Medium" panose="02000603030000020004" pitchFamily="2" charset="0"/>
                          <a:ea typeface="+mn-ea"/>
                          <a:cs typeface="+mn-cs"/>
                        </a:rPr>
                        <a:t>(NT-B)</a:t>
                      </a:r>
                      <a:endParaRPr lang="en-US" sz="1400" b="1" dirty="0">
                        <a:solidFill>
                          <a:srgbClr val="002060"/>
                        </a:solidFill>
                        <a:latin typeface="Gotham Medium" panose="02000603030000020004" pitchFamily="2" charset="0"/>
                        <a:cs typeface="Times New Roman" pitchFamily="18" charset="0"/>
                      </a:endParaRPr>
                    </a:p>
                  </a:txBody>
                  <a:tcPr marT="45730" marB="45730" anchor="ctr">
                    <a:noFill/>
                  </a:tcPr>
                </a:tc>
                <a:tc>
                  <a:txBody>
                    <a:bodyPr/>
                    <a:lstStyle/>
                    <a:p>
                      <a:pPr algn="ctr">
                        <a:lnSpc>
                          <a:spcPct val="100000"/>
                        </a:lnSpc>
                      </a:pPr>
                      <a:r>
                        <a:rPr lang="en-US" sz="1600" b="0" dirty="0">
                          <a:latin typeface="Gotham Medium" panose="02000603030000020004" pitchFamily="2" charset="0"/>
                        </a:rPr>
                        <a:t>2.5</a:t>
                      </a:r>
                      <a:r>
                        <a:rPr lang="en-US" sz="1600" b="0" baseline="0" dirty="0">
                          <a:latin typeface="Gotham Medium" panose="02000603030000020004" pitchFamily="2" charset="0"/>
                        </a:rPr>
                        <a:t> %</a:t>
                      </a:r>
                      <a:endParaRPr lang="en-US" sz="1600" b="0" dirty="0">
                        <a:solidFill>
                          <a:srgbClr val="002060"/>
                        </a:solidFill>
                        <a:latin typeface="Gotham Medium" panose="02000603030000020004" pitchFamily="2" charset="0"/>
                        <a:cs typeface="Times New Roman" pitchFamily="18" charset="0"/>
                      </a:endParaRPr>
                    </a:p>
                  </a:txBody>
                  <a:tcPr marT="45730" marB="45730" anchor="ctr"/>
                </a:tc>
                <a:extLst>
                  <a:ext uri="{0D108BD9-81ED-4DB2-BD59-A6C34878D82A}">
                    <a16:rowId xmlns:a16="http://schemas.microsoft.com/office/drawing/2014/main" val="10004"/>
                  </a:ext>
                </a:extLst>
              </a:tr>
              <a:tr h="352808">
                <a:tc>
                  <a:txBody>
                    <a:bodyPr/>
                    <a:lstStyle/>
                    <a:p>
                      <a:pPr algn="ctr">
                        <a:lnSpc>
                          <a:spcPct val="100000"/>
                        </a:lnSpc>
                      </a:pPr>
                      <a:r>
                        <a:rPr lang="en-US" sz="1400" b="1" dirty="0">
                          <a:solidFill>
                            <a:schemeClr val="bg1"/>
                          </a:solidFill>
                          <a:latin typeface="Gotham Medium" panose="02000603030000020004" pitchFamily="2" charset="0"/>
                        </a:rPr>
                        <a:t>06</a:t>
                      </a:r>
                      <a:endParaRPr lang="en-US" sz="14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algn="ctr">
                        <a:lnSpc>
                          <a:spcPct val="100000"/>
                        </a:lnSpc>
                      </a:pPr>
                      <a:r>
                        <a:rPr lang="en-US" sz="1400" b="0" i="0" u="none" strike="noStrike" kern="1200" baseline="0" dirty="0">
                          <a:solidFill>
                            <a:schemeClr val="tx1"/>
                          </a:solidFill>
                          <a:latin typeface="Gotham Medium" panose="02000603030000020004" pitchFamily="2" charset="0"/>
                          <a:ea typeface="+mn-ea"/>
                          <a:cs typeface="+mn-cs"/>
                        </a:rPr>
                        <a:t>Nomadic Tribes 2 </a:t>
                      </a:r>
                      <a:r>
                        <a:rPr lang="en-US" sz="1400" b="1" i="0" u="none" strike="noStrike" kern="1200" baseline="0" dirty="0">
                          <a:solidFill>
                            <a:schemeClr val="tx1"/>
                          </a:solidFill>
                          <a:latin typeface="Gotham Medium" panose="02000603030000020004" pitchFamily="2" charset="0"/>
                          <a:ea typeface="+mn-ea"/>
                          <a:cs typeface="+mn-cs"/>
                        </a:rPr>
                        <a:t>(NT-C)</a:t>
                      </a:r>
                      <a:endParaRPr lang="en-US" sz="1400" b="1" dirty="0">
                        <a:solidFill>
                          <a:srgbClr val="002060"/>
                        </a:solidFill>
                        <a:latin typeface="Gotham Medium" panose="02000603030000020004" pitchFamily="2" charset="0"/>
                        <a:cs typeface="Times New Roman" pitchFamily="18" charset="0"/>
                      </a:endParaRPr>
                    </a:p>
                  </a:txBody>
                  <a:tcPr marT="45730" marB="45730" anchor="ctr">
                    <a:noFill/>
                  </a:tcPr>
                </a:tc>
                <a:tc>
                  <a:txBody>
                    <a:bodyPr/>
                    <a:lstStyle/>
                    <a:p>
                      <a:pPr algn="ctr">
                        <a:lnSpc>
                          <a:spcPct val="100000"/>
                        </a:lnSpc>
                      </a:pPr>
                      <a:r>
                        <a:rPr lang="en-US" sz="1600" b="0" dirty="0">
                          <a:latin typeface="Gotham Medium" panose="02000603030000020004" pitchFamily="2" charset="0"/>
                        </a:rPr>
                        <a:t>3.5 %</a:t>
                      </a:r>
                      <a:endParaRPr lang="en-US" sz="1600" b="0" dirty="0">
                        <a:solidFill>
                          <a:srgbClr val="002060"/>
                        </a:solidFill>
                        <a:latin typeface="Gotham Medium" panose="02000603030000020004" pitchFamily="2" charset="0"/>
                        <a:cs typeface="Times New Roman" pitchFamily="18" charset="0"/>
                      </a:endParaRPr>
                    </a:p>
                  </a:txBody>
                  <a:tcPr marT="45730" marB="45730" anchor="ctr"/>
                </a:tc>
                <a:extLst>
                  <a:ext uri="{0D108BD9-81ED-4DB2-BD59-A6C34878D82A}">
                    <a16:rowId xmlns:a16="http://schemas.microsoft.com/office/drawing/2014/main" val="10005"/>
                  </a:ext>
                </a:extLst>
              </a:tr>
              <a:tr h="352808">
                <a:tc>
                  <a:txBody>
                    <a:bodyPr/>
                    <a:lstStyle/>
                    <a:p>
                      <a:pPr algn="ctr">
                        <a:lnSpc>
                          <a:spcPct val="100000"/>
                        </a:lnSpc>
                      </a:pPr>
                      <a:r>
                        <a:rPr lang="en-US" sz="1400" b="1" dirty="0">
                          <a:solidFill>
                            <a:schemeClr val="bg1"/>
                          </a:solidFill>
                          <a:latin typeface="Gotham Medium" panose="02000603030000020004" pitchFamily="2" charset="0"/>
                        </a:rPr>
                        <a:t>07</a:t>
                      </a:r>
                      <a:endParaRPr lang="en-US" sz="14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algn="ctr">
                        <a:lnSpc>
                          <a:spcPct val="100000"/>
                        </a:lnSpc>
                      </a:pPr>
                      <a:r>
                        <a:rPr lang="en-US" sz="1400" b="0" i="0" u="none" strike="noStrike" kern="1200" baseline="0" dirty="0">
                          <a:solidFill>
                            <a:schemeClr val="tx1"/>
                          </a:solidFill>
                          <a:latin typeface="Gotham Medium" panose="02000603030000020004" pitchFamily="2" charset="0"/>
                          <a:ea typeface="+mn-ea"/>
                          <a:cs typeface="+mn-cs"/>
                        </a:rPr>
                        <a:t>Nomadic Tribes 3 </a:t>
                      </a:r>
                      <a:r>
                        <a:rPr lang="en-US" sz="1400" b="1" i="0" u="none" strike="noStrike" kern="1200" baseline="0" dirty="0">
                          <a:solidFill>
                            <a:schemeClr val="tx1"/>
                          </a:solidFill>
                          <a:latin typeface="Gotham Medium" panose="02000603030000020004" pitchFamily="2" charset="0"/>
                          <a:ea typeface="+mn-ea"/>
                          <a:cs typeface="+mn-cs"/>
                        </a:rPr>
                        <a:t>(NT-D)</a:t>
                      </a:r>
                      <a:endParaRPr lang="en-US" sz="1400" b="1" dirty="0">
                        <a:solidFill>
                          <a:srgbClr val="002060"/>
                        </a:solidFill>
                        <a:latin typeface="Gotham Medium" panose="02000603030000020004" pitchFamily="2" charset="0"/>
                        <a:cs typeface="Times New Roman" pitchFamily="18" charset="0"/>
                      </a:endParaRPr>
                    </a:p>
                  </a:txBody>
                  <a:tcPr marT="45730" marB="45730" anchor="ctr">
                    <a:noFill/>
                  </a:tcPr>
                </a:tc>
                <a:tc>
                  <a:txBody>
                    <a:bodyPr/>
                    <a:lstStyle/>
                    <a:p>
                      <a:pPr algn="ctr">
                        <a:lnSpc>
                          <a:spcPct val="100000"/>
                        </a:lnSpc>
                      </a:pPr>
                      <a:r>
                        <a:rPr lang="en-US" sz="1600" b="0" dirty="0">
                          <a:latin typeface="Gotham Medium" panose="02000603030000020004" pitchFamily="2" charset="0"/>
                        </a:rPr>
                        <a:t>2.0 %</a:t>
                      </a:r>
                      <a:endParaRPr lang="en-US" sz="1600" b="0" dirty="0">
                        <a:solidFill>
                          <a:srgbClr val="002060"/>
                        </a:solidFill>
                        <a:latin typeface="Gotham Medium" panose="02000603030000020004" pitchFamily="2" charset="0"/>
                        <a:cs typeface="Times New Roman" pitchFamily="18" charset="0"/>
                      </a:endParaRPr>
                    </a:p>
                  </a:txBody>
                  <a:tcPr marT="45730" marB="45730" anchor="ctr"/>
                </a:tc>
                <a:extLst>
                  <a:ext uri="{0D108BD9-81ED-4DB2-BD59-A6C34878D82A}">
                    <a16:rowId xmlns:a16="http://schemas.microsoft.com/office/drawing/2014/main" val="10006"/>
                  </a:ext>
                </a:extLst>
              </a:tr>
              <a:tr h="352808">
                <a:tc>
                  <a:txBody>
                    <a:bodyPr/>
                    <a:lstStyle/>
                    <a:p>
                      <a:pPr algn="ctr">
                        <a:lnSpc>
                          <a:spcPct val="100000"/>
                        </a:lnSpc>
                      </a:pPr>
                      <a:r>
                        <a:rPr lang="en-US" sz="1400" b="1" dirty="0">
                          <a:solidFill>
                            <a:schemeClr val="bg1"/>
                          </a:solidFill>
                          <a:latin typeface="Gotham Medium" panose="02000603030000020004" pitchFamily="2" charset="0"/>
                          <a:cs typeface="Times New Roman" pitchFamily="18" charset="0"/>
                        </a:rPr>
                        <a:t>08</a:t>
                      </a:r>
                    </a:p>
                  </a:txBody>
                  <a:tcPr marT="45730" marB="45730" anchor="ctr">
                    <a:solidFill>
                      <a:schemeClr val="tx1">
                        <a:lumMod val="50000"/>
                        <a:lumOff val="50000"/>
                      </a:schemeClr>
                    </a:solidFill>
                  </a:tcPr>
                </a:tc>
                <a:tc>
                  <a:txBody>
                    <a:bodyPr/>
                    <a:lstStyle/>
                    <a:p>
                      <a:pPr algn="ctr">
                        <a:lnSpc>
                          <a:spcPct val="100000"/>
                        </a:lnSpc>
                      </a:pPr>
                      <a:r>
                        <a:rPr lang="en-US" sz="1400" b="0" i="0" u="none" strike="noStrike" kern="1200" baseline="0" dirty="0">
                          <a:solidFill>
                            <a:schemeClr val="tx1"/>
                          </a:solidFill>
                          <a:latin typeface="Gotham Medium" panose="02000603030000020004" pitchFamily="2" charset="0"/>
                          <a:ea typeface="+mn-ea"/>
                          <a:cs typeface="+mn-cs"/>
                        </a:rPr>
                        <a:t>Other Backward Classes </a:t>
                      </a:r>
                      <a:r>
                        <a:rPr lang="en-US" sz="1400" b="1" i="0" u="none" strike="noStrike" kern="1200" baseline="0" dirty="0">
                          <a:solidFill>
                            <a:schemeClr val="tx1"/>
                          </a:solidFill>
                          <a:latin typeface="Gotham Medium" panose="02000603030000020004" pitchFamily="2" charset="0"/>
                          <a:ea typeface="+mn-ea"/>
                          <a:cs typeface="+mn-cs"/>
                        </a:rPr>
                        <a:t>(OBC)</a:t>
                      </a:r>
                      <a:endParaRPr lang="en-US" sz="1400" b="1" dirty="0">
                        <a:solidFill>
                          <a:srgbClr val="002060"/>
                        </a:solidFill>
                        <a:latin typeface="Gotham Medium" panose="02000603030000020004" pitchFamily="2" charset="0"/>
                        <a:cs typeface="Times New Roman" pitchFamily="18" charset="0"/>
                      </a:endParaRPr>
                    </a:p>
                  </a:txBody>
                  <a:tcPr marT="45730" marB="45730" anchor="ctr">
                    <a:noFill/>
                  </a:tcPr>
                </a:tc>
                <a:tc>
                  <a:txBody>
                    <a:bodyPr/>
                    <a:lstStyle/>
                    <a:p>
                      <a:pPr algn="ctr">
                        <a:lnSpc>
                          <a:spcPct val="100000"/>
                        </a:lnSpc>
                      </a:pPr>
                      <a:r>
                        <a:rPr lang="en-US" sz="1600" b="0" dirty="0">
                          <a:latin typeface="Gotham Medium" panose="02000603030000020004" pitchFamily="2" charset="0"/>
                        </a:rPr>
                        <a:t>19.0 %</a:t>
                      </a:r>
                      <a:endParaRPr lang="en-US" sz="1600" b="0" dirty="0">
                        <a:solidFill>
                          <a:srgbClr val="002060"/>
                        </a:solidFill>
                        <a:latin typeface="Gotham Medium" panose="02000603030000020004" pitchFamily="2" charset="0"/>
                        <a:cs typeface="Times New Roman" pitchFamily="18" charset="0"/>
                      </a:endParaRPr>
                    </a:p>
                  </a:txBody>
                  <a:tcPr marT="45730" marB="45730" anchor="ctr"/>
                </a:tc>
                <a:extLst>
                  <a:ext uri="{0D108BD9-81ED-4DB2-BD59-A6C34878D82A}">
                    <a16:rowId xmlns:a16="http://schemas.microsoft.com/office/drawing/2014/main" val="10007"/>
                  </a:ext>
                </a:extLst>
              </a:tr>
              <a:tr h="352808">
                <a:tc gridSpan="2">
                  <a:txBody>
                    <a:bodyPr/>
                    <a:lstStyle/>
                    <a:p>
                      <a:pPr algn="ctr">
                        <a:lnSpc>
                          <a:spcPct val="100000"/>
                        </a:lnSpc>
                      </a:pPr>
                      <a:r>
                        <a:rPr lang="en-US" sz="1400" b="1" dirty="0">
                          <a:solidFill>
                            <a:schemeClr val="bg1"/>
                          </a:solidFill>
                          <a:latin typeface="Gotham Medium" panose="02000603030000020004" pitchFamily="2" charset="0"/>
                        </a:rPr>
                        <a:t>Total</a:t>
                      </a:r>
                      <a:endParaRPr lang="en-US" sz="14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hMerge="1">
                  <a:txBody>
                    <a:bodyPr/>
                    <a:lstStyle/>
                    <a:p>
                      <a:endParaRPr lang="en-US"/>
                    </a:p>
                  </a:txBody>
                  <a:tcPr/>
                </a:tc>
                <a:tc>
                  <a:txBody>
                    <a:bodyPr/>
                    <a:lstStyle/>
                    <a:p>
                      <a:pPr algn="ctr">
                        <a:lnSpc>
                          <a:spcPct val="100000"/>
                        </a:lnSpc>
                      </a:pPr>
                      <a:r>
                        <a:rPr lang="en-US" sz="1600" b="1" dirty="0">
                          <a:solidFill>
                            <a:srgbClr val="FF5969"/>
                          </a:solidFill>
                          <a:latin typeface="Gotham Medium" panose="02000603030000020004" pitchFamily="2" charset="0"/>
                        </a:rPr>
                        <a:t>100.00 %</a:t>
                      </a:r>
                      <a:endParaRPr lang="en-US" sz="1600" b="1" dirty="0">
                        <a:solidFill>
                          <a:srgbClr val="FF5969"/>
                        </a:solidFill>
                        <a:latin typeface="Gotham Medium" panose="02000603030000020004" pitchFamily="2" charset="0"/>
                        <a:cs typeface="Times New Roman" pitchFamily="18" charset="0"/>
                      </a:endParaRPr>
                    </a:p>
                  </a:txBody>
                  <a:tcPr marT="45730" marB="45730" anchor="ctr"/>
                </a:tc>
                <a:extLst>
                  <a:ext uri="{0D108BD9-81ED-4DB2-BD59-A6C34878D82A}">
                    <a16:rowId xmlns:a16="http://schemas.microsoft.com/office/drawing/2014/main" val="3790904348"/>
                  </a:ext>
                </a:extLst>
              </a:tr>
            </a:tbl>
          </a:graphicData>
        </a:graphic>
      </p:graphicFrame>
    </p:spTree>
    <p:extLst>
      <p:ext uri="{BB962C8B-B14F-4D97-AF65-F5344CB8AC3E}">
        <p14:creationId xmlns:p14="http://schemas.microsoft.com/office/powerpoint/2010/main" val="14376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AF390EF-852F-4340-9611-1A62B921FFFB}"/>
              </a:ext>
            </a:extLst>
          </p:cNvPr>
          <p:cNvSpPr txBox="1">
            <a:spLocks/>
          </p:cNvSpPr>
          <p:nvPr/>
        </p:nvSpPr>
        <p:spPr>
          <a:xfrm>
            <a:off x="95373" y="184083"/>
            <a:ext cx="6324601" cy="533401"/>
          </a:xfrm>
          <a:prstGeom prst="rect">
            <a:avLst/>
          </a:prstGeom>
        </p:spPr>
        <p:txBody>
          <a:bodyPr vert="horz" lIns="91440" tIns="45720" rIns="91440" bIns="45720" rtlCol="0" anchor="ctr">
            <a:noAutofit/>
          </a:bodyPr>
          <a:lstStyle>
            <a:lvl1pPr algn="ctr" defTabSz="914378"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Other Reservations</a:t>
            </a:r>
          </a:p>
        </p:txBody>
      </p:sp>
      <p:sp>
        <p:nvSpPr>
          <p:cNvPr id="7" name="Rectangle 6">
            <a:extLst>
              <a:ext uri="{FF2B5EF4-FFF2-40B4-BE49-F238E27FC236}">
                <a16:creationId xmlns:a16="http://schemas.microsoft.com/office/drawing/2014/main" id="{83CED6C5-B021-40C9-9D46-FCB84F158A93}"/>
              </a:ext>
            </a:extLst>
          </p:cNvPr>
          <p:cNvSpPr/>
          <p:nvPr/>
        </p:nvSpPr>
        <p:spPr>
          <a:xfrm>
            <a:off x="0" y="184084"/>
            <a:ext cx="122267" cy="5334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8" name="Rectangle 7">
            <a:extLst>
              <a:ext uri="{FF2B5EF4-FFF2-40B4-BE49-F238E27FC236}">
                <a16:creationId xmlns:a16="http://schemas.microsoft.com/office/drawing/2014/main" id="{B2289E16-21E0-4345-B206-E9B2694CBD02}"/>
              </a:ext>
            </a:extLst>
          </p:cNvPr>
          <p:cNvSpPr/>
          <p:nvPr/>
        </p:nvSpPr>
        <p:spPr>
          <a:xfrm>
            <a:off x="0" y="5078502"/>
            <a:ext cx="3352800" cy="64997"/>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10" name="Rectangle 9">
            <a:extLst>
              <a:ext uri="{FF2B5EF4-FFF2-40B4-BE49-F238E27FC236}">
                <a16:creationId xmlns:a16="http://schemas.microsoft.com/office/drawing/2014/main" id="{93BCD5CB-62AD-44BF-9000-5671798225C1}"/>
              </a:ext>
            </a:extLst>
          </p:cNvPr>
          <p:cNvSpPr/>
          <p:nvPr/>
        </p:nvSpPr>
        <p:spPr>
          <a:xfrm>
            <a:off x="1752600" y="751715"/>
            <a:ext cx="7391400" cy="49026"/>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srgbClr val="083D65"/>
              </a:solidFill>
            </a:endParaRPr>
          </a:p>
        </p:txBody>
      </p:sp>
      <p:graphicFrame>
        <p:nvGraphicFramePr>
          <p:cNvPr id="9" name="Table 8">
            <a:extLst>
              <a:ext uri="{FF2B5EF4-FFF2-40B4-BE49-F238E27FC236}">
                <a16:creationId xmlns:a16="http://schemas.microsoft.com/office/drawing/2014/main" id="{C98CD7FC-94F6-46E6-BCF4-1168EC589B16}"/>
              </a:ext>
            </a:extLst>
          </p:cNvPr>
          <p:cNvGraphicFramePr>
            <a:graphicFrameLocks noGrp="1"/>
          </p:cNvGraphicFramePr>
          <p:nvPr>
            <p:extLst>
              <p:ext uri="{D42A27DB-BD31-4B8C-83A1-F6EECF244321}">
                <p14:modId xmlns:p14="http://schemas.microsoft.com/office/powerpoint/2010/main" val="1598340459"/>
              </p:ext>
            </p:extLst>
          </p:nvPr>
        </p:nvGraphicFramePr>
        <p:xfrm>
          <a:off x="373576" y="912741"/>
          <a:ext cx="8453997" cy="4000769"/>
        </p:xfrm>
        <a:graphic>
          <a:graphicData uri="http://schemas.openxmlformats.org/drawingml/2006/table">
            <a:tbl>
              <a:tblPr firstRow="1" bandRow="1">
                <a:tableStyleId>{5940675A-B579-460E-94D1-54222C63F5DA}</a:tableStyleId>
              </a:tblPr>
              <a:tblGrid>
                <a:gridCol w="625574">
                  <a:extLst>
                    <a:ext uri="{9D8B030D-6E8A-4147-A177-3AD203B41FA5}">
                      <a16:colId xmlns:a16="http://schemas.microsoft.com/office/drawing/2014/main" val="20000"/>
                    </a:ext>
                  </a:extLst>
                </a:gridCol>
                <a:gridCol w="4788218">
                  <a:extLst>
                    <a:ext uri="{9D8B030D-6E8A-4147-A177-3AD203B41FA5}">
                      <a16:colId xmlns:a16="http://schemas.microsoft.com/office/drawing/2014/main" val="118061277"/>
                    </a:ext>
                  </a:extLst>
                </a:gridCol>
                <a:gridCol w="3040205">
                  <a:extLst>
                    <a:ext uri="{9D8B030D-6E8A-4147-A177-3AD203B41FA5}">
                      <a16:colId xmlns:a16="http://schemas.microsoft.com/office/drawing/2014/main" val="20002"/>
                    </a:ext>
                  </a:extLst>
                </a:gridCol>
              </a:tblGrid>
              <a:tr h="439809">
                <a:tc>
                  <a:txBody>
                    <a:bodyPr/>
                    <a:lstStyle/>
                    <a:p>
                      <a:pPr algn="ctr">
                        <a:lnSpc>
                          <a:spcPct val="100000"/>
                        </a:lnSpc>
                      </a:pPr>
                      <a:r>
                        <a:rPr lang="en-US" sz="1400" b="1" dirty="0">
                          <a:solidFill>
                            <a:schemeClr val="bg1"/>
                          </a:solidFill>
                          <a:latin typeface="Gotham Medium" panose="02000603030000020004" pitchFamily="2" charset="0"/>
                        </a:rPr>
                        <a:t>Sr. No. </a:t>
                      </a:r>
                      <a:endParaRPr lang="en-US" sz="14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algn="ctr">
                        <a:lnSpc>
                          <a:spcPct val="100000"/>
                        </a:lnSpc>
                      </a:pPr>
                      <a:r>
                        <a:rPr lang="en-US" sz="1600" b="1" dirty="0">
                          <a:solidFill>
                            <a:schemeClr val="bg1"/>
                          </a:solidFill>
                          <a:latin typeface="Gotham Medium" panose="02000603030000020004" pitchFamily="2" charset="0"/>
                        </a:rPr>
                        <a:t>Category</a:t>
                      </a:r>
                      <a:endParaRPr lang="en-US" sz="16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algn="ctr">
                        <a:lnSpc>
                          <a:spcPct val="100000"/>
                        </a:lnSpc>
                      </a:pPr>
                      <a:r>
                        <a:rPr lang="en-US" sz="1600" b="1" dirty="0">
                          <a:solidFill>
                            <a:schemeClr val="bg1"/>
                          </a:solidFill>
                          <a:latin typeface="Gotham Medium" panose="02000603030000020004" pitchFamily="2" charset="0"/>
                        </a:rPr>
                        <a:t>Percentage of Seats</a:t>
                      </a:r>
                      <a:endParaRPr lang="en-US" sz="16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extLst>
                  <a:ext uri="{0D108BD9-81ED-4DB2-BD59-A6C34878D82A}">
                    <a16:rowId xmlns:a16="http://schemas.microsoft.com/office/drawing/2014/main" val="10000"/>
                  </a:ext>
                </a:extLst>
              </a:tr>
              <a:tr h="366307">
                <a:tc gridSpan="3">
                  <a:txBody>
                    <a:bodyPr/>
                    <a:lstStyle/>
                    <a:p>
                      <a:pPr algn="ctr">
                        <a:lnSpc>
                          <a:spcPct val="100000"/>
                        </a:lnSpc>
                      </a:pPr>
                      <a:r>
                        <a:rPr lang="en-US" sz="1600" b="1" dirty="0">
                          <a:solidFill>
                            <a:srgbClr val="FEC630"/>
                          </a:solidFill>
                          <a:latin typeface="Gotham Medium" panose="02000603030000020004" pitchFamily="2" charset="0"/>
                          <a:cs typeface="Times New Roman" pitchFamily="18" charset="0"/>
                        </a:rPr>
                        <a:t>Over and Above Sanctioned Intake Seats (Supernumerary Seats)</a:t>
                      </a:r>
                    </a:p>
                  </a:txBody>
                  <a:tcPr marT="45730" marB="45730" anchor="ctr">
                    <a:solidFill>
                      <a:schemeClr val="tx1">
                        <a:lumMod val="50000"/>
                        <a:lumOff val="50000"/>
                      </a:schemeClr>
                    </a:solidFill>
                  </a:tcPr>
                </a:tc>
                <a:tc hMerge="1">
                  <a:txBody>
                    <a:bodyPr/>
                    <a:lstStyle/>
                    <a:p>
                      <a:pPr marL="0" algn="ctr" defTabSz="914378" rtl="0" eaLnBrk="1" latinLnBrk="0" hangingPunct="1">
                        <a:lnSpc>
                          <a:spcPct val="100000"/>
                        </a:lnSpc>
                      </a:pPr>
                      <a:endParaRPr lang="en-US" sz="1400" b="0" kern="1200" dirty="0">
                        <a:solidFill>
                          <a:schemeClr val="tx1"/>
                        </a:solidFill>
                        <a:latin typeface="Gotham Medium" panose="02000603030000020004" pitchFamily="2" charset="0"/>
                        <a:ea typeface="+mn-ea"/>
                        <a:cs typeface="+mn-cs"/>
                      </a:endParaRPr>
                    </a:p>
                  </a:txBody>
                  <a:tcPr marT="45730" marB="45730" anchor="ctr">
                    <a:noFill/>
                  </a:tcPr>
                </a:tc>
                <a:tc hMerge="1">
                  <a:txBody>
                    <a:bodyPr/>
                    <a:lstStyle/>
                    <a:p>
                      <a:pPr marL="0" algn="ctr" defTabSz="914378" rtl="0" eaLnBrk="1" latinLnBrk="0" hangingPunct="1">
                        <a:lnSpc>
                          <a:spcPct val="100000"/>
                        </a:lnSpc>
                      </a:pPr>
                      <a:endParaRPr lang="en-US" sz="1400" b="0" kern="1200" dirty="0">
                        <a:solidFill>
                          <a:schemeClr val="tx1"/>
                        </a:solidFill>
                        <a:latin typeface="Gotham Medium" panose="02000603030000020004" pitchFamily="2" charset="0"/>
                        <a:ea typeface="+mn-ea"/>
                        <a:cs typeface="+mn-cs"/>
                      </a:endParaRPr>
                    </a:p>
                  </a:txBody>
                  <a:tcPr marT="45730" marB="45730" anchor="ctr"/>
                </a:tc>
                <a:extLst>
                  <a:ext uri="{0D108BD9-81ED-4DB2-BD59-A6C34878D82A}">
                    <a16:rowId xmlns:a16="http://schemas.microsoft.com/office/drawing/2014/main" val="2901140187"/>
                  </a:ext>
                </a:extLst>
              </a:tr>
              <a:tr h="366307">
                <a:tc>
                  <a:txBody>
                    <a:bodyPr/>
                    <a:lstStyle/>
                    <a:p>
                      <a:pPr algn="ctr">
                        <a:lnSpc>
                          <a:spcPct val="100000"/>
                        </a:lnSpc>
                      </a:pPr>
                      <a:r>
                        <a:rPr lang="en-US" sz="1400" b="1" dirty="0">
                          <a:solidFill>
                            <a:schemeClr val="bg1"/>
                          </a:solidFill>
                          <a:latin typeface="Gotham Medium" panose="02000603030000020004" pitchFamily="2" charset="0"/>
                        </a:rPr>
                        <a:t>01</a:t>
                      </a:r>
                      <a:endParaRPr lang="en-US" sz="14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marL="0" algn="ctr" defTabSz="914378" rtl="0" eaLnBrk="1" latinLnBrk="0" hangingPunct="1">
                        <a:lnSpc>
                          <a:spcPct val="100000"/>
                        </a:lnSpc>
                      </a:pPr>
                      <a:r>
                        <a:rPr lang="en-US" sz="1400" b="0" kern="1200" dirty="0">
                          <a:solidFill>
                            <a:schemeClr val="tx1"/>
                          </a:solidFill>
                          <a:latin typeface="Gotham Medium" panose="02000603030000020004" pitchFamily="2" charset="0"/>
                          <a:ea typeface="+mn-ea"/>
                          <a:cs typeface="+mn-cs"/>
                        </a:rPr>
                        <a:t>Economically Weaker Section (EWS)</a:t>
                      </a:r>
                    </a:p>
                  </a:txBody>
                  <a:tcPr marT="45730" marB="45730" anchor="ctr">
                    <a:noFill/>
                  </a:tcPr>
                </a:tc>
                <a:tc>
                  <a:txBody>
                    <a:bodyPr/>
                    <a:lstStyle/>
                    <a:p>
                      <a:pPr marL="0" algn="ctr" defTabSz="914378" rtl="0" eaLnBrk="1" latinLnBrk="0" hangingPunct="1">
                        <a:lnSpc>
                          <a:spcPct val="100000"/>
                        </a:lnSpc>
                      </a:pPr>
                      <a:r>
                        <a:rPr lang="en-US" sz="1400" b="0" kern="1200" dirty="0">
                          <a:solidFill>
                            <a:schemeClr val="tx1"/>
                          </a:solidFill>
                          <a:latin typeface="Gotham Medium" panose="02000603030000020004" pitchFamily="2" charset="0"/>
                          <a:ea typeface="+mn-ea"/>
                          <a:cs typeface="+mn-cs"/>
                        </a:rPr>
                        <a:t>10.0 %</a:t>
                      </a:r>
                    </a:p>
                  </a:txBody>
                  <a:tcPr marT="45730" marB="45730" anchor="ctr"/>
                </a:tc>
                <a:extLst>
                  <a:ext uri="{0D108BD9-81ED-4DB2-BD59-A6C34878D82A}">
                    <a16:rowId xmlns:a16="http://schemas.microsoft.com/office/drawing/2014/main" val="50540502"/>
                  </a:ext>
                </a:extLst>
              </a:tr>
              <a:tr h="366307">
                <a:tc>
                  <a:txBody>
                    <a:bodyPr/>
                    <a:lstStyle/>
                    <a:p>
                      <a:pPr algn="ctr">
                        <a:lnSpc>
                          <a:spcPct val="100000"/>
                        </a:lnSpc>
                      </a:pPr>
                      <a:r>
                        <a:rPr lang="en-US" sz="1400" b="1" dirty="0">
                          <a:solidFill>
                            <a:schemeClr val="bg1"/>
                          </a:solidFill>
                          <a:latin typeface="Gotham Medium" panose="02000603030000020004" pitchFamily="2" charset="0"/>
                        </a:rPr>
                        <a:t>02</a:t>
                      </a:r>
                      <a:endParaRPr lang="en-US" sz="14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marL="0" algn="ctr" defTabSz="914378" rtl="0" eaLnBrk="1" latinLnBrk="0" hangingPunct="1">
                        <a:lnSpc>
                          <a:spcPct val="100000"/>
                        </a:lnSpc>
                      </a:pPr>
                      <a:r>
                        <a:rPr lang="en-US" sz="1400" b="0" kern="1200" dirty="0">
                          <a:solidFill>
                            <a:schemeClr val="tx1"/>
                          </a:solidFill>
                          <a:latin typeface="Gotham Medium" panose="02000603030000020004" pitchFamily="2" charset="0"/>
                          <a:ea typeface="+mn-ea"/>
                          <a:cs typeface="+mn-cs"/>
                        </a:rPr>
                        <a:t>Tuition Fee Waiver Scheme (TFWS)</a:t>
                      </a:r>
                    </a:p>
                  </a:txBody>
                  <a:tcPr marT="45730" marB="45730" anchor="ctr">
                    <a:noFill/>
                  </a:tcPr>
                </a:tc>
                <a:tc>
                  <a:txBody>
                    <a:bodyPr/>
                    <a:lstStyle/>
                    <a:p>
                      <a:pPr marL="0" algn="ctr" defTabSz="914378" rtl="0" eaLnBrk="1" latinLnBrk="0" hangingPunct="1">
                        <a:lnSpc>
                          <a:spcPct val="100000"/>
                        </a:lnSpc>
                      </a:pPr>
                      <a:r>
                        <a:rPr lang="en-US" sz="1400" b="0" kern="1200" dirty="0">
                          <a:solidFill>
                            <a:schemeClr val="tx1"/>
                          </a:solidFill>
                          <a:latin typeface="Gotham Medium" panose="02000603030000020004" pitchFamily="2" charset="0"/>
                          <a:ea typeface="+mn-ea"/>
                          <a:cs typeface="+mn-cs"/>
                        </a:rPr>
                        <a:t>5.0 %</a:t>
                      </a:r>
                    </a:p>
                  </a:txBody>
                  <a:tcPr marT="45730" marB="45730" anchor="ctr"/>
                </a:tc>
                <a:extLst>
                  <a:ext uri="{0D108BD9-81ED-4DB2-BD59-A6C34878D82A}">
                    <a16:rowId xmlns:a16="http://schemas.microsoft.com/office/drawing/2014/main" val="10001"/>
                  </a:ext>
                </a:extLst>
              </a:tr>
              <a:tr h="552133">
                <a:tc>
                  <a:txBody>
                    <a:bodyPr/>
                    <a:lstStyle/>
                    <a:p>
                      <a:pPr algn="ctr">
                        <a:lnSpc>
                          <a:spcPct val="100000"/>
                        </a:lnSpc>
                      </a:pPr>
                      <a:r>
                        <a:rPr lang="en-US" sz="1400" b="1" dirty="0">
                          <a:solidFill>
                            <a:schemeClr val="bg1"/>
                          </a:solidFill>
                          <a:latin typeface="Gotham Medium" panose="02000603030000020004" pitchFamily="2" charset="0"/>
                        </a:rPr>
                        <a:t>03 </a:t>
                      </a:r>
                      <a:endParaRPr lang="en-US" sz="14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marL="0" algn="ctr" defTabSz="914378" rtl="0" eaLnBrk="1" latinLnBrk="0" hangingPunct="1">
                        <a:lnSpc>
                          <a:spcPct val="100000"/>
                        </a:lnSpc>
                      </a:pPr>
                      <a:r>
                        <a:rPr lang="en-US" sz="1400" b="0" kern="1200" dirty="0">
                          <a:solidFill>
                            <a:schemeClr val="tx1"/>
                          </a:solidFill>
                          <a:latin typeface="Gotham Medium" panose="02000603030000020004" pitchFamily="2" charset="0"/>
                          <a:ea typeface="+mn-ea"/>
                          <a:cs typeface="+mn-cs"/>
                        </a:rPr>
                        <a:t>Jammu and Kashmir Candidates and </a:t>
                      </a:r>
                      <a:br>
                        <a:rPr lang="en-US" sz="1400" b="0" kern="1200" dirty="0">
                          <a:solidFill>
                            <a:schemeClr val="tx1"/>
                          </a:solidFill>
                          <a:latin typeface="Gotham Medium" panose="02000603030000020004" pitchFamily="2" charset="0"/>
                          <a:ea typeface="+mn-ea"/>
                          <a:cs typeface="+mn-cs"/>
                        </a:rPr>
                      </a:br>
                      <a:r>
                        <a:rPr lang="en-US" sz="1400" b="0" kern="1200" dirty="0">
                          <a:solidFill>
                            <a:schemeClr val="tx1"/>
                          </a:solidFill>
                          <a:latin typeface="Gotham Medium" panose="02000603030000020004" pitchFamily="2" charset="0"/>
                          <a:ea typeface="+mn-ea"/>
                          <a:cs typeface="+mn-cs"/>
                        </a:rPr>
                        <a:t>North East States</a:t>
                      </a:r>
                    </a:p>
                  </a:txBody>
                  <a:tcPr marT="45730" marB="45730" anchor="ctr">
                    <a:noFill/>
                  </a:tcPr>
                </a:tc>
                <a:tc>
                  <a:txBody>
                    <a:bodyPr/>
                    <a:lstStyle/>
                    <a:p>
                      <a:pPr marL="0" marR="0" indent="0" algn="ctr" defTabSz="914378"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latin typeface="Gotham Medium" panose="02000603030000020004" pitchFamily="2" charset="0"/>
                          <a:ea typeface="+mn-ea"/>
                          <a:cs typeface="+mn-cs"/>
                        </a:rPr>
                        <a:t>One Seat per Branch</a:t>
                      </a:r>
                    </a:p>
                  </a:txBody>
                  <a:tcPr marT="45730" marB="45730" anchor="ctr"/>
                </a:tc>
                <a:extLst>
                  <a:ext uri="{0D108BD9-81ED-4DB2-BD59-A6C34878D82A}">
                    <a16:rowId xmlns:a16="http://schemas.microsoft.com/office/drawing/2014/main" val="10002"/>
                  </a:ext>
                </a:extLst>
              </a:tr>
              <a:tr h="366307">
                <a:tc gridSpan="3">
                  <a:txBody>
                    <a:bodyPr/>
                    <a:lstStyle/>
                    <a:p>
                      <a:pPr algn="ctr">
                        <a:lnSpc>
                          <a:spcPct val="100000"/>
                        </a:lnSpc>
                      </a:pPr>
                      <a:r>
                        <a:rPr lang="en-US" sz="1600" b="1" dirty="0">
                          <a:solidFill>
                            <a:srgbClr val="FEC630"/>
                          </a:solidFill>
                          <a:latin typeface="Gotham Medium" panose="02000603030000020004" pitchFamily="2" charset="0"/>
                          <a:cs typeface="Times New Roman" pitchFamily="18" charset="0"/>
                        </a:rPr>
                        <a:t>Within Sanctioned Intake</a:t>
                      </a:r>
                    </a:p>
                  </a:txBody>
                  <a:tcPr marT="45730" marB="45730" anchor="ctr">
                    <a:solidFill>
                      <a:schemeClr val="tx1">
                        <a:lumMod val="50000"/>
                        <a:lumOff val="50000"/>
                      </a:schemeClr>
                    </a:solidFill>
                  </a:tcPr>
                </a:tc>
                <a:tc hMerge="1">
                  <a:txBody>
                    <a:bodyPr/>
                    <a:lstStyle/>
                    <a:p>
                      <a:pPr marL="0" algn="ctr" defTabSz="914378" rtl="0" eaLnBrk="1" latinLnBrk="0" hangingPunct="1">
                        <a:lnSpc>
                          <a:spcPct val="100000"/>
                        </a:lnSpc>
                      </a:pPr>
                      <a:endParaRPr lang="en-US" sz="1400" b="0" kern="1200" dirty="0">
                        <a:solidFill>
                          <a:schemeClr val="tx1"/>
                        </a:solidFill>
                        <a:latin typeface="Gotham Medium" panose="02000603030000020004" pitchFamily="2" charset="0"/>
                        <a:ea typeface="+mn-ea"/>
                        <a:cs typeface="+mn-cs"/>
                      </a:endParaRPr>
                    </a:p>
                  </a:txBody>
                  <a:tcPr marT="45730" marB="45730" anchor="ctr">
                    <a:noFill/>
                  </a:tcPr>
                </a:tc>
                <a:tc hMerge="1">
                  <a:txBody>
                    <a:bodyPr/>
                    <a:lstStyle/>
                    <a:p>
                      <a:pPr marL="0" algn="ctr" defTabSz="914378" rtl="0" eaLnBrk="1" latinLnBrk="0" hangingPunct="1">
                        <a:lnSpc>
                          <a:spcPct val="100000"/>
                        </a:lnSpc>
                      </a:pPr>
                      <a:endParaRPr lang="en-US" sz="1400" b="0" kern="1200" dirty="0">
                        <a:solidFill>
                          <a:schemeClr val="tx1"/>
                        </a:solidFill>
                        <a:latin typeface="Gotham Medium" panose="02000603030000020004" pitchFamily="2" charset="0"/>
                        <a:ea typeface="+mn-ea"/>
                        <a:cs typeface="+mn-cs"/>
                      </a:endParaRPr>
                    </a:p>
                  </a:txBody>
                  <a:tcPr marT="45730" marB="45730" anchor="ctr"/>
                </a:tc>
                <a:extLst>
                  <a:ext uri="{0D108BD9-81ED-4DB2-BD59-A6C34878D82A}">
                    <a16:rowId xmlns:a16="http://schemas.microsoft.com/office/drawing/2014/main" val="10003"/>
                  </a:ext>
                </a:extLst>
              </a:tr>
              <a:tr h="366307">
                <a:tc>
                  <a:txBody>
                    <a:bodyPr/>
                    <a:lstStyle/>
                    <a:p>
                      <a:pPr algn="ctr">
                        <a:lnSpc>
                          <a:spcPct val="100000"/>
                        </a:lnSpc>
                      </a:pPr>
                      <a:r>
                        <a:rPr lang="en-US" sz="1400" b="1" dirty="0">
                          <a:solidFill>
                            <a:schemeClr val="bg1"/>
                          </a:solidFill>
                          <a:latin typeface="Gotham Medium" panose="02000603030000020004" pitchFamily="2" charset="0"/>
                        </a:rPr>
                        <a:t>01</a:t>
                      </a:r>
                      <a:endParaRPr lang="en-US" sz="14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marL="0" algn="ctr" defTabSz="914378" rtl="0" eaLnBrk="1" latinLnBrk="0" hangingPunct="1">
                        <a:lnSpc>
                          <a:spcPct val="100000"/>
                        </a:lnSpc>
                      </a:pPr>
                      <a:r>
                        <a:rPr lang="en-US" sz="1400" b="0" kern="1200" dirty="0">
                          <a:solidFill>
                            <a:schemeClr val="tx1"/>
                          </a:solidFill>
                          <a:latin typeface="Gotham Medium" panose="02000603030000020004" pitchFamily="2" charset="0"/>
                          <a:ea typeface="+mn-ea"/>
                          <a:cs typeface="+mn-cs"/>
                        </a:rPr>
                        <a:t>Sons/daughters of Defence service personnel</a:t>
                      </a:r>
                    </a:p>
                  </a:txBody>
                  <a:tcPr marT="45730" marB="45730" anchor="ctr">
                    <a:noFill/>
                  </a:tcPr>
                </a:tc>
                <a:tc>
                  <a:txBody>
                    <a:bodyPr/>
                    <a:lstStyle/>
                    <a:p>
                      <a:pPr marL="0" algn="ctr" defTabSz="914378" rtl="0" eaLnBrk="1" latinLnBrk="0" hangingPunct="1">
                        <a:lnSpc>
                          <a:spcPct val="100000"/>
                        </a:lnSpc>
                      </a:pPr>
                      <a:r>
                        <a:rPr lang="en-US" sz="1400" b="0" kern="1200" dirty="0">
                          <a:solidFill>
                            <a:schemeClr val="tx1"/>
                          </a:solidFill>
                          <a:latin typeface="Gotham Medium" panose="02000603030000020004" pitchFamily="2" charset="0"/>
                          <a:ea typeface="+mn-ea"/>
                          <a:cs typeface="+mn-cs"/>
                        </a:rPr>
                        <a:t>5.0 %</a:t>
                      </a:r>
                    </a:p>
                  </a:txBody>
                  <a:tcPr marT="45730" marB="45730" anchor="ctr"/>
                </a:tc>
                <a:extLst>
                  <a:ext uri="{0D108BD9-81ED-4DB2-BD59-A6C34878D82A}">
                    <a16:rowId xmlns:a16="http://schemas.microsoft.com/office/drawing/2014/main" val="10004"/>
                  </a:ext>
                </a:extLst>
              </a:tr>
              <a:tr h="366307">
                <a:tc>
                  <a:txBody>
                    <a:bodyPr/>
                    <a:lstStyle/>
                    <a:p>
                      <a:pPr algn="ctr">
                        <a:lnSpc>
                          <a:spcPct val="100000"/>
                        </a:lnSpc>
                      </a:pPr>
                      <a:r>
                        <a:rPr lang="en-US" sz="1400" b="1" dirty="0">
                          <a:solidFill>
                            <a:schemeClr val="bg1"/>
                          </a:solidFill>
                          <a:latin typeface="Gotham Medium" panose="02000603030000020004" pitchFamily="2" charset="0"/>
                        </a:rPr>
                        <a:t>02</a:t>
                      </a:r>
                      <a:endParaRPr lang="en-US" sz="14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marL="0" algn="ctr" defTabSz="914378" rtl="0" eaLnBrk="1" latinLnBrk="0" hangingPunct="1">
                        <a:lnSpc>
                          <a:spcPct val="100000"/>
                        </a:lnSpc>
                      </a:pPr>
                      <a:r>
                        <a:rPr lang="en-US" sz="1400" b="0" kern="1200" dirty="0">
                          <a:solidFill>
                            <a:schemeClr val="tx1"/>
                          </a:solidFill>
                          <a:latin typeface="Gotham Medium" panose="02000603030000020004" pitchFamily="2" charset="0"/>
                          <a:ea typeface="+mn-ea"/>
                          <a:cs typeface="+mn-cs"/>
                        </a:rPr>
                        <a:t>Persons with Disability</a:t>
                      </a:r>
                    </a:p>
                  </a:txBody>
                  <a:tcPr marT="45730" marB="45730" anchor="ctr">
                    <a:no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latin typeface="Gotham Medium" panose="02000603030000020004" pitchFamily="2" charset="0"/>
                          <a:ea typeface="+mn-ea"/>
                          <a:cs typeface="+mn-cs"/>
                        </a:rPr>
                        <a:t>5.0 %</a:t>
                      </a:r>
                    </a:p>
                  </a:txBody>
                  <a:tcPr marT="45730" marB="45730" anchor="ctr"/>
                </a:tc>
                <a:extLst>
                  <a:ext uri="{0D108BD9-81ED-4DB2-BD59-A6C34878D82A}">
                    <a16:rowId xmlns:a16="http://schemas.microsoft.com/office/drawing/2014/main" val="10005"/>
                  </a:ext>
                </a:extLst>
              </a:tr>
              <a:tr h="366307">
                <a:tc>
                  <a:txBody>
                    <a:bodyPr/>
                    <a:lstStyle/>
                    <a:p>
                      <a:pPr algn="ctr">
                        <a:lnSpc>
                          <a:spcPct val="100000"/>
                        </a:lnSpc>
                      </a:pPr>
                      <a:r>
                        <a:rPr lang="en-US" sz="1400" b="1" dirty="0">
                          <a:solidFill>
                            <a:schemeClr val="bg1"/>
                          </a:solidFill>
                          <a:latin typeface="Gotham Medium" panose="02000603030000020004" pitchFamily="2" charset="0"/>
                        </a:rPr>
                        <a:t>03</a:t>
                      </a:r>
                      <a:endParaRPr lang="en-US" sz="1400" b="1" dirty="0">
                        <a:solidFill>
                          <a:schemeClr val="bg1"/>
                        </a:solidFill>
                        <a:latin typeface="Gotham Medium" panose="02000603030000020004" pitchFamily="2" charset="0"/>
                        <a:cs typeface="Times New Roman" pitchFamily="18" charset="0"/>
                      </a:endParaRPr>
                    </a:p>
                  </a:txBody>
                  <a:tcPr marT="45730" marB="45730" anchor="ctr">
                    <a:solidFill>
                      <a:schemeClr val="tx1">
                        <a:lumMod val="50000"/>
                        <a:lumOff val="50000"/>
                      </a:schemeClr>
                    </a:solidFill>
                  </a:tcPr>
                </a:tc>
                <a:tc>
                  <a:txBody>
                    <a:bodyPr/>
                    <a:lstStyle/>
                    <a:p>
                      <a:pPr marL="0" algn="ctr" defTabSz="914378" rtl="0" eaLnBrk="1" latinLnBrk="0" hangingPunct="1">
                        <a:lnSpc>
                          <a:spcPct val="100000"/>
                        </a:lnSpc>
                      </a:pPr>
                      <a:r>
                        <a:rPr lang="en-US" sz="1400" b="0" kern="1200" dirty="0">
                          <a:solidFill>
                            <a:schemeClr val="tx1"/>
                          </a:solidFill>
                          <a:latin typeface="Gotham Medium" panose="02000603030000020004" pitchFamily="2" charset="0"/>
                          <a:ea typeface="+mn-ea"/>
                          <a:cs typeface="+mn-cs"/>
                        </a:rPr>
                        <a:t>Orphan</a:t>
                      </a:r>
                    </a:p>
                  </a:txBody>
                  <a:tcPr marT="45730" marB="45730" anchor="ctr">
                    <a:noFill/>
                  </a:tcPr>
                </a:tc>
                <a:tc>
                  <a:txBody>
                    <a:bodyPr/>
                    <a:lstStyle/>
                    <a:p>
                      <a:pPr marL="0" algn="ctr" defTabSz="914378" rtl="0" eaLnBrk="1" latinLnBrk="0" hangingPunct="1">
                        <a:lnSpc>
                          <a:spcPct val="100000"/>
                        </a:lnSpc>
                      </a:pPr>
                      <a:r>
                        <a:rPr lang="en-US" sz="1400" b="0" kern="1200" dirty="0">
                          <a:solidFill>
                            <a:schemeClr val="tx1"/>
                          </a:solidFill>
                          <a:latin typeface="Gotham Medium" panose="02000603030000020004" pitchFamily="2" charset="0"/>
                          <a:ea typeface="+mn-ea"/>
                          <a:cs typeface="+mn-cs"/>
                        </a:rPr>
                        <a:t>1.0 %</a:t>
                      </a:r>
                    </a:p>
                  </a:txBody>
                  <a:tcPr marT="45730" marB="45730" anchor="ctr"/>
                </a:tc>
                <a:extLst>
                  <a:ext uri="{0D108BD9-81ED-4DB2-BD59-A6C34878D82A}">
                    <a16:rowId xmlns:a16="http://schemas.microsoft.com/office/drawing/2014/main" val="10006"/>
                  </a:ext>
                </a:extLst>
              </a:tr>
              <a:tr h="366307">
                <a:tc>
                  <a:txBody>
                    <a:bodyPr/>
                    <a:lstStyle/>
                    <a:p>
                      <a:pPr algn="ctr">
                        <a:lnSpc>
                          <a:spcPct val="100000"/>
                        </a:lnSpc>
                      </a:pPr>
                      <a:r>
                        <a:rPr lang="en-US" sz="1400" b="1" dirty="0">
                          <a:solidFill>
                            <a:schemeClr val="bg1"/>
                          </a:solidFill>
                          <a:latin typeface="Gotham Medium" panose="02000603030000020004" pitchFamily="2" charset="0"/>
                          <a:cs typeface="Times New Roman" pitchFamily="18" charset="0"/>
                        </a:rPr>
                        <a:t>04</a:t>
                      </a:r>
                    </a:p>
                  </a:txBody>
                  <a:tcPr marT="45730" marB="45730" anchor="ctr">
                    <a:solidFill>
                      <a:schemeClr val="tx1">
                        <a:lumMod val="50000"/>
                        <a:lumOff val="50000"/>
                      </a:schemeClr>
                    </a:solidFill>
                  </a:tcPr>
                </a:tc>
                <a:tc>
                  <a:txBody>
                    <a:bodyPr/>
                    <a:lstStyle/>
                    <a:p>
                      <a:pPr marL="0" algn="ctr" defTabSz="914378" rtl="0" eaLnBrk="1" latinLnBrk="0" hangingPunct="1">
                        <a:lnSpc>
                          <a:spcPct val="100000"/>
                        </a:lnSpc>
                      </a:pPr>
                      <a:r>
                        <a:rPr lang="en-US" sz="1400" b="0" kern="1200" dirty="0">
                          <a:solidFill>
                            <a:schemeClr val="tx1"/>
                          </a:solidFill>
                          <a:latin typeface="Gotham Medium" panose="02000603030000020004" pitchFamily="2" charset="0"/>
                          <a:ea typeface="+mn-ea"/>
                          <a:cs typeface="+mn-cs"/>
                        </a:rPr>
                        <a:t>Female Candidates</a:t>
                      </a:r>
                    </a:p>
                  </a:txBody>
                  <a:tcPr marT="45730" marB="45730" anchor="ctr">
                    <a:noFill/>
                  </a:tcPr>
                </a:tc>
                <a:tc>
                  <a:txBody>
                    <a:bodyPr/>
                    <a:lstStyle/>
                    <a:p>
                      <a:pPr marL="0" algn="ctr" defTabSz="914378" rtl="0" eaLnBrk="1" latinLnBrk="0" hangingPunct="1">
                        <a:lnSpc>
                          <a:spcPct val="100000"/>
                        </a:lnSpc>
                      </a:pPr>
                      <a:r>
                        <a:rPr lang="en-US" sz="1400" b="0" kern="1200" dirty="0">
                          <a:solidFill>
                            <a:schemeClr val="tx1"/>
                          </a:solidFill>
                          <a:latin typeface="Gotham Medium" panose="02000603030000020004" pitchFamily="2" charset="0"/>
                          <a:ea typeface="+mn-ea"/>
                          <a:cs typeface="+mn-cs"/>
                        </a:rPr>
                        <a:t>30.0 %</a:t>
                      </a:r>
                    </a:p>
                  </a:txBody>
                  <a:tcPr marT="45730" marB="4573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674685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01" name="Picture 277" descr="Presentations background 3D model - TurboSquid 1163407">
            <a:extLst>
              <a:ext uri="{FF2B5EF4-FFF2-40B4-BE49-F238E27FC236}">
                <a16:creationId xmlns:a16="http://schemas.microsoft.com/office/drawing/2014/main" id="{8AECD6F1-C346-4E15-BDE6-9984E4E82B7F}"/>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0" y="-1"/>
            <a:ext cx="9142412" cy="51435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3EF2437-A8AC-48F3-AA40-4ED8D2B57D7F}"/>
              </a:ext>
            </a:extLst>
          </p:cNvPr>
          <p:cNvPicPr>
            <a:picLocks noChangeAspect="1"/>
          </p:cNvPicPr>
          <p:nvPr/>
        </p:nvPicPr>
        <p:blipFill rotWithShape="1">
          <a:blip r:embed="rId8"/>
          <a:srcRect l="86667" b="81138"/>
          <a:stretch/>
        </p:blipFill>
        <p:spPr>
          <a:xfrm>
            <a:off x="7924800" y="-1"/>
            <a:ext cx="1219200" cy="971551"/>
          </a:xfrm>
          <a:prstGeom prst="rect">
            <a:avLst/>
          </a:prstGeom>
        </p:spPr>
      </p:pic>
      <p:sp>
        <p:nvSpPr>
          <p:cNvPr id="15" name="Rectangle 14">
            <a:extLst>
              <a:ext uri="{FF2B5EF4-FFF2-40B4-BE49-F238E27FC236}">
                <a16:creationId xmlns:a16="http://schemas.microsoft.com/office/drawing/2014/main" id="{6BAE015D-47D1-4E48-8E90-3697142C75CA}"/>
              </a:ext>
            </a:extLst>
          </p:cNvPr>
          <p:cNvSpPr/>
          <p:nvPr/>
        </p:nvSpPr>
        <p:spPr>
          <a:xfrm>
            <a:off x="2057400" y="1872476"/>
            <a:ext cx="7086600" cy="1496146"/>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grpSp>
        <p:nvGrpSpPr>
          <p:cNvPr id="2" name="Group 1">
            <a:extLst>
              <a:ext uri="{FF2B5EF4-FFF2-40B4-BE49-F238E27FC236}">
                <a16:creationId xmlns:a16="http://schemas.microsoft.com/office/drawing/2014/main" id="{54EEDD90-704E-4878-AF8D-68076816A27C}"/>
              </a:ext>
            </a:extLst>
          </p:cNvPr>
          <p:cNvGrpSpPr/>
          <p:nvPr/>
        </p:nvGrpSpPr>
        <p:grpSpPr>
          <a:xfrm>
            <a:off x="268941" y="742950"/>
            <a:ext cx="2438400" cy="3496230"/>
            <a:chOff x="457200" y="590550"/>
            <a:chExt cx="2979057" cy="4182030"/>
          </a:xfrm>
        </p:grpSpPr>
        <p:sp>
          <p:nvSpPr>
            <p:cNvPr id="12" name="Freeform: Shape 11">
              <a:extLst>
                <a:ext uri="{FF2B5EF4-FFF2-40B4-BE49-F238E27FC236}">
                  <a16:creationId xmlns:a16="http://schemas.microsoft.com/office/drawing/2014/main" id="{07097967-BC15-498E-939C-AE11970C5D94}"/>
                </a:ext>
              </a:extLst>
            </p:cNvPr>
            <p:cNvSpPr>
              <a:spLocks/>
            </p:cNvSpPr>
            <p:nvPr/>
          </p:nvSpPr>
          <p:spPr bwMode="auto">
            <a:xfrm rot="410959" flipH="1">
              <a:off x="794188" y="1474662"/>
              <a:ext cx="2305082" cy="3297918"/>
            </a:xfrm>
            <a:custGeom>
              <a:avLst/>
              <a:gdLst>
                <a:gd name="connsiteX0" fmla="*/ 1696267 w 2854049"/>
                <a:gd name="connsiteY0" fmla="*/ 3431657 h 4135471"/>
                <a:gd name="connsiteX1" fmla="*/ 1344360 w 2854049"/>
                <a:gd name="connsiteY1" fmla="*/ 3783564 h 4135471"/>
                <a:gd name="connsiteX2" fmla="*/ 1696267 w 2854049"/>
                <a:gd name="connsiteY2" fmla="*/ 4135471 h 4135471"/>
                <a:gd name="connsiteX3" fmla="*/ 2048174 w 2854049"/>
                <a:gd name="connsiteY3" fmla="*/ 3783564 h 4135471"/>
                <a:gd name="connsiteX4" fmla="*/ 1696267 w 2854049"/>
                <a:gd name="connsiteY4" fmla="*/ 3431657 h 4135471"/>
                <a:gd name="connsiteX5" fmla="*/ 1470680 w 2854049"/>
                <a:gd name="connsiteY5" fmla="*/ 0 h 4135471"/>
                <a:gd name="connsiteX6" fmla="*/ 1360088 w 2854049"/>
                <a:gd name="connsiteY6" fmla="*/ 9020 h 4135471"/>
                <a:gd name="connsiteX7" fmla="*/ 1082638 w 2854049"/>
                <a:gd name="connsiteY7" fmla="*/ 72152 h 4135471"/>
                <a:gd name="connsiteX8" fmla="*/ 1000179 w 2854049"/>
                <a:gd name="connsiteY8" fmla="*/ 103217 h 4135471"/>
                <a:gd name="connsiteX9" fmla="*/ 918691 w 2854049"/>
                <a:gd name="connsiteY9" fmla="*/ 138291 h 4135471"/>
                <a:gd name="connsiteX10" fmla="*/ 839141 w 2854049"/>
                <a:gd name="connsiteY10" fmla="*/ 180379 h 4135471"/>
                <a:gd name="connsiteX11" fmla="*/ 765414 w 2854049"/>
                <a:gd name="connsiteY11" fmla="*/ 227479 h 4135471"/>
                <a:gd name="connsiteX12" fmla="*/ 694595 w 2854049"/>
                <a:gd name="connsiteY12" fmla="*/ 280591 h 4135471"/>
                <a:gd name="connsiteX13" fmla="*/ 629599 w 2854049"/>
                <a:gd name="connsiteY13" fmla="*/ 338714 h 4135471"/>
                <a:gd name="connsiteX14" fmla="*/ 569452 w 2854049"/>
                <a:gd name="connsiteY14" fmla="*/ 401847 h 4135471"/>
                <a:gd name="connsiteX15" fmla="*/ 515126 w 2854049"/>
                <a:gd name="connsiteY15" fmla="*/ 470992 h 4135471"/>
                <a:gd name="connsiteX16" fmla="*/ 467591 w 2854049"/>
                <a:gd name="connsiteY16" fmla="*/ 544147 h 4135471"/>
                <a:gd name="connsiteX17" fmla="*/ 426847 w 2854049"/>
                <a:gd name="connsiteY17" fmla="*/ 622311 h 4135471"/>
                <a:gd name="connsiteX18" fmla="*/ 392893 w 2854049"/>
                <a:gd name="connsiteY18" fmla="*/ 706488 h 4135471"/>
                <a:gd name="connsiteX19" fmla="*/ 338568 w 2854049"/>
                <a:gd name="connsiteY19" fmla="*/ 937976 h 4135471"/>
                <a:gd name="connsiteX20" fmla="*/ 333717 w 2854049"/>
                <a:gd name="connsiteY20" fmla="*/ 994094 h 4135471"/>
                <a:gd name="connsiteX21" fmla="*/ 331776 w 2854049"/>
                <a:gd name="connsiteY21" fmla="*/ 1047206 h 4135471"/>
                <a:gd name="connsiteX22" fmla="*/ 333717 w 2854049"/>
                <a:gd name="connsiteY22" fmla="*/ 1096308 h 4135471"/>
                <a:gd name="connsiteX23" fmla="*/ 334686 w 2854049"/>
                <a:gd name="connsiteY23" fmla="*/ 1145413 h 4135471"/>
                <a:gd name="connsiteX24" fmla="*/ 334686 w 2854049"/>
                <a:gd name="connsiteY24" fmla="*/ 1191509 h 4135471"/>
                <a:gd name="connsiteX25" fmla="*/ 329836 w 2854049"/>
                <a:gd name="connsiteY25" fmla="*/ 1234599 h 4135471"/>
                <a:gd name="connsiteX26" fmla="*/ 315284 w 2854049"/>
                <a:gd name="connsiteY26" fmla="*/ 1278693 h 4135471"/>
                <a:gd name="connsiteX27" fmla="*/ 289092 w 2854049"/>
                <a:gd name="connsiteY27" fmla="*/ 1331805 h 4135471"/>
                <a:gd name="connsiteX28" fmla="*/ 257078 w 2854049"/>
                <a:gd name="connsiteY28" fmla="*/ 1380908 h 4135471"/>
                <a:gd name="connsiteX29" fmla="*/ 222155 w 2854049"/>
                <a:gd name="connsiteY29" fmla="*/ 1423998 h 4135471"/>
                <a:gd name="connsiteX30" fmla="*/ 185291 w 2854049"/>
                <a:gd name="connsiteY30" fmla="*/ 1468092 h 4135471"/>
                <a:gd name="connsiteX31" fmla="*/ 146487 w 2854049"/>
                <a:gd name="connsiteY31" fmla="*/ 1508176 h 4135471"/>
                <a:gd name="connsiteX32" fmla="*/ 107683 w 2854049"/>
                <a:gd name="connsiteY32" fmla="*/ 1548261 h 4135471"/>
                <a:gd name="connsiteX33" fmla="*/ 70819 w 2854049"/>
                <a:gd name="connsiteY33" fmla="*/ 1592354 h 4135471"/>
                <a:gd name="connsiteX34" fmla="*/ 58206 w 2854049"/>
                <a:gd name="connsiteY34" fmla="*/ 1604378 h 4135471"/>
                <a:gd name="connsiteX35" fmla="*/ 42684 w 2854049"/>
                <a:gd name="connsiteY35" fmla="*/ 1619410 h 4135471"/>
                <a:gd name="connsiteX36" fmla="*/ 26193 w 2854049"/>
                <a:gd name="connsiteY36" fmla="*/ 1637448 h 4135471"/>
                <a:gd name="connsiteX37" fmla="*/ 12611 w 2854049"/>
                <a:gd name="connsiteY37" fmla="*/ 1655486 h 4135471"/>
                <a:gd name="connsiteX38" fmla="*/ 3882 w 2854049"/>
                <a:gd name="connsiteY38" fmla="*/ 1677533 h 4135471"/>
                <a:gd name="connsiteX39" fmla="*/ 0 w 2854049"/>
                <a:gd name="connsiteY39" fmla="*/ 1701583 h 4135471"/>
                <a:gd name="connsiteX40" fmla="*/ 4851 w 2854049"/>
                <a:gd name="connsiteY40" fmla="*/ 1726636 h 4135471"/>
                <a:gd name="connsiteX41" fmla="*/ 17462 w 2854049"/>
                <a:gd name="connsiteY41" fmla="*/ 1750687 h 4135471"/>
                <a:gd name="connsiteX42" fmla="*/ 38806 w 2854049"/>
                <a:gd name="connsiteY42" fmla="*/ 1770728 h 4135471"/>
                <a:gd name="connsiteX43" fmla="*/ 63057 w 2854049"/>
                <a:gd name="connsiteY43" fmla="*/ 1784759 h 4135471"/>
                <a:gd name="connsiteX44" fmla="*/ 93130 w 2854049"/>
                <a:gd name="connsiteY44" fmla="*/ 1797786 h 4135471"/>
                <a:gd name="connsiteX45" fmla="*/ 125143 w 2854049"/>
                <a:gd name="connsiteY45" fmla="*/ 1808809 h 4135471"/>
                <a:gd name="connsiteX46" fmla="*/ 157158 w 2854049"/>
                <a:gd name="connsiteY46" fmla="*/ 1819833 h 4135471"/>
                <a:gd name="connsiteX47" fmla="*/ 188201 w 2854049"/>
                <a:gd name="connsiteY47" fmla="*/ 1830855 h 4135471"/>
                <a:gd name="connsiteX48" fmla="*/ 218273 w 2854049"/>
                <a:gd name="connsiteY48" fmla="*/ 1843883 h 4135471"/>
                <a:gd name="connsiteX49" fmla="*/ 245437 w 2854049"/>
                <a:gd name="connsiteY49" fmla="*/ 1857912 h 4135471"/>
                <a:gd name="connsiteX50" fmla="*/ 264839 w 2854049"/>
                <a:gd name="connsiteY50" fmla="*/ 1875951 h 4135471"/>
                <a:gd name="connsiteX51" fmla="*/ 259018 w 2854049"/>
                <a:gd name="connsiteY51" fmla="*/ 1900001 h 4135471"/>
                <a:gd name="connsiteX52" fmla="*/ 248347 w 2854049"/>
                <a:gd name="connsiteY52" fmla="*/ 1922047 h 4135471"/>
                <a:gd name="connsiteX53" fmla="*/ 237676 w 2854049"/>
                <a:gd name="connsiteY53" fmla="*/ 1945097 h 4135471"/>
                <a:gd name="connsiteX54" fmla="*/ 226035 w 2854049"/>
                <a:gd name="connsiteY54" fmla="*/ 1967142 h 4135471"/>
                <a:gd name="connsiteX55" fmla="*/ 215364 w 2854049"/>
                <a:gd name="connsiteY55" fmla="*/ 1989189 h 4135471"/>
                <a:gd name="connsiteX56" fmla="*/ 207602 w 2854049"/>
                <a:gd name="connsiteY56" fmla="*/ 2011236 h 4135471"/>
                <a:gd name="connsiteX57" fmla="*/ 204693 w 2854049"/>
                <a:gd name="connsiteY57" fmla="*/ 2031277 h 4135471"/>
                <a:gd name="connsiteX58" fmla="*/ 206633 w 2854049"/>
                <a:gd name="connsiteY58" fmla="*/ 2053324 h 4135471"/>
                <a:gd name="connsiteX59" fmla="*/ 217304 w 2854049"/>
                <a:gd name="connsiteY59" fmla="*/ 2073366 h 4135471"/>
                <a:gd name="connsiteX60" fmla="*/ 236706 w 2854049"/>
                <a:gd name="connsiteY60" fmla="*/ 2093409 h 4135471"/>
                <a:gd name="connsiteX61" fmla="*/ 264839 w 2854049"/>
                <a:gd name="connsiteY61" fmla="*/ 2113450 h 4135471"/>
                <a:gd name="connsiteX62" fmla="*/ 259018 w 2854049"/>
                <a:gd name="connsiteY62" fmla="*/ 2129483 h 4135471"/>
                <a:gd name="connsiteX63" fmla="*/ 250288 w 2854049"/>
                <a:gd name="connsiteY63" fmla="*/ 2145517 h 4135471"/>
                <a:gd name="connsiteX64" fmla="*/ 243497 w 2854049"/>
                <a:gd name="connsiteY64" fmla="*/ 2164557 h 4135471"/>
                <a:gd name="connsiteX65" fmla="*/ 241557 w 2854049"/>
                <a:gd name="connsiteY65" fmla="*/ 2184601 h 4135471"/>
                <a:gd name="connsiteX66" fmla="*/ 245437 w 2854049"/>
                <a:gd name="connsiteY66" fmla="*/ 2204642 h 4135471"/>
                <a:gd name="connsiteX67" fmla="*/ 256109 w 2854049"/>
                <a:gd name="connsiteY67" fmla="*/ 2222680 h 4135471"/>
                <a:gd name="connsiteX68" fmla="*/ 269690 w 2854049"/>
                <a:gd name="connsiteY68" fmla="*/ 2236709 h 4135471"/>
                <a:gd name="connsiteX69" fmla="*/ 287151 w 2854049"/>
                <a:gd name="connsiteY69" fmla="*/ 2249737 h 4135471"/>
                <a:gd name="connsiteX70" fmla="*/ 304613 w 2854049"/>
                <a:gd name="connsiteY70" fmla="*/ 2258756 h 4135471"/>
                <a:gd name="connsiteX71" fmla="*/ 321105 w 2854049"/>
                <a:gd name="connsiteY71" fmla="*/ 2269780 h 4135471"/>
                <a:gd name="connsiteX72" fmla="*/ 336627 w 2854049"/>
                <a:gd name="connsiteY72" fmla="*/ 2284810 h 4135471"/>
                <a:gd name="connsiteX73" fmla="*/ 345358 w 2854049"/>
                <a:gd name="connsiteY73" fmla="*/ 2300845 h 4135471"/>
                <a:gd name="connsiteX74" fmla="*/ 354089 w 2854049"/>
                <a:gd name="connsiteY74" fmla="*/ 2329906 h 4135471"/>
                <a:gd name="connsiteX75" fmla="*/ 354089 w 2854049"/>
                <a:gd name="connsiteY75" fmla="*/ 2362976 h 4135471"/>
                <a:gd name="connsiteX76" fmla="*/ 351179 w 2854049"/>
                <a:gd name="connsiteY76" fmla="*/ 2394041 h 4135471"/>
                <a:gd name="connsiteX77" fmla="*/ 343417 w 2854049"/>
                <a:gd name="connsiteY77" fmla="*/ 2426108 h 4135471"/>
                <a:gd name="connsiteX78" fmla="*/ 336627 w 2854049"/>
                <a:gd name="connsiteY78" fmla="*/ 2457173 h 4135471"/>
                <a:gd name="connsiteX79" fmla="*/ 331776 w 2854049"/>
                <a:gd name="connsiteY79" fmla="*/ 2485233 h 4135471"/>
                <a:gd name="connsiteX80" fmla="*/ 327896 w 2854049"/>
                <a:gd name="connsiteY80" fmla="*/ 2525318 h 4135471"/>
                <a:gd name="connsiteX81" fmla="*/ 331776 w 2854049"/>
                <a:gd name="connsiteY81" fmla="*/ 2561393 h 4135471"/>
                <a:gd name="connsiteX82" fmla="*/ 342447 w 2854049"/>
                <a:gd name="connsiteY82" fmla="*/ 2594464 h 4135471"/>
                <a:gd name="connsiteX83" fmla="*/ 356029 w 2854049"/>
                <a:gd name="connsiteY83" fmla="*/ 2623524 h 4135471"/>
                <a:gd name="connsiteX84" fmla="*/ 375432 w 2854049"/>
                <a:gd name="connsiteY84" fmla="*/ 2646572 h 4135471"/>
                <a:gd name="connsiteX85" fmla="*/ 400654 w 2854049"/>
                <a:gd name="connsiteY85" fmla="*/ 2668619 h 4135471"/>
                <a:gd name="connsiteX86" fmla="*/ 424906 w 2854049"/>
                <a:gd name="connsiteY86" fmla="*/ 2686657 h 4135471"/>
                <a:gd name="connsiteX87" fmla="*/ 453040 w 2854049"/>
                <a:gd name="connsiteY87" fmla="*/ 2701688 h 4135471"/>
                <a:gd name="connsiteX88" fmla="*/ 481173 w 2854049"/>
                <a:gd name="connsiteY88" fmla="*/ 2714717 h 4135471"/>
                <a:gd name="connsiteX89" fmla="*/ 509306 w 2854049"/>
                <a:gd name="connsiteY89" fmla="*/ 2721731 h 4135471"/>
                <a:gd name="connsiteX90" fmla="*/ 560721 w 2854049"/>
                <a:gd name="connsiteY90" fmla="*/ 2730751 h 4135471"/>
                <a:gd name="connsiteX91" fmla="*/ 615047 w 2854049"/>
                <a:gd name="connsiteY91" fmla="*/ 2734758 h 4135471"/>
                <a:gd name="connsiteX92" fmla="*/ 672284 w 2854049"/>
                <a:gd name="connsiteY92" fmla="*/ 2732755 h 4135471"/>
                <a:gd name="connsiteX93" fmla="*/ 728550 w 2854049"/>
                <a:gd name="connsiteY93" fmla="*/ 2726742 h 4135471"/>
                <a:gd name="connsiteX94" fmla="*/ 784816 w 2854049"/>
                <a:gd name="connsiteY94" fmla="*/ 2719726 h 4135471"/>
                <a:gd name="connsiteX95" fmla="*/ 838171 w 2854049"/>
                <a:gd name="connsiteY95" fmla="*/ 2708704 h 4135471"/>
                <a:gd name="connsiteX96" fmla="*/ 885706 w 2854049"/>
                <a:gd name="connsiteY96" fmla="*/ 2695677 h 4135471"/>
                <a:gd name="connsiteX97" fmla="*/ 927421 w 2854049"/>
                <a:gd name="connsiteY97" fmla="*/ 2681646 h 4135471"/>
                <a:gd name="connsiteX98" fmla="*/ 944882 w 2854049"/>
                <a:gd name="connsiteY98" fmla="*/ 2675633 h 4135471"/>
                <a:gd name="connsiteX99" fmla="*/ 968165 w 2854049"/>
                <a:gd name="connsiteY99" fmla="*/ 2668619 h 4135471"/>
                <a:gd name="connsiteX100" fmla="*/ 993388 w 2854049"/>
                <a:gd name="connsiteY100" fmla="*/ 2661605 h 4135471"/>
                <a:gd name="connsiteX101" fmla="*/ 1019581 w 2854049"/>
                <a:gd name="connsiteY101" fmla="*/ 2654590 h 4135471"/>
                <a:gd name="connsiteX102" fmla="*/ 1047714 w 2854049"/>
                <a:gd name="connsiteY102" fmla="*/ 2650582 h 4135471"/>
                <a:gd name="connsiteX103" fmla="*/ 1075847 w 2854049"/>
                <a:gd name="connsiteY103" fmla="*/ 2648577 h 4135471"/>
                <a:gd name="connsiteX104" fmla="*/ 1100100 w 2854049"/>
                <a:gd name="connsiteY104" fmla="*/ 2652585 h 4135471"/>
                <a:gd name="connsiteX105" fmla="*/ 1121442 w 2854049"/>
                <a:gd name="connsiteY105" fmla="*/ 2661605 h 4135471"/>
                <a:gd name="connsiteX106" fmla="*/ 1140844 w 2854049"/>
                <a:gd name="connsiteY106" fmla="*/ 2679643 h 4135471"/>
                <a:gd name="connsiteX107" fmla="*/ 1158306 w 2854049"/>
                <a:gd name="connsiteY107" fmla="*/ 2708704 h 4135471"/>
                <a:gd name="connsiteX108" fmla="*/ 1174797 w 2854049"/>
                <a:gd name="connsiteY108" fmla="*/ 2745782 h 4135471"/>
                <a:gd name="connsiteX109" fmla="*/ 1190319 w 2854049"/>
                <a:gd name="connsiteY109" fmla="*/ 2788872 h 4135471"/>
                <a:gd name="connsiteX110" fmla="*/ 1202931 w 2854049"/>
                <a:gd name="connsiteY110" fmla="*/ 2837975 h 4135471"/>
                <a:gd name="connsiteX111" fmla="*/ 1215541 w 2854049"/>
                <a:gd name="connsiteY111" fmla="*/ 2889083 h 4135471"/>
                <a:gd name="connsiteX112" fmla="*/ 1226212 w 2854049"/>
                <a:gd name="connsiteY112" fmla="*/ 2942195 h 4135471"/>
                <a:gd name="connsiteX113" fmla="*/ 1235914 w 2854049"/>
                <a:gd name="connsiteY113" fmla="*/ 2996309 h 4135471"/>
                <a:gd name="connsiteX114" fmla="*/ 1245616 w 2854049"/>
                <a:gd name="connsiteY114" fmla="*/ 3049421 h 4135471"/>
                <a:gd name="connsiteX115" fmla="*/ 1252407 w 2854049"/>
                <a:gd name="connsiteY115" fmla="*/ 3098524 h 4135471"/>
                <a:gd name="connsiteX116" fmla="*/ 1261138 w 2854049"/>
                <a:gd name="connsiteY116" fmla="*/ 3144621 h 4135471"/>
                <a:gd name="connsiteX117" fmla="*/ 1267927 w 2854049"/>
                <a:gd name="connsiteY117" fmla="*/ 3182701 h 4135471"/>
                <a:gd name="connsiteX118" fmla="*/ 1273749 w 2854049"/>
                <a:gd name="connsiteY118" fmla="*/ 3215771 h 4135471"/>
                <a:gd name="connsiteX119" fmla="*/ 1405683 w 2854049"/>
                <a:gd name="connsiteY119" fmla="*/ 3238820 h 4135471"/>
                <a:gd name="connsiteX120" fmla="*/ 1539558 w 2854049"/>
                <a:gd name="connsiteY120" fmla="*/ 3251847 h 4135471"/>
                <a:gd name="connsiteX121" fmla="*/ 1677312 w 2854049"/>
                <a:gd name="connsiteY121" fmla="*/ 3253851 h 4135471"/>
                <a:gd name="connsiteX122" fmla="*/ 1817977 w 2854049"/>
                <a:gd name="connsiteY122" fmla="*/ 3246837 h 4135471"/>
                <a:gd name="connsiteX123" fmla="*/ 1963493 w 2854049"/>
                <a:gd name="connsiteY123" fmla="*/ 3226793 h 4135471"/>
                <a:gd name="connsiteX124" fmla="*/ 1998071 w 2854049"/>
                <a:gd name="connsiteY124" fmla="*/ 3220300 h 4135471"/>
                <a:gd name="connsiteX125" fmla="*/ 1972544 w 2854049"/>
                <a:gd name="connsiteY125" fmla="*/ 2990832 h 4135471"/>
                <a:gd name="connsiteX126" fmla="*/ 1866104 w 2854049"/>
                <a:gd name="connsiteY126" fmla="*/ 2529483 h 4135471"/>
                <a:gd name="connsiteX127" fmla="*/ 1085631 w 2854049"/>
                <a:gd name="connsiteY127" fmla="*/ 1773024 h 4135471"/>
                <a:gd name="connsiteX128" fmla="*/ 1277747 w 2854049"/>
                <a:gd name="connsiteY128" fmla="*/ 968535 h 4135471"/>
                <a:gd name="connsiteX129" fmla="*/ 1914134 w 2854049"/>
                <a:gd name="connsiteY129" fmla="*/ 872477 h 4135471"/>
                <a:gd name="connsiteX130" fmla="*/ 2334389 w 2854049"/>
                <a:gd name="connsiteY130" fmla="*/ 1316747 h 4135471"/>
                <a:gd name="connsiteX131" fmla="*/ 2850702 w 2854049"/>
                <a:gd name="connsiteY131" fmla="*/ 1256710 h 4135471"/>
                <a:gd name="connsiteX132" fmla="*/ 2851858 w 2854049"/>
                <a:gd name="connsiteY132" fmla="*/ 1288484 h 4135471"/>
                <a:gd name="connsiteX133" fmla="*/ 2854049 w 2854049"/>
                <a:gd name="connsiteY133" fmla="*/ 1252639 h 4135471"/>
                <a:gd name="connsiteX134" fmla="*/ 2852109 w 2854049"/>
                <a:gd name="connsiteY134" fmla="*/ 1156435 h 4135471"/>
                <a:gd name="connsiteX135" fmla="*/ 2845318 w 2854049"/>
                <a:gd name="connsiteY135" fmla="*/ 1062236 h 4135471"/>
                <a:gd name="connsiteX136" fmla="*/ 2830767 w 2854049"/>
                <a:gd name="connsiteY136" fmla="*/ 971045 h 4135471"/>
                <a:gd name="connsiteX137" fmla="*/ 2811365 w 2854049"/>
                <a:gd name="connsiteY137" fmla="*/ 881857 h 4135471"/>
                <a:gd name="connsiteX138" fmla="*/ 2787112 w 2854049"/>
                <a:gd name="connsiteY138" fmla="*/ 799684 h 4135471"/>
                <a:gd name="connsiteX139" fmla="*/ 2759950 w 2854049"/>
                <a:gd name="connsiteY139" fmla="*/ 724526 h 4135471"/>
                <a:gd name="connsiteX140" fmla="*/ 2728906 w 2854049"/>
                <a:gd name="connsiteY140" fmla="*/ 657385 h 4135471"/>
                <a:gd name="connsiteX141" fmla="*/ 2682340 w 2854049"/>
                <a:gd name="connsiteY141" fmla="*/ 577215 h 4135471"/>
                <a:gd name="connsiteX142" fmla="*/ 2631895 w 2854049"/>
                <a:gd name="connsiteY142" fmla="*/ 501055 h 4135471"/>
                <a:gd name="connsiteX143" fmla="*/ 2574659 w 2854049"/>
                <a:gd name="connsiteY143" fmla="*/ 429907 h 4135471"/>
                <a:gd name="connsiteX144" fmla="*/ 2513543 w 2854049"/>
                <a:gd name="connsiteY144" fmla="*/ 361762 h 4135471"/>
                <a:gd name="connsiteX145" fmla="*/ 2446606 w 2854049"/>
                <a:gd name="connsiteY145" fmla="*/ 300634 h 4135471"/>
                <a:gd name="connsiteX146" fmla="*/ 2371907 w 2854049"/>
                <a:gd name="connsiteY146" fmla="*/ 243513 h 4135471"/>
                <a:gd name="connsiteX147" fmla="*/ 2294299 w 2854049"/>
                <a:gd name="connsiteY147" fmla="*/ 192406 h 4135471"/>
                <a:gd name="connsiteX148" fmla="*/ 2211840 w 2854049"/>
                <a:gd name="connsiteY148" fmla="*/ 147311 h 4135471"/>
                <a:gd name="connsiteX149" fmla="*/ 2121620 w 2854049"/>
                <a:gd name="connsiteY149" fmla="*/ 109230 h 4135471"/>
                <a:gd name="connsiteX150" fmla="*/ 2028490 w 2854049"/>
                <a:gd name="connsiteY150" fmla="*/ 74157 h 4135471"/>
                <a:gd name="connsiteX151" fmla="*/ 1927599 w 2854049"/>
                <a:gd name="connsiteY151" fmla="*/ 47099 h 4135471"/>
                <a:gd name="connsiteX152" fmla="*/ 1821858 w 2854049"/>
                <a:gd name="connsiteY152" fmla="*/ 25053 h 4135471"/>
                <a:gd name="connsiteX153" fmla="*/ 1711265 w 2854049"/>
                <a:gd name="connsiteY153" fmla="*/ 10021 h 4135471"/>
                <a:gd name="connsiteX154" fmla="*/ 1594853 w 2854049"/>
                <a:gd name="connsiteY154" fmla="*/ 1002 h 413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854049" h="4135471">
                  <a:moveTo>
                    <a:pt x="1696267" y="3431657"/>
                  </a:moveTo>
                  <a:cubicBezTo>
                    <a:pt x="1501914" y="3431657"/>
                    <a:pt x="1344360" y="3589211"/>
                    <a:pt x="1344360" y="3783564"/>
                  </a:cubicBezTo>
                  <a:cubicBezTo>
                    <a:pt x="1344360" y="3977917"/>
                    <a:pt x="1501914" y="4135471"/>
                    <a:pt x="1696267" y="4135471"/>
                  </a:cubicBezTo>
                  <a:cubicBezTo>
                    <a:pt x="1890620" y="4135471"/>
                    <a:pt x="2048174" y="3977917"/>
                    <a:pt x="2048174" y="3783564"/>
                  </a:cubicBezTo>
                  <a:cubicBezTo>
                    <a:pt x="2048174" y="3589211"/>
                    <a:pt x="1890620" y="3431657"/>
                    <a:pt x="1696267" y="3431657"/>
                  </a:cubicBezTo>
                  <a:close/>
                  <a:moveTo>
                    <a:pt x="1470680" y="0"/>
                  </a:moveTo>
                  <a:lnTo>
                    <a:pt x="1360088" y="9020"/>
                  </a:lnTo>
                  <a:lnTo>
                    <a:pt x="1082638" y="72152"/>
                  </a:lnTo>
                  <a:lnTo>
                    <a:pt x="1000179" y="103217"/>
                  </a:lnTo>
                  <a:lnTo>
                    <a:pt x="918691" y="138291"/>
                  </a:lnTo>
                  <a:lnTo>
                    <a:pt x="839141" y="180379"/>
                  </a:lnTo>
                  <a:lnTo>
                    <a:pt x="765414" y="227479"/>
                  </a:lnTo>
                  <a:lnTo>
                    <a:pt x="694595" y="280591"/>
                  </a:lnTo>
                  <a:lnTo>
                    <a:pt x="629599" y="338714"/>
                  </a:lnTo>
                  <a:lnTo>
                    <a:pt x="569452" y="401847"/>
                  </a:lnTo>
                  <a:lnTo>
                    <a:pt x="515126" y="470992"/>
                  </a:lnTo>
                  <a:lnTo>
                    <a:pt x="467591" y="544147"/>
                  </a:lnTo>
                  <a:lnTo>
                    <a:pt x="426847" y="622311"/>
                  </a:lnTo>
                  <a:lnTo>
                    <a:pt x="392893" y="706488"/>
                  </a:lnTo>
                  <a:lnTo>
                    <a:pt x="338568" y="937976"/>
                  </a:lnTo>
                  <a:lnTo>
                    <a:pt x="333717" y="994094"/>
                  </a:lnTo>
                  <a:lnTo>
                    <a:pt x="331776" y="1047206"/>
                  </a:lnTo>
                  <a:lnTo>
                    <a:pt x="333717" y="1096308"/>
                  </a:lnTo>
                  <a:lnTo>
                    <a:pt x="334686" y="1145413"/>
                  </a:lnTo>
                  <a:lnTo>
                    <a:pt x="334686" y="1191509"/>
                  </a:lnTo>
                  <a:lnTo>
                    <a:pt x="329836" y="1234599"/>
                  </a:lnTo>
                  <a:lnTo>
                    <a:pt x="315284" y="1278693"/>
                  </a:lnTo>
                  <a:lnTo>
                    <a:pt x="289092" y="1331805"/>
                  </a:lnTo>
                  <a:lnTo>
                    <a:pt x="257078" y="1380908"/>
                  </a:lnTo>
                  <a:lnTo>
                    <a:pt x="222155" y="1423998"/>
                  </a:lnTo>
                  <a:lnTo>
                    <a:pt x="185291" y="1468092"/>
                  </a:lnTo>
                  <a:lnTo>
                    <a:pt x="146487" y="1508176"/>
                  </a:lnTo>
                  <a:lnTo>
                    <a:pt x="107683" y="1548261"/>
                  </a:lnTo>
                  <a:lnTo>
                    <a:pt x="70819" y="1592354"/>
                  </a:lnTo>
                  <a:lnTo>
                    <a:pt x="58206" y="1604378"/>
                  </a:lnTo>
                  <a:lnTo>
                    <a:pt x="42684" y="1619410"/>
                  </a:lnTo>
                  <a:lnTo>
                    <a:pt x="26193" y="1637448"/>
                  </a:lnTo>
                  <a:lnTo>
                    <a:pt x="12611" y="1655486"/>
                  </a:lnTo>
                  <a:lnTo>
                    <a:pt x="3882" y="1677533"/>
                  </a:lnTo>
                  <a:lnTo>
                    <a:pt x="0" y="1701583"/>
                  </a:lnTo>
                  <a:lnTo>
                    <a:pt x="4851" y="1726636"/>
                  </a:lnTo>
                  <a:lnTo>
                    <a:pt x="17462" y="1750687"/>
                  </a:lnTo>
                  <a:lnTo>
                    <a:pt x="38806" y="1770728"/>
                  </a:lnTo>
                  <a:lnTo>
                    <a:pt x="63057" y="1784759"/>
                  </a:lnTo>
                  <a:lnTo>
                    <a:pt x="93130" y="1797786"/>
                  </a:lnTo>
                  <a:lnTo>
                    <a:pt x="125143" y="1808809"/>
                  </a:lnTo>
                  <a:lnTo>
                    <a:pt x="157158" y="1819833"/>
                  </a:lnTo>
                  <a:lnTo>
                    <a:pt x="188201" y="1830855"/>
                  </a:lnTo>
                  <a:lnTo>
                    <a:pt x="218273" y="1843883"/>
                  </a:lnTo>
                  <a:lnTo>
                    <a:pt x="245437" y="1857912"/>
                  </a:lnTo>
                  <a:lnTo>
                    <a:pt x="264839" y="1875951"/>
                  </a:lnTo>
                  <a:lnTo>
                    <a:pt x="259018" y="1900001"/>
                  </a:lnTo>
                  <a:lnTo>
                    <a:pt x="248347" y="1922047"/>
                  </a:lnTo>
                  <a:lnTo>
                    <a:pt x="237676" y="1945097"/>
                  </a:lnTo>
                  <a:lnTo>
                    <a:pt x="226035" y="1967142"/>
                  </a:lnTo>
                  <a:lnTo>
                    <a:pt x="215364" y="1989189"/>
                  </a:lnTo>
                  <a:lnTo>
                    <a:pt x="207602" y="2011236"/>
                  </a:lnTo>
                  <a:lnTo>
                    <a:pt x="204693" y="2031277"/>
                  </a:lnTo>
                  <a:lnTo>
                    <a:pt x="206633" y="2053324"/>
                  </a:lnTo>
                  <a:lnTo>
                    <a:pt x="217304" y="2073366"/>
                  </a:lnTo>
                  <a:lnTo>
                    <a:pt x="236706" y="2093409"/>
                  </a:lnTo>
                  <a:lnTo>
                    <a:pt x="264839" y="2113450"/>
                  </a:lnTo>
                  <a:lnTo>
                    <a:pt x="259018" y="2129483"/>
                  </a:lnTo>
                  <a:lnTo>
                    <a:pt x="250288" y="2145517"/>
                  </a:lnTo>
                  <a:lnTo>
                    <a:pt x="243497" y="2164557"/>
                  </a:lnTo>
                  <a:lnTo>
                    <a:pt x="241557" y="2184601"/>
                  </a:lnTo>
                  <a:lnTo>
                    <a:pt x="245437" y="2204642"/>
                  </a:lnTo>
                  <a:lnTo>
                    <a:pt x="256109" y="2222680"/>
                  </a:lnTo>
                  <a:lnTo>
                    <a:pt x="269690" y="2236709"/>
                  </a:lnTo>
                  <a:lnTo>
                    <a:pt x="287151" y="2249737"/>
                  </a:lnTo>
                  <a:lnTo>
                    <a:pt x="304613" y="2258756"/>
                  </a:lnTo>
                  <a:lnTo>
                    <a:pt x="321105" y="2269780"/>
                  </a:lnTo>
                  <a:lnTo>
                    <a:pt x="336627" y="2284810"/>
                  </a:lnTo>
                  <a:lnTo>
                    <a:pt x="345358" y="2300845"/>
                  </a:lnTo>
                  <a:lnTo>
                    <a:pt x="354089" y="2329906"/>
                  </a:lnTo>
                  <a:lnTo>
                    <a:pt x="354089" y="2362976"/>
                  </a:lnTo>
                  <a:lnTo>
                    <a:pt x="351179" y="2394041"/>
                  </a:lnTo>
                  <a:lnTo>
                    <a:pt x="343417" y="2426108"/>
                  </a:lnTo>
                  <a:lnTo>
                    <a:pt x="336627" y="2457173"/>
                  </a:lnTo>
                  <a:lnTo>
                    <a:pt x="331776" y="2485233"/>
                  </a:lnTo>
                  <a:lnTo>
                    <a:pt x="327896" y="2525318"/>
                  </a:lnTo>
                  <a:lnTo>
                    <a:pt x="331776" y="2561393"/>
                  </a:lnTo>
                  <a:lnTo>
                    <a:pt x="342447" y="2594464"/>
                  </a:lnTo>
                  <a:lnTo>
                    <a:pt x="356029" y="2623524"/>
                  </a:lnTo>
                  <a:lnTo>
                    <a:pt x="375432" y="2646572"/>
                  </a:lnTo>
                  <a:lnTo>
                    <a:pt x="400654" y="2668619"/>
                  </a:lnTo>
                  <a:lnTo>
                    <a:pt x="424906" y="2686657"/>
                  </a:lnTo>
                  <a:lnTo>
                    <a:pt x="453040" y="2701688"/>
                  </a:lnTo>
                  <a:lnTo>
                    <a:pt x="481173" y="2714717"/>
                  </a:lnTo>
                  <a:lnTo>
                    <a:pt x="509306" y="2721731"/>
                  </a:lnTo>
                  <a:lnTo>
                    <a:pt x="560721" y="2730751"/>
                  </a:lnTo>
                  <a:lnTo>
                    <a:pt x="615047" y="2734758"/>
                  </a:lnTo>
                  <a:lnTo>
                    <a:pt x="672284" y="2732755"/>
                  </a:lnTo>
                  <a:lnTo>
                    <a:pt x="728550" y="2726742"/>
                  </a:lnTo>
                  <a:lnTo>
                    <a:pt x="784816" y="2719726"/>
                  </a:lnTo>
                  <a:lnTo>
                    <a:pt x="838171" y="2708704"/>
                  </a:lnTo>
                  <a:lnTo>
                    <a:pt x="885706" y="2695677"/>
                  </a:lnTo>
                  <a:lnTo>
                    <a:pt x="927421" y="2681646"/>
                  </a:lnTo>
                  <a:lnTo>
                    <a:pt x="944882" y="2675633"/>
                  </a:lnTo>
                  <a:lnTo>
                    <a:pt x="968165" y="2668619"/>
                  </a:lnTo>
                  <a:lnTo>
                    <a:pt x="993388" y="2661605"/>
                  </a:lnTo>
                  <a:lnTo>
                    <a:pt x="1019581" y="2654590"/>
                  </a:lnTo>
                  <a:lnTo>
                    <a:pt x="1047714" y="2650582"/>
                  </a:lnTo>
                  <a:lnTo>
                    <a:pt x="1075847" y="2648577"/>
                  </a:lnTo>
                  <a:lnTo>
                    <a:pt x="1100100" y="2652585"/>
                  </a:lnTo>
                  <a:lnTo>
                    <a:pt x="1121442" y="2661605"/>
                  </a:lnTo>
                  <a:lnTo>
                    <a:pt x="1140844" y="2679643"/>
                  </a:lnTo>
                  <a:lnTo>
                    <a:pt x="1158306" y="2708704"/>
                  </a:lnTo>
                  <a:lnTo>
                    <a:pt x="1174797" y="2745782"/>
                  </a:lnTo>
                  <a:lnTo>
                    <a:pt x="1190319" y="2788872"/>
                  </a:lnTo>
                  <a:lnTo>
                    <a:pt x="1202931" y="2837975"/>
                  </a:lnTo>
                  <a:lnTo>
                    <a:pt x="1215541" y="2889083"/>
                  </a:lnTo>
                  <a:lnTo>
                    <a:pt x="1226212" y="2942195"/>
                  </a:lnTo>
                  <a:lnTo>
                    <a:pt x="1235914" y="2996309"/>
                  </a:lnTo>
                  <a:lnTo>
                    <a:pt x="1245616" y="3049421"/>
                  </a:lnTo>
                  <a:lnTo>
                    <a:pt x="1252407" y="3098524"/>
                  </a:lnTo>
                  <a:lnTo>
                    <a:pt x="1261138" y="3144621"/>
                  </a:lnTo>
                  <a:lnTo>
                    <a:pt x="1267927" y="3182701"/>
                  </a:lnTo>
                  <a:lnTo>
                    <a:pt x="1273749" y="3215771"/>
                  </a:lnTo>
                  <a:lnTo>
                    <a:pt x="1405683" y="3238820"/>
                  </a:lnTo>
                  <a:lnTo>
                    <a:pt x="1539558" y="3251847"/>
                  </a:lnTo>
                  <a:lnTo>
                    <a:pt x="1677312" y="3253851"/>
                  </a:lnTo>
                  <a:lnTo>
                    <a:pt x="1817977" y="3246837"/>
                  </a:lnTo>
                  <a:lnTo>
                    <a:pt x="1963493" y="3226793"/>
                  </a:lnTo>
                  <a:lnTo>
                    <a:pt x="1998071" y="3220300"/>
                  </a:lnTo>
                  <a:lnTo>
                    <a:pt x="1972544" y="2990832"/>
                  </a:lnTo>
                  <a:cubicBezTo>
                    <a:pt x="1951990" y="2824419"/>
                    <a:pt x="1923973" y="2664322"/>
                    <a:pt x="1866104" y="2529483"/>
                  </a:cubicBezTo>
                  <a:cubicBezTo>
                    <a:pt x="1798827" y="2378364"/>
                    <a:pt x="1318234" y="2057324"/>
                    <a:pt x="1085631" y="1773024"/>
                  </a:cubicBezTo>
                  <a:cubicBezTo>
                    <a:pt x="1039452" y="1683967"/>
                    <a:pt x="924385" y="1218329"/>
                    <a:pt x="1277747" y="968535"/>
                  </a:cubicBezTo>
                  <a:cubicBezTo>
                    <a:pt x="1430175" y="835482"/>
                    <a:pt x="1702005" y="831017"/>
                    <a:pt x="1914134" y="872477"/>
                  </a:cubicBezTo>
                  <a:cubicBezTo>
                    <a:pt x="2031257" y="905756"/>
                    <a:pt x="2240228" y="1053847"/>
                    <a:pt x="2334389" y="1316747"/>
                  </a:cubicBezTo>
                  <a:lnTo>
                    <a:pt x="2850702" y="1256710"/>
                  </a:lnTo>
                  <a:lnTo>
                    <a:pt x="2851858" y="1288484"/>
                  </a:lnTo>
                  <a:lnTo>
                    <a:pt x="2854049" y="1252639"/>
                  </a:lnTo>
                  <a:lnTo>
                    <a:pt x="2852109" y="1156435"/>
                  </a:lnTo>
                  <a:lnTo>
                    <a:pt x="2845318" y="1062236"/>
                  </a:lnTo>
                  <a:lnTo>
                    <a:pt x="2830767" y="971045"/>
                  </a:lnTo>
                  <a:lnTo>
                    <a:pt x="2811365" y="881857"/>
                  </a:lnTo>
                  <a:lnTo>
                    <a:pt x="2787112" y="799684"/>
                  </a:lnTo>
                  <a:lnTo>
                    <a:pt x="2759950" y="724526"/>
                  </a:lnTo>
                  <a:lnTo>
                    <a:pt x="2728906" y="657385"/>
                  </a:lnTo>
                  <a:lnTo>
                    <a:pt x="2682340" y="577215"/>
                  </a:lnTo>
                  <a:lnTo>
                    <a:pt x="2631895" y="501055"/>
                  </a:lnTo>
                  <a:lnTo>
                    <a:pt x="2574659" y="429907"/>
                  </a:lnTo>
                  <a:lnTo>
                    <a:pt x="2513543" y="361762"/>
                  </a:lnTo>
                  <a:lnTo>
                    <a:pt x="2446606" y="300634"/>
                  </a:lnTo>
                  <a:lnTo>
                    <a:pt x="2371907" y="243513"/>
                  </a:lnTo>
                  <a:lnTo>
                    <a:pt x="2294299" y="192406"/>
                  </a:lnTo>
                  <a:lnTo>
                    <a:pt x="2211840" y="147311"/>
                  </a:lnTo>
                  <a:lnTo>
                    <a:pt x="2121620" y="109230"/>
                  </a:lnTo>
                  <a:lnTo>
                    <a:pt x="2028490" y="74157"/>
                  </a:lnTo>
                  <a:lnTo>
                    <a:pt x="1927599" y="47099"/>
                  </a:lnTo>
                  <a:lnTo>
                    <a:pt x="1821858" y="25053"/>
                  </a:lnTo>
                  <a:lnTo>
                    <a:pt x="1711265" y="10021"/>
                  </a:lnTo>
                  <a:lnTo>
                    <a:pt x="1594853" y="1002"/>
                  </a:lnTo>
                  <a:close/>
                </a:path>
              </a:pathLst>
            </a:custGeom>
            <a:solidFill>
              <a:schemeClr val="tx1">
                <a:lumMod val="75000"/>
                <a:lumOff val="25000"/>
              </a:schemeClr>
            </a:solidFill>
            <a:ln>
              <a:solidFill>
                <a:srgbClr val="163F74"/>
              </a:solid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anchor="t" anchorCtr="0" compatLnSpc="1">
              <a:prstTxWarp prst="textNoShape">
                <a:avLst/>
              </a:prstTxWarp>
              <a:noAutofit/>
            </a:bodyPr>
            <a:lstStyle/>
            <a:p>
              <a:endParaRPr lang="ko-KR" altLang="en-US" sz="2026" dirty="0"/>
            </a:p>
          </p:txBody>
        </p:sp>
        <p:sp>
          <p:nvSpPr>
            <p:cNvPr id="16" name="Freeform: Shape 15">
              <a:extLst>
                <a:ext uri="{FF2B5EF4-FFF2-40B4-BE49-F238E27FC236}">
                  <a16:creationId xmlns:a16="http://schemas.microsoft.com/office/drawing/2014/main" id="{68C7E696-0B18-41D8-BADC-63197E0C7B5D}"/>
                </a:ext>
              </a:extLst>
            </p:cNvPr>
            <p:cNvSpPr/>
            <p:nvPr/>
          </p:nvSpPr>
          <p:spPr>
            <a:xfrm flipH="1">
              <a:off x="457200" y="590550"/>
              <a:ext cx="2979057" cy="1921717"/>
            </a:xfrm>
            <a:custGeom>
              <a:avLst/>
              <a:gdLst>
                <a:gd name="connsiteX0" fmla="*/ 1547519 w 3095038"/>
                <a:gd name="connsiteY0" fmla="*/ 0 h 2022026"/>
                <a:gd name="connsiteX1" fmla="*/ 3095038 w 3095038"/>
                <a:gd name="connsiteY1" fmla="*/ 627509 h 2022026"/>
                <a:gd name="connsiteX2" fmla="*/ 2825277 w 3095038"/>
                <a:gd name="connsiteY2" fmla="*/ 736897 h 2022026"/>
                <a:gd name="connsiteX3" fmla="*/ 2825277 w 3095038"/>
                <a:gd name="connsiteY3" fmla="*/ 1583608 h 2022026"/>
                <a:gd name="connsiteX4" fmla="*/ 2829142 w 3095038"/>
                <a:gd name="connsiteY4" fmla="*/ 1585209 h 2022026"/>
                <a:gd name="connsiteX5" fmla="*/ 2841509 w 3095038"/>
                <a:gd name="connsiteY5" fmla="*/ 1615067 h 2022026"/>
                <a:gd name="connsiteX6" fmla="*/ 2829142 w 3095038"/>
                <a:gd name="connsiteY6" fmla="*/ 1644926 h 2022026"/>
                <a:gd name="connsiteX7" fmla="*/ 2826092 w 3095038"/>
                <a:gd name="connsiteY7" fmla="*/ 1646189 h 2022026"/>
                <a:gd name="connsiteX8" fmla="*/ 2876626 w 3095038"/>
                <a:gd name="connsiteY8" fmla="*/ 2022026 h 2022026"/>
                <a:gd name="connsiteX9" fmla="*/ 2721940 w 3095038"/>
                <a:gd name="connsiteY9" fmla="*/ 2022026 h 2022026"/>
                <a:gd name="connsiteX10" fmla="*/ 2772475 w 3095038"/>
                <a:gd name="connsiteY10" fmla="*/ 1646189 h 2022026"/>
                <a:gd name="connsiteX11" fmla="*/ 2769425 w 3095038"/>
                <a:gd name="connsiteY11" fmla="*/ 1644926 h 2022026"/>
                <a:gd name="connsiteX12" fmla="*/ 2757057 w 3095038"/>
                <a:gd name="connsiteY12" fmla="*/ 1615067 h 2022026"/>
                <a:gd name="connsiteX13" fmla="*/ 2769425 w 3095038"/>
                <a:gd name="connsiteY13" fmla="*/ 1585209 h 2022026"/>
                <a:gd name="connsiteX14" fmla="*/ 2773289 w 3095038"/>
                <a:gd name="connsiteY14" fmla="*/ 1583608 h 2022026"/>
                <a:gd name="connsiteX15" fmla="*/ 2773289 w 3095038"/>
                <a:gd name="connsiteY15" fmla="*/ 757978 h 2022026"/>
                <a:gd name="connsiteX16" fmla="*/ 2747752 w 3095038"/>
                <a:gd name="connsiteY16" fmla="*/ 768333 h 2022026"/>
                <a:gd name="connsiteX17" fmla="*/ 2473970 w 3095038"/>
                <a:gd name="connsiteY17" fmla="*/ 981499 h 2022026"/>
                <a:gd name="connsiteX18" fmla="*/ 2473970 w 3095038"/>
                <a:gd name="connsiteY18" fmla="*/ 1333096 h 2022026"/>
                <a:gd name="connsiteX19" fmla="*/ 1442377 w 3095038"/>
                <a:gd name="connsiteY19" fmla="*/ 1553521 h 2022026"/>
                <a:gd name="connsiteX20" fmla="*/ 628675 w 3095038"/>
                <a:gd name="connsiteY20" fmla="*/ 1422110 h 2022026"/>
                <a:gd name="connsiteX21" fmla="*/ 635755 w 3095038"/>
                <a:gd name="connsiteY21" fmla="*/ 1406334 h 2022026"/>
                <a:gd name="connsiteX22" fmla="*/ 621068 w 3095038"/>
                <a:gd name="connsiteY22" fmla="*/ 1402746 h 2022026"/>
                <a:gd name="connsiteX23" fmla="*/ 621068 w 3095038"/>
                <a:gd name="connsiteY23" fmla="*/ 981499 h 2022026"/>
                <a:gd name="connsiteX24" fmla="*/ 0 w 3095038"/>
                <a:gd name="connsiteY24" fmla="*/ 627509 h 202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95038" h="2022026">
                  <a:moveTo>
                    <a:pt x="1547519" y="0"/>
                  </a:moveTo>
                  <a:lnTo>
                    <a:pt x="3095038" y="627509"/>
                  </a:lnTo>
                  <a:lnTo>
                    <a:pt x="2825277" y="736897"/>
                  </a:lnTo>
                  <a:lnTo>
                    <a:pt x="2825277" y="1583608"/>
                  </a:lnTo>
                  <a:lnTo>
                    <a:pt x="2829142" y="1585209"/>
                  </a:lnTo>
                  <a:cubicBezTo>
                    <a:pt x="2836783" y="1592850"/>
                    <a:pt x="2841509" y="1603406"/>
                    <a:pt x="2841509" y="1615067"/>
                  </a:cubicBezTo>
                  <a:cubicBezTo>
                    <a:pt x="2841509" y="1626728"/>
                    <a:pt x="2836783" y="1637284"/>
                    <a:pt x="2829142" y="1644926"/>
                  </a:cubicBezTo>
                  <a:lnTo>
                    <a:pt x="2826092" y="1646189"/>
                  </a:lnTo>
                  <a:lnTo>
                    <a:pt x="2876626" y="2022026"/>
                  </a:lnTo>
                  <a:lnTo>
                    <a:pt x="2721940" y="2022026"/>
                  </a:lnTo>
                  <a:lnTo>
                    <a:pt x="2772475" y="1646189"/>
                  </a:lnTo>
                  <a:lnTo>
                    <a:pt x="2769425" y="1644926"/>
                  </a:lnTo>
                  <a:cubicBezTo>
                    <a:pt x="2761784" y="1637284"/>
                    <a:pt x="2757057" y="1626728"/>
                    <a:pt x="2757057" y="1615067"/>
                  </a:cubicBezTo>
                  <a:cubicBezTo>
                    <a:pt x="2757057" y="1603406"/>
                    <a:pt x="2761784" y="1592850"/>
                    <a:pt x="2769425" y="1585209"/>
                  </a:cubicBezTo>
                  <a:lnTo>
                    <a:pt x="2773289" y="1583608"/>
                  </a:lnTo>
                  <a:lnTo>
                    <a:pt x="2773289" y="757978"/>
                  </a:lnTo>
                  <a:lnTo>
                    <a:pt x="2747752" y="768333"/>
                  </a:lnTo>
                  <a:lnTo>
                    <a:pt x="2473970" y="981499"/>
                  </a:lnTo>
                  <a:lnTo>
                    <a:pt x="2473970" y="1333096"/>
                  </a:lnTo>
                  <a:cubicBezTo>
                    <a:pt x="2176456" y="1474039"/>
                    <a:pt x="1822001" y="1553521"/>
                    <a:pt x="1442377" y="1553521"/>
                  </a:cubicBezTo>
                  <a:cubicBezTo>
                    <a:pt x="1151810" y="1553521"/>
                    <a:pt x="875988" y="1506956"/>
                    <a:pt x="628675" y="1422110"/>
                  </a:cubicBezTo>
                  <a:cubicBezTo>
                    <a:pt x="630298" y="1416654"/>
                    <a:pt x="632987" y="1411486"/>
                    <a:pt x="635755" y="1406334"/>
                  </a:cubicBezTo>
                  <a:cubicBezTo>
                    <a:pt x="631035" y="1404608"/>
                    <a:pt x="626049" y="1403669"/>
                    <a:pt x="621068" y="1402746"/>
                  </a:cubicBezTo>
                  <a:lnTo>
                    <a:pt x="621068" y="981499"/>
                  </a:lnTo>
                  <a:lnTo>
                    <a:pt x="0" y="62750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sz="2026" dirty="0"/>
            </a:p>
          </p:txBody>
        </p:sp>
      </p:grpSp>
      <p:graphicFrame>
        <p:nvGraphicFramePr>
          <p:cNvPr id="5" name="Object 4" hidden="1">
            <a:extLst>
              <a:ext uri="{FF2B5EF4-FFF2-40B4-BE49-F238E27FC236}">
                <a16:creationId xmlns:a16="http://schemas.microsoft.com/office/drawing/2014/main" id="{A9E43DCD-F115-4EC7-90AE-5F5E6C473889}"/>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03" name="think-cell Slide" r:id="rId9" imgW="383" imgH="384" progId="TCLayout.ActiveDocument.1">
                  <p:embed/>
                </p:oleObj>
              </mc:Choice>
              <mc:Fallback>
                <p:oleObj name="think-cell Slide" r:id="rId9" imgW="383" imgH="384" progId="TCLayout.ActiveDocument.1">
                  <p:embed/>
                  <p:pic>
                    <p:nvPicPr>
                      <p:cNvPr id="5" name="Object 4" hidden="1">
                        <a:extLst>
                          <a:ext uri="{FF2B5EF4-FFF2-40B4-BE49-F238E27FC236}">
                            <a16:creationId xmlns:a16="http://schemas.microsoft.com/office/drawing/2014/main" id="{A9E43DCD-F115-4EC7-90AE-5F5E6C473889}"/>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140B3F-4BDA-4FDA-A9EE-3C673CDF2373}"/>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b="1" dirty="0">
              <a:latin typeface="Segoe UI" panose="020B0502040204020203" pitchFamily="34" charset="0"/>
              <a:ea typeface="+mj-ea"/>
              <a:cs typeface="Segoe UI" panose="020B0502040204020203" pitchFamily="34" charset="0"/>
              <a:sym typeface="Segoe UI" panose="020B0502040204020203" pitchFamily="34" charset="0"/>
            </a:endParaRPr>
          </a:p>
        </p:txBody>
      </p:sp>
      <p:cxnSp>
        <p:nvCxnSpPr>
          <p:cNvPr id="8" name="Straight Connector 7">
            <a:extLst>
              <a:ext uri="{FF2B5EF4-FFF2-40B4-BE49-F238E27FC236}">
                <a16:creationId xmlns:a16="http://schemas.microsoft.com/office/drawing/2014/main" id="{FDDCB1DF-AB7E-4220-9C07-5A95CD99AED5}"/>
              </a:ext>
            </a:extLst>
          </p:cNvPr>
          <p:cNvCxnSpPr>
            <a:cxnSpLocks/>
          </p:cNvCxnSpPr>
          <p:nvPr/>
        </p:nvCxnSpPr>
        <p:spPr>
          <a:xfrm flipH="1">
            <a:off x="264252" y="4162255"/>
            <a:ext cx="712513" cy="9885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544301-48A2-4C9C-9CBF-01A720F732C0}"/>
              </a:ext>
            </a:extLst>
          </p:cNvPr>
          <p:cNvCxnSpPr>
            <a:cxnSpLocks/>
          </p:cNvCxnSpPr>
          <p:nvPr/>
        </p:nvCxnSpPr>
        <p:spPr>
          <a:xfrm flipH="1">
            <a:off x="725918" y="1"/>
            <a:ext cx="501694" cy="69604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E0D0D9FA-3DBB-4185-910C-1F200143EFAC}"/>
              </a:ext>
            </a:extLst>
          </p:cNvPr>
          <p:cNvSpPr>
            <a:spLocks noGrp="1"/>
          </p:cNvSpPr>
          <p:nvPr>
            <p:ph type="title"/>
          </p:nvPr>
        </p:nvSpPr>
        <p:spPr>
          <a:xfrm>
            <a:off x="2687412" y="2020384"/>
            <a:ext cx="6284259" cy="1200329"/>
          </a:xfrm>
        </p:spPr>
        <p:txBody>
          <a:bodyPr vert="horz" wrap="square" lIns="91440" tIns="45720" rIns="91440" bIns="45720" rtlCol="0" anchor="t">
            <a:spAutoFit/>
          </a:bodyPr>
          <a:lstStyle/>
          <a:p>
            <a:pPr marL="11545" algn="l">
              <a:spcBef>
                <a:spcPts val="72"/>
              </a:spcBef>
            </a:pPr>
            <a:r>
              <a:rPr lang="en-US" sz="3600"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rPr>
              <a:t>Misconceptions / </a:t>
            </a:r>
            <a:br>
              <a:rPr lang="en-US" sz="3600"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rPr>
            </a:br>
            <a:r>
              <a:rPr lang="en-US" sz="3600"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rPr>
              <a:t>Myths about Engineering</a:t>
            </a:r>
          </a:p>
        </p:txBody>
      </p:sp>
      <p:sp>
        <p:nvSpPr>
          <p:cNvPr id="17" name="Rectangle 16">
            <a:extLst>
              <a:ext uri="{FF2B5EF4-FFF2-40B4-BE49-F238E27FC236}">
                <a16:creationId xmlns:a16="http://schemas.microsoft.com/office/drawing/2014/main" id="{E481DB9C-92EC-43E7-B4B1-F15D6B9CE47D}"/>
              </a:ext>
            </a:extLst>
          </p:cNvPr>
          <p:cNvSpPr/>
          <p:nvPr/>
        </p:nvSpPr>
        <p:spPr>
          <a:xfrm>
            <a:off x="2707341" y="3430160"/>
            <a:ext cx="6436659" cy="48896"/>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Tree>
    <p:extLst>
      <p:ext uri="{BB962C8B-B14F-4D97-AF65-F5344CB8AC3E}">
        <p14:creationId xmlns:p14="http://schemas.microsoft.com/office/powerpoint/2010/main" val="179605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77" descr="Presentations background 3D model - TurboSquid 1163407">
            <a:extLst>
              <a:ext uri="{FF2B5EF4-FFF2-40B4-BE49-F238E27FC236}">
                <a16:creationId xmlns:a16="http://schemas.microsoft.com/office/drawing/2014/main" id="{097B64A9-D866-4908-AA89-E6697B0657AA}"/>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0" y="-1"/>
            <a:ext cx="9142412" cy="51435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6BAE015D-47D1-4E48-8E90-3697142C75CA}"/>
              </a:ext>
            </a:extLst>
          </p:cNvPr>
          <p:cNvSpPr/>
          <p:nvPr/>
        </p:nvSpPr>
        <p:spPr>
          <a:xfrm>
            <a:off x="2057400" y="1872476"/>
            <a:ext cx="7086600" cy="1496146"/>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grpSp>
        <p:nvGrpSpPr>
          <p:cNvPr id="2" name="Group 1">
            <a:extLst>
              <a:ext uri="{FF2B5EF4-FFF2-40B4-BE49-F238E27FC236}">
                <a16:creationId xmlns:a16="http://schemas.microsoft.com/office/drawing/2014/main" id="{54EEDD90-704E-4878-AF8D-68076816A27C}"/>
              </a:ext>
            </a:extLst>
          </p:cNvPr>
          <p:cNvGrpSpPr/>
          <p:nvPr/>
        </p:nvGrpSpPr>
        <p:grpSpPr>
          <a:xfrm>
            <a:off x="268941" y="742950"/>
            <a:ext cx="2438400" cy="3496230"/>
            <a:chOff x="457200" y="590550"/>
            <a:chExt cx="2979057" cy="4182030"/>
          </a:xfrm>
        </p:grpSpPr>
        <p:sp>
          <p:nvSpPr>
            <p:cNvPr id="12" name="Freeform: Shape 11">
              <a:extLst>
                <a:ext uri="{FF2B5EF4-FFF2-40B4-BE49-F238E27FC236}">
                  <a16:creationId xmlns:a16="http://schemas.microsoft.com/office/drawing/2014/main" id="{07097967-BC15-498E-939C-AE11970C5D94}"/>
                </a:ext>
              </a:extLst>
            </p:cNvPr>
            <p:cNvSpPr>
              <a:spLocks/>
            </p:cNvSpPr>
            <p:nvPr/>
          </p:nvSpPr>
          <p:spPr bwMode="auto">
            <a:xfrm rot="410959" flipH="1">
              <a:off x="794188" y="1474662"/>
              <a:ext cx="2305082" cy="3297918"/>
            </a:xfrm>
            <a:custGeom>
              <a:avLst/>
              <a:gdLst>
                <a:gd name="connsiteX0" fmla="*/ 1696267 w 2854049"/>
                <a:gd name="connsiteY0" fmla="*/ 3431657 h 4135471"/>
                <a:gd name="connsiteX1" fmla="*/ 1344360 w 2854049"/>
                <a:gd name="connsiteY1" fmla="*/ 3783564 h 4135471"/>
                <a:gd name="connsiteX2" fmla="*/ 1696267 w 2854049"/>
                <a:gd name="connsiteY2" fmla="*/ 4135471 h 4135471"/>
                <a:gd name="connsiteX3" fmla="*/ 2048174 w 2854049"/>
                <a:gd name="connsiteY3" fmla="*/ 3783564 h 4135471"/>
                <a:gd name="connsiteX4" fmla="*/ 1696267 w 2854049"/>
                <a:gd name="connsiteY4" fmla="*/ 3431657 h 4135471"/>
                <a:gd name="connsiteX5" fmla="*/ 1470680 w 2854049"/>
                <a:gd name="connsiteY5" fmla="*/ 0 h 4135471"/>
                <a:gd name="connsiteX6" fmla="*/ 1360088 w 2854049"/>
                <a:gd name="connsiteY6" fmla="*/ 9020 h 4135471"/>
                <a:gd name="connsiteX7" fmla="*/ 1082638 w 2854049"/>
                <a:gd name="connsiteY7" fmla="*/ 72152 h 4135471"/>
                <a:gd name="connsiteX8" fmla="*/ 1000179 w 2854049"/>
                <a:gd name="connsiteY8" fmla="*/ 103217 h 4135471"/>
                <a:gd name="connsiteX9" fmla="*/ 918691 w 2854049"/>
                <a:gd name="connsiteY9" fmla="*/ 138291 h 4135471"/>
                <a:gd name="connsiteX10" fmla="*/ 839141 w 2854049"/>
                <a:gd name="connsiteY10" fmla="*/ 180379 h 4135471"/>
                <a:gd name="connsiteX11" fmla="*/ 765414 w 2854049"/>
                <a:gd name="connsiteY11" fmla="*/ 227479 h 4135471"/>
                <a:gd name="connsiteX12" fmla="*/ 694595 w 2854049"/>
                <a:gd name="connsiteY12" fmla="*/ 280591 h 4135471"/>
                <a:gd name="connsiteX13" fmla="*/ 629599 w 2854049"/>
                <a:gd name="connsiteY13" fmla="*/ 338714 h 4135471"/>
                <a:gd name="connsiteX14" fmla="*/ 569452 w 2854049"/>
                <a:gd name="connsiteY14" fmla="*/ 401847 h 4135471"/>
                <a:gd name="connsiteX15" fmla="*/ 515126 w 2854049"/>
                <a:gd name="connsiteY15" fmla="*/ 470992 h 4135471"/>
                <a:gd name="connsiteX16" fmla="*/ 467591 w 2854049"/>
                <a:gd name="connsiteY16" fmla="*/ 544147 h 4135471"/>
                <a:gd name="connsiteX17" fmla="*/ 426847 w 2854049"/>
                <a:gd name="connsiteY17" fmla="*/ 622311 h 4135471"/>
                <a:gd name="connsiteX18" fmla="*/ 392893 w 2854049"/>
                <a:gd name="connsiteY18" fmla="*/ 706488 h 4135471"/>
                <a:gd name="connsiteX19" fmla="*/ 338568 w 2854049"/>
                <a:gd name="connsiteY19" fmla="*/ 937976 h 4135471"/>
                <a:gd name="connsiteX20" fmla="*/ 333717 w 2854049"/>
                <a:gd name="connsiteY20" fmla="*/ 994094 h 4135471"/>
                <a:gd name="connsiteX21" fmla="*/ 331776 w 2854049"/>
                <a:gd name="connsiteY21" fmla="*/ 1047206 h 4135471"/>
                <a:gd name="connsiteX22" fmla="*/ 333717 w 2854049"/>
                <a:gd name="connsiteY22" fmla="*/ 1096308 h 4135471"/>
                <a:gd name="connsiteX23" fmla="*/ 334686 w 2854049"/>
                <a:gd name="connsiteY23" fmla="*/ 1145413 h 4135471"/>
                <a:gd name="connsiteX24" fmla="*/ 334686 w 2854049"/>
                <a:gd name="connsiteY24" fmla="*/ 1191509 h 4135471"/>
                <a:gd name="connsiteX25" fmla="*/ 329836 w 2854049"/>
                <a:gd name="connsiteY25" fmla="*/ 1234599 h 4135471"/>
                <a:gd name="connsiteX26" fmla="*/ 315284 w 2854049"/>
                <a:gd name="connsiteY26" fmla="*/ 1278693 h 4135471"/>
                <a:gd name="connsiteX27" fmla="*/ 289092 w 2854049"/>
                <a:gd name="connsiteY27" fmla="*/ 1331805 h 4135471"/>
                <a:gd name="connsiteX28" fmla="*/ 257078 w 2854049"/>
                <a:gd name="connsiteY28" fmla="*/ 1380908 h 4135471"/>
                <a:gd name="connsiteX29" fmla="*/ 222155 w 2854049"/>
                <a:gd name="connsiteY29" fmla="*/ 1423998 h 4135471"/>
                <a:gd name="connsiteX30" fmla="*/ 185291 w 2854049"/>
                <a:gd name="connsiteY30" fmla="*/ 1468092 h 4135471"/>
                <a:gd name="connsiteX31" fmla="*/ 146487 w 2854049"/>
                <a:gd name="connsiteY31" fmla="*/ 1508176 h 4135471"/>
                <a:gd name="connsiteX32" fmla="*/ 107683 w 2854049"/>
                <a:gd name="connsiteY32" fmla="*/ 1548261 h 4135471"/>
                <a:gd name="connsiteX33" fmla="*/ 70819 w 2854049"/>
                <a:gd name="connsiteY33" fmla="*/ 1592354 h 4135471"/>
                <a:gd name="connsiteX34" fmla="*/ 58206 w 2854049"/>
                <a:gd name="connsiteY34" fmla="*/ 1604378 h 4135471"/>
                <a:gd name="connsiteX35" fmla="*/ 42684 w 2854049"/>
                <a:gd name="connsiteY35" fmla="*/ 1619410 h 4135471"/>
                <a:gd name="connsiteX36" fmla="*/ 26193 w 2854049"/>
                <a:gd name="connsiteY36" fmla="*/ 1637448 h 4135471"/>
                <a:gd name="connsiteX37" fmla="*/ 12611 w 2854049"/>
                <a:gd name="connsiteY37" fmla="*/ 1655486 h 4135471"/>
                <a:gd name="connsiteX38" fmla="*/ 3882 w 2854049"/>
                <a:gd name="connsiteY38" fmla="*/ 1677533 h 4135471"/>
                <a:gd name="connsiteX39" fmla="*/ 0 w 2854049"/>
                <a:gd name="connsiteY39" fmla="*/ 1701583 h 4135471"/>
                <a:gd name="connsiteX40" fmla="*/ 4851 w 2854049"/>
                <a:gd name="connsiteY40" fmla="*/ 1726636 h 4135471"/>
                <a:gd name="connsiteX41" fmla="*/ 17462 w 2854049"/>
                <a:gd name="connsiteY41" fmla="*/ 1750687 h 4135471"/>
                <a:gd name="connsiteX42" fmla="*/ 38806 w 2854049"/>
                <a:gd name="connsiteY42" fmla="*/ 1770728 h 4135471"/>
                <a:gd name="connsiteX43" fmla="*/ 63057 w 2854049"/>
                <a:gd name="connsiteY43" fmla="*/ 1784759 h 4135471"/>
                <a:gd name="connsiteX44" fmla="*/ 93130 w 2854049"/>
                <a:gd name="connsiteY44" fmla="*/ 1797786 h 4135471"/>
                <a:gd name="connsiteX45" fmla="*/ 125143 w 2854049"/>
                <a:gd name="connsiteY45" fmla="*/ 1808809 h 4135471"/>
                <a:gd name="connsiteX46" fmla="*/ 157158 w 2854049"/>
                <a:gd name="connsiteY46" fmla="*/ 1819833 h 4135471"/>
                <a:gd name="connsiteX47" fmla="*/ 188201 w 2854049"/>
                <a:gd name="connsiteY47" fmla="*/ 1830855 h 4135471"/>
                <a:gd name="connsiteX48" fmla="*/ 218273 w 2854049"/>
                <a:gd name="connsiteY48" fmla="*/ 1843883 h 4135471"/>
                <a:gd name="connsiteX49" fmla="*/ 245437 w 2854049"/>
                <a:gd name="connsiteY49" fmla="*/ 1857912 h 4135471"/>
                <a:gd name="connsiteX50" fmla="*/ 264839 w 2854049"/>
                <a:gd name="connsiteY50" fmla="*/ 1875951 h 4135471"/>
                <a:gd name="connsiteX51" fmla="*/ 259018 w 2854049"/>
                <a:gd name="connsiteY51" fmla="*/ 1900001 h 4135471"/>
                <a:gd name="connsiteX52" fmla="*/ 248347 w 2854049"/>
                <a:gd name="connsiteY52" fmla="*/ 1922047 h 4135471"/>
                <a:gd name="connsiteX53" fmla="*/ 237676 w 2854049"/>
                <a:gd name="connsiteY53" fmla="*/ 1945097 h 4135471"/>
                <a:gd name="connsiteX54" fmla="*/ 226035 w 2854049"/>
                <a:gd name="connsiteY54" fmla="*/ 1967142 h 4135471"/>
                <a:gd name="connsiteX55" fmla="*/ 215364 w 2854049"/>
                <a:gd name="connsiteY55" fmla="*/ 1989189 h 4135471"/>
                <a:gd name="connsiteX56" fmla="*/ 207602 w 2854049"/>
                <a:gd name="connsiteY56" fmla="*/ 2011236 h 4135471"/>
                <a:gd name="connsiteX57" fmla="*/ 204693 w 2854049"/>
                <a:gd name="connsiteY57" fmla="*/ 2031277 h 4135471"/>
                <a:gd name="connsiteX58" fmla="*/ 206633 w 2854049"/>
                <a:gd name="connsiteY58" fmla="*/ 2053324 h 4135471"/>
                <a:gd name="connsiteX59" fmla="*/ 217304 w 2854049"/>
                <a:gd name="connsiteY59" fmla="*/ 2073366 h 4135471"/>
                <a:gd name="connsiteX60" fmla="*/ 236706 w 2854049"/>
                <a:gd name="connsiteY60" fmla="*/ 2093409 h 4135471"/>
                <a:gd name="connsiteX61" fmla="*/ 264839 w 2854049"/>
                <a:gd name="connsiteY61" fmla="*/ 2113450 h 4135471"/>
                <a:gd name="connsiteX62" fmla="*/ 259018 w 2854049"/>
                <a:gd name="connsiteY62" fmla="*/ 2129483 h 4135471"/>
                <a:gd name="connsiteX63" fmla="*/ 250288 w 2854049"/>
                <a:gd name="connsiteY63" fmla="*/ 2145517 h 4135471"/>
                <a:gd name="connsiteX64" fmla="*/ 243497 w 2854049"/>
                <a:gd name="connsiteY64" fmla="*/ 2164557 h 4135471"/>
                <a:gd name="connsiteX65" fmla="*/ 241557 w 2854049"/>
                <a:gd name="connsiteY65" fmla="*/ 2184601 h 4135471"/>
                <a:gd name="connsiteX66" fmla="*/ 245437 w 2854049"/>
                <a:gd name="connsiteY66" fmla="*/ 2204642 h 4135471"/>
                <a:gd name="connsiteX67" fmla="*/ 256109 w 2854049"/>
                <a:gd name="connsiteY67" fmla="*/ 2222680 h 4135471"/>
                <a:gd name="connsiteX68" fmla="*/ 269690 w 2854049"/>
                <a:gd name="connsiteY68" fmla="*/ 2236709 h 4135471"/>
                <a:gd name="connsiteX69" fmla="*/ 287151 w 2854049"/>
                <a:gd name="connsiteY69" fmla="*/ 2249737 h 4135471"/>
                <a:gd name="connsiteX70" fmla="*/ 304613 w 2854049"/>
                <a:gd name="connsiteY70" fmla="*/ 2258756 h 4135471"/>
                <a:gd name="connsiteX71" fmla="*/ 321105 w 2854049"/>
                <a:gd name="connsiteY71" fmla="*/ 2269780 h 4135471"/>
                <a:gd name="connsiteX72" fmla="*/ 336627 w 2854049"/>
                <a:gd name="connsiteY72" fmla="*/ 2284810 h 4135471"/>
                <a:gd name="connsiteX73" fmla="*/ 345358 w 2854049"/>
                <a:gd name="connsiteY73" fmla="*/ 2300845 h 4135471"/>
                <a:gd name="connsiteX74" fmla="*/ 354089 w 2854049"/>
                <a:gd name="connsiteY74" fmla="*/ 2329906 h 4135471"/>
                <a:gd name="connsiteX75" fmla="*/ 354089 w 2854049"/>
                <a:gd name="connsiteY75" fmla="*/ 2362976 h 4135471"/>
                <a:gd name="connsiteX76" fmla="*/ 351179 w 2854049"/>
                <a:gd name="connsiteY76" fmla="*/ 2394041 h 4135471"/>
                <a:gd name="connsiteX77" fmla="*/ 343417 w 2854049"/>
                <a:gd name="connsiteY77" fmla="*/ 2426108 h 4135471"/>
                <a:gd name="connsiteX78" fmla="*/ 336627 w 2854049"/>
                <a:gd name="connsiteY78" fmla="*/ 2457173 h 4135471"/>
                <a:gd name="connsiteX79" fmla="*/ 331776 w 2854049"/>
                <a:gd name="connsiteY79" fmla="*/ 2485233 h 4135471"/>
                <a:gd name="connsiteX80" fmla="*/ 327896 w 2854049"/>
                <a:gd name="connsiteY80" fmla="*/ 2525318 h 4135471"/>
                <a:gd name="connsiteX81" fmla="*/ 331776 w 2854049"/>
                <a:gd name="connsiteY81" fmla="*/ 2561393 h 4135471"/>
                <a:gd name="connsiteX82" fmla="*/ 342447 w 2854049"/>
                <a:gd name="connsiteY82" fmla="*/ 2594464 h 4135471"/>
                <a:gd name="connsiteX83" fmla="*/ 356029 w 2854049"/>
                <a:gd name="connsiteY83" fmla="*/ 2623524 h 4135471"/>
                <a:gd name="connsiteX84" fmla="*/ 375432 w 2854049"/>
                <a:gd name="connsiteY84" fmla="*/ 2646572 h 4135471"/>
                <a:gd name="connsiteX85" fmla="*/ 400654 w 2854049"/>
                <a:gd name="connsiteY85" fmla="*/ 2668619 h 4135471"/>
                <a:gd name="connsiteX86" fmla="*/ 424906 w 2854049"/>
                <a:gd name="connsiteY86" fmla="*/ 2686657 h 4135471"/>
                <a:gd name="connsiteX87" fmla="*/ 453040 w 2854049"/>
                <a:gd name="connsiteY87" fmla="*/ 2701688 h 4135471"/>
                <a:gd name="connsiteX88" fmla="*/ 481173 w 2854049"/>
                <a:gd name="connsiteY88" fmla="*/ 2714717 h 4135471"/>
                <a:gd name="connsiteX89" fmla="*/ 509306 w 2854049"/>
                <a:gd name="connsiteY89" fmla="*/ 2721731 h 4135471"/>
                <a:gd name="connsiteX90" fmla="*/ 560721 w 2854049"/>
                <a:gd name="connsiteY90" fmla="*/ 2730751 h 4135471"/>
                <a:gd name="connsiteX91" fmla="*/ 615047 w 2854049"/>
                <a:gd name="connsiteY91" fmla="*/ 2734758 h 4135471"/>
                <a:gd name="connsiteX92" fmla="*/ 672284 w 2854049"/>
                <a:gd name="connsiteY92" fmla="*/ 2732755 h 4135471"/>
                <a:gd name="connsiteX93" fmla="*/ 728550 w 2854049"/>
                <a:gd name="connsiteY93" fmla="*/ 2726742 h 4135471"/>
                <a:gd name="connsiteX94" fmla="*/ 784816 w 2854049"/>
                <a:gd name="connsiteY94" fmla="*/ 2719726 h 4135471"/>
                <a:gd name="connsiteX95" fmla="*/ 838171 w 2854049"/>
                <a:gd name="connsiteY95" fmla="*/ 2708704 h 4135471"/>
                <a:gd name="connsiteX96" fmla="*/ 885706 w 2854049"/>
                <a:gd name="connsiteY96" fmla="*/ 2695677 h 4135471"/>
                <a:gd name="connsiteX97" fmla="*/ 927421 w 2854049"/>
                <a:gd name="connsiteY97" fmla="*/ 2681646 h 4135471"/>
                <a:gd name="connsiteX98" fmla="*/ 944882 w 2854049"/>
                <a:gd name="connsiteY98" fmla="*/ 2675633 h 4135471"/>
                <a:gd name="connsiteX99" fmla="*/ 968165 w 2854049"/>
                <a:gd name="connsiteY99" fmla="*/ 2668619 h 4135471"/>
                <a:gd name="connsiteX100" fmla="*/ 993388 w 2854049"/>
                <a:gd name="connsiteY100" fmla="*/ 2661605 h 4135471"/>
                <a:gd name="connsiteX101" fmla="*/ 1019581 w 2854049"/>
                <a:gd name="connsiteY101" fmla="*/ 2654590 h 4135471"/>
                <a:gd name="connsiteX102" fmla="*/ 1047714 w 2854049"/>
                <a:gd name="connsiteY102" fmla="*/ 2650582 h 4135471"/>
                <a:gd name="connsiteX103" fmla="*/ 1075847 w 2854049"/>
                <a:gd name="connsiteY103" fmla="*/ 2648577 h 4135471"/>
                <a:gd name="connsiteX104" fmla="*/ 1100100 w 2854049"/>
                <a:gd name="connsiteY104" fmla="*/ 2652585 h 4135471"/>
                <a:gd name="connsiteX105" fmla="*/ 1121442 w 2854049"/>
                <a:gd name="connsiteY105" fmla="*/ 2661605 h 4135471"/>
                <a:gd name="connsiteX106" fmla="*/ 1140844 w 2854049"/>
                <a:gd name="connsiteY106" fmla="*/ 2679643 h 4135471"/>
                <a:gd name="connsiteX107" fmla="*/ 1158306 w 2854049"/>
                <a:gd name="connsiteY107" fmla="*/ 2708704 h 4135471"/>
                <a:gd name="connsiteX108" fmla="*/ 1174797 w 2854049"/>
                <a:gd name="connsiteY108" fmla="*/ 2745782 h 4135471"/>
                <a:gd name="connsiteX109" fmla="*/ 1190319 w 2854049"/>
                <a:gd name="connsiteY109" fmla="*/ 2788872 h 4135471"/>
                <a:gd name="connsiteX110" fmla="*/ 1202931 w 2854049"/>
                <a:gd name="connsiteY110" fmla="*/ 2837975 h 4135471"/>
                <a:gd name="connsiteX111" fmla="*/ 1215541 w 2854049"/>
                <a:gd name="connsiteY111" fmla="*/ 2889083 h 4135471"/>
                <a:gd name="connsiteX112" fmla="*/ 1226212 w 2854049"/>
                <a:gd name="connsiteY112" fmla="*/ 2942195 h 4135471"/>
                <a:gd name="connsiteX113" fmla="*/ 1235914 w 2854049"/>
                <a:gd name="connsiteY113" fmla="*/ 2996309 h 4135471"/>
                <a:gd name="connsiteX114" fmla="*/ 1245616 w 2854049"/>
                <a:gd name="connsiteY114" fmla="*/ 3049421 h 4135471"/>
                <a:gd name="connsiteX115" fmla="*/ 1252407 w 2854049"/>
                <a:gd name="connsiteY115" fmla="*/ 3098524 h 4135471"/>
                <a:gd name="connsiteX116" fmla="*/ 1261138 w 2854049"/>
                <a:gd name="connsiteY116" fmla="*/ 3144621 h 4135471"/>
                <a:gd name="connsiteX117" fmla="*/ 1267927 w 2854049"/>
                <a:gd name="connsiteY117" fmla="*/ 3182701 h 4135471"/>
                <a:gd name="connsiteX118" fmla="*/ 1273749 w 2854049"/>
                <a:gd name="connsiteY118" fmla="*/ 3215771 h 4135471"/>
                <a:gd name="connsiteX119" fmla="*/ 1405683 w 2854049"/>
                <a:gd name="connsiteY119" fmla="*/ 3238820 h 4135471"/>
                <a:gd name="connsiteX120" fmla="*/ 1539558 w 2854049"/>
                <a:gd name="connsiteY120" fmla="*/ 3251847 h 4135471"/>
                <a:gd name="connsiteX121" fmla="*/ 1677312 w 2854049"/>
                <a:gd name="connsiteY121" fmla="*/ 3253851 h 4135471"/>
                <a:gd name="connsiteX122" fmla="*/ 1817977 w 2854049"/>
                <a:gd name="connsiteY122" fmla="*/ 3246837 h 4135471"/>
                <a:gd name="connsiteX123" fmla="*/ 1963493 w 2854049"/>
                <a:gd name="connsiteY123" fmla="*/ 3226793 h 4135471"/>
                <a:gd name="connsiteX124" fmla="*/ 1998071 w 2854049"/>
                <a:gd name="connsiteY124" fmla="*/ 3220300 h 4135471"/>
                <a:gd name="connsiteX125" fmla="*/ 1972544 w 2854049"/>
                <a:gd name="connsiteY125" fmla="*/ 2990832 h 4135471"/>
                <a:gd name="connsiteX126" fmla="*/ 1866104 w 2854049"/>
                <a:gd name="connsiteY126" fmla="*/ 2529483 h 4135471"/>
                <a:gd name="connsiteX127" fmla="*/ 1085631 w 2854049"/>
                <a:gd name="connsiteY127" fmla="*/ 1773024 h 4135471"/>
                <a:gd name="connsiteX128" fmla="*/ 1277747 w 2854049"/>
                <a:gd name="connsiteY128" fmla="*/ 968535 h 4135471"/>
                <a:gd name="connsiteX129" fmla="*/ 1914134 w 2854049"/>
                <a:gd name="connsiteY129" fmla="*/ 872477 h 4135471"/>
                <a:gd name="connsiteX130" fmla="*/ 2334389 w 2854049"/>
                <a:gd name="connsiteY130" fmla="*/ 1316747 h 4135471"/>
                <a:gd name="connsiteX131" fmla="*/ 2850702 w 2854049"/>
                <a:gd name="connsiteY131" fmla="*/ 1256710 h 4135471"/>
                <a:gd name="connsiteX132" fmla="*/ 2851858 w 2854049"/>
                <a:gd name="connsiteY132" fmla="*/ 1288484 h 4135471"/>
                <a:gd name="connsiteX133" fmla="*/ 2854049 w 2854049"/>
                <a:gd name="connsiteY133" fmla="*/ 1252639 h 4135471"/>
                <a:gd name="connsiteX134" fmla="*/ 2852109 w 2854049"/>
                <a:gd name="connsiteY134" fmla="*/ 1156435 h 4135471"/>
                <a:gd name="connsiteX135" fmla="*/ 2845318 w 2854049"/>
                <a:gd name="connsiteY135" fmla="*/ 1062236 h 4135471"/>
                <a:gd name="connsiteX136" fmla="*/ 2830767 w 2854049"/>
                <a:gd name="connsiteY136" fmla="*/ 971045 h 4135471"/>
                <a:gd name="connsiteX137" fmla="*/ 2811365 w 2854049"/>
                <a:gd name="connsiteY137" fmla="*/ 881857 h 4135471"/>
                <a:gd name="connsiteX138" fmla="*/ 2787112 w 2854049"/>
                <a:gd name="connsiteY138" fmla="*/ 799684 h 4135471"/>
                <a:gd name="connsiteX139" fmla="*/ 2759950 w 2854049"/>
                <a:gd name="connsiteY139" fmla="*/ 724526 h 4135471"/>
                <a:gd name="connsiteX140" fmla="*/ 2728906 w 2854049"/>
                <a:gd name="connsiteY140" fmla="*/ 657385 h 4135471"/>
                <a:gd name="connsiteX141" fmla="*/ 2682340 w 2854049"/>
                <a:gd name="connsiteY141" fmla="*/ 577215 h 4135471"/>
                <a:gd name="connsiteX142" fmla="*/ 2631895 w 2854049"/>
                <a:gd name="connsiteY142" fmla="*/ 501055 h 4135471"/>
                <a:gd name="connsiteX143" fmla="*/ 2574659 w 2854049"/>
                <a:gd name="connsiteY143" fmla="*/ 429907 h 4135471"/>
                <a:gd name="connsiteX144" fmla="*/ 2513543 w 2854049"/>
                <a:gd name="connsiteY144" fmla="*/ 361762 h 4135471"/>
                <a:gd name="connsiteX145" fmla="*/ 2446606 w 2854049"/>
                <a:gd name="connsiteY145" fmla="*/ 300634 h 4135471"/>
                <a:gd name="connsiteX146" fmla="*/ 2371907 w 2854049"/>
                <a:gd name="connsiteY146" fmla="*/ 243513 h 4135471"/>
                <a:gd name="connsiteX147" fmla="*/ 2294299 w 2854049"/>
                <a:gd name="connsiteY147" fmla="*/ 192406 h 4135471"/>
                <a:gd name="connsiteX148" fmla="*/ 2211840 w 2854049"/>
                <a:gd name="connsiteY148" fmla="*/ 147311 h 4135471"/>
                <a:gd name="connsiteX149" fmla="*/ 2121620 w 2854049"/>
                <a:gd name="connsiteY149" fmla="*/ 109230 h 4135471"/>
                <a:gd name="connsiteX150" fmla="*/ 2028490 w 2854049"/>
                <a:gd name="connsiteY150" fmla="*/ 74157 h 4135471"/>
                <a:gd name="connsiteX151" fmla="*/ 1927599 w 2854049"/>
                <a:gd name="connsiteY151" fmla="*/ 47099 h 4135471"/>
                <a:gd name="connsiteX152" fmla="*/ 1821858 w 2854049"/>
                <a:gd name="connsiteY152" fmla="*/ 25053 h 4135471"/>
                <a:gd name="connsiteX153" fmla="*/ 1711265 w 2854049"/>
                <a:gd name="connsiteY153" fmla="*/ 10021 h 4135471"/>
                <a:gd name="connsiteX154" fmla="*/ 1594853 w 2854049"/>
                <a:gd name="connsiteY154" fmla="*/ 1002 h 413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854049" h="4135471">
                  <a:moveTo>
                    <a:pt x="1696267" y="3431657"/>
                  </a:moveTo>
                  <a:cubicBezTo>
                    <a:pt x="1501914" y="3431657"/>
                    <a:pt x="1344360" y="3589211"/>
                    <a:pt x="1344360" y="3783564"/>
                  </a:cubicBezTo>
                  <a:cubicBezTo>
                    <a:pt x="1344360" y="3977917"/>
                    <a:pt x="1501914" y="4135471"/>
                    <a:pt x="1696267" y="4135471"/>
                  </a:cubicBezTo>
                  <a:cubicBezTo>
                    <a:pt x="1890620" y="4135471"/>
                    <a:pt x="2048174" y="3977917"/>
                    <a:pt x="2048174" y="3783564"/>
                  </a:cubicBezTo>
                  <a:cubicBezTo>
                    <a:pt x="2048174" y="3589211"/>
                    <a:pt x="1890620" y="3431657"/>
                    <a:pt x="1696267" y="3431657"/>
                  </a:cubicBezTo>
                  <a:close/>
                  <a:moveTo>
                    <a:pt x="1470680" y="0"/>
                  </a:moveTo>
                  <a:lnTo>
                    <a:pt x="1360088" y="9020"/>
                  </a:lnTo>
                  <a:lnTo>
                    <a:pt x="1082638" y="72152"/>
                  </a:lnTo>
                  <a:lnTo>
                    <a:pt x="1000179" y="103217"/>
                  </a:lnTo>
                  <a:lnTo>
                    <a:pt x="918691" y="138291"/>
                  </a:lnTo>
                  <a:lnTo>
                    <a:pt x="839141" y="180379"/>
                  </a:lnTo>
                  <a:lnTo>
                    <a:pt x="765414" y="227479"/>
                  </a:lnTo>
                  <a:lnTo>
                    <a:pt x="694595" y="280591"/>
                  </a:lnTo>
                  <a:lnTo>
                    <a:pt x="629599" y="338714"/>
                  </a:lnTo>
                  <a:lnTo>
                    <a:pt x="569452" y="401847"/>
                  </a:lnTo>
                  <a:lnTo>
                    <a:pt x="515126" y="470992"/>
                  </a:lnTo>
                  <a:lnTo>
                    <a:pt x="467591" y="544147"/>
                  </a:lnTo>
                  <a:lnTo>
                    <a:pt x="426847" y="622311"/>
                  </a:lnTo>
                  <a:lnTo>
                    <a:pt x="392893" y="706488"/>
                  </a:lnTo>
                  <a:lnTo>
                    <a:pt x="338568" y="937976"/>
                  </a:lnTo>
                  <a:lnTo>
                    <a:pt x="333717" y="994094"/>
                  </a:lnTo>
                  <a:lnTo>
                    <a:pt x="331776" y="1047206"/>
                  </a:lnTo>
                  <a:lnTo>
                    <a:pt x="333717" y="1096308"/>
                  </a:lnTo>
                  <a:lnTo>
                    <a:pt x="334686" y="1145413"/>
                  </a:lnTo>
                  <a:lnTo>
                    <a:pt x="334686" y="1191509"/>
                  </a:lnTo>
                  <a:lnTo>
                    <a:pt x="329836" y="1234599"/>
                  </a:lnTo>
                  <a:lnTo>
                    <a:pt x="315284" y="1278693"/>
                  </a:lnTo>
                  <a:lnTo>
                    <a:pt x="289092" y="1331805"/>
                  </a:lnTo>
                  <a:lnTo>
                    <a:pt x="257078" y="1380908"/>
                  </a:lnTo>
                  <a:lnTo>
                    <a:pt x="222155" y="1423998"/>
                  </a:lnTo>
                  <a:lnTo>
                    <a:pt x="185291" y="1468092"/>
                  </a:lnTo>
                  <a:lnTo>
                    <a:pt x="146487" y="1508176"/>
                  </a:lnTo>
                  <a:lnTo>
                    <a:pt x="107683" y="1548261"/>
                  </a:lnTo>
                  <a:lnTo>
                    <a:pt x="70819" y="1592354"/>
                  </a:lnTo>
                  <a:lnTo>
                    <a:pt x="58206" y="1604378"/>
                  </a:lnTo>
                  <a:lnTo>
                    <a:pt x="42684" y="1619410"/>
                  </a:lnTo>
                  <a:lnTo>
                    <a:pt x="26193" y="1637448"/>
                  </a:lnTo>
                  <a:lnTo>
                    <a:pt x="12611" y="1655486"/>
                  </a:lnTo>
                  <a:lnTo>
                    <a:pt x="3882" y="1677533"/>
                  </a:lnTo>
                  <a:lnTo>
                    <a:pt x="0" y="1701583"/>
                  </a:lnTo>
                  <a:lnTo>
                    <a:pt x="4851" y="1726636"/>
                  </a:lnTo>
                  <a:lnTo>
                    <a:pt x="17462" y="1750687"/>
                  </a:lnTo>
                  <a:lnTo>
                    <a:pt x="38806" y="1770728"/>
                  </a:lnTo>
                  <a:lnTo>
                    <a:pt x="63057" y="1784759"/>
                  </a:lnTo>
                  <a:lnTo>
                    <a:pt x="93130" y="1797786"/>
                  </a:lnTo>
                  <a:lnTo>
                    <a:pt x="125143" y="1808809"/>
                  </a:lnTo>
                  <a:lnTo>
                    <a:pt x="157158" y="1819833"/>
                  </a:lnTo>
                  <a:lnTo>
                    <a:pt x="188201" y="1830855"/>
                  </a:lnTo>
                  <a:lnTo>
                    <a:pt x="218273" y="1843883"/>
                  </a:lnTo>
                  <a:lnTo>
                    <a:pt x="245437" y="1857912"/>
                  </a:lnTo>
                  <a:lnTo>
                    <a:pt x="264839" y="1875951"/>
                  </a:lnTo>
                  <a:lnTo>
                    <a:pt x="259018" y="1900001"/>
                  </a:lnTo>
                  <a:lnTo>
                    <a:pt x="248347" y="1922047"/>
                  </a:lnTo>
                  <a:lnTo>
                    <a:pt x="237676" y="1945097"/>
                  </a:lnTo>
                  <a:lnTo>
                    <a:pt x="226035" y="1967142"/>
                  </a:lnTo>
                  <a:lnTo>
                    <a:pt x="215364" y="1989189"/>
                  </a:lnTo>
                  <a:lnTo>
                    <a:pt x="207602" y="2011236"/>
                  </a:lnTo>
                  <a:lnTo>
                    <a:pt x="204693" y="2031277"/>
                  </a:lnTo>
                  <a:lnTo>
                    <a:pt x="206633" y="2053324"/>
                  </a:lnTo>
                  <a:lnTo>
                    <a:pt x="217304" y="2073366"/>
                  </a:lnTo>
                  <a:lnTo>
                    <a:pt x="236706" y="2093409"/>
                  </a:lnTo>
                  <a:lnTo>
                    <a:pt x="264839" y="2113450"/>
                  </a:lnTo>
                  <a:lnTo>
                    <a:pt x="259018" y="2129483"/>
                  </a:lnTo>
                  <a:lnTo>
                    <a:pt x="250288" y="2145517"/>
                  </a:lnTo>
                  <a:lnTo>
                    <a:pt x="243497" y="2164557"/>
                  </a:lnTo>
                  <a:lnTo>
                    <a:pt x="241557" y="2184601"/>
                  </a:lnTo>
                  <a:lnTo>
                    <a:pt x="245437" y="2204642"/>
                  </a:lnTo>
                  <a:lnTo>
                    <a:pt x="256109" y="2222680"/>
                  </a:lnTo>
                  <a:lnTo>
                    <a:pt x="269690" y="2236709"/>
                  </a:lnTo>
                  <a:lnTo>
                    <a:pt x="287151" y="2249737"/>
                  </a:lnTo>
                  <a:lnTo>
                    <a:pt x="304613" y="2258756"/>
                  </a:lnTo>
                  <a:lnTo>
                    <a:pt x="321105" y="2269780"/>
                  </a:lnTo>
                  <a:lnTo>
                    <a:pt x="336627" y="2284810"/>
                  </a:lnTo>
                  <a:lnTo>
                    <a:pt x="345358" y="2300845"/>
                  </a:lnTo>
                  <a:lnTo>
                    <a:pt x="354089" y="2329906"/>
                  </a:lnTo>
                  <a:lnTo>
                    <a:pt x="354089" y="2362976"/>
                  </a:lnTo>
                  <a:lnTo>
                    <a:pt x="351179" y="2394041"/>
                  </a:lnTo>
                  <a:lnTo>
                    <a:pt x="343417" y="2426108"/>
                  </a:lnTo>
                  <a:lnTo>
                    <a:pt x="336627" y="2457173"/>
                  </a:lnTo>
                  <a:lnTo>
                    <a:pt x="331776" y="2485233"/>
                  </a:lnTo>
                  <a:lnTo>
                    <a:pt x="327896" y="2525318"/>
                  </a:lnTo>
                  <a:lnTo>
                    <a:pt x="331776" y="2561393"/>
                  </a:lnTo>
                  <a:lnTo>
                    <a:pt x="342447" y="2594464"/>
                  </a:lnTo>
                  <a:lnTo>
                    <a:pt x="356029" y="2623524"/>
                  </a:lnTo>
                  <a:lnTo>
                    <a:pt x="375432" y="2646572"/>
                  </a:lnTo>
                  <a:lnTo>
                    <a:pt x="400654" y="2668619"/>
                  </a:lnTo>
                  <a:lnTo>
                    <a:pt x="424906" y="2686657"/>
                  </a:lnTo>
                  <a:lnTo>
                    <a:pt x="453040" y="2701688"/>
                  </a:lnTo>
                  <a:lnTo>
                    <a:pt x="481173" y="2714717"/>
                  </a:lnTo>
                  <a:lnTo>
                    <a:pt x="509306" y="2721731"/>
                  </a:lnTo>
                  <a:lnTo>
                    <a:pt x="560721" y="2730751"/>
                  </a:lnTo>
                  <a:lnTo>
                    <a:pt x="615047" y="2734758"/>
                  </a:lnTo>
                  <a:lnTo>
                    <a:pt x="672284" y="2732755"/>
                  </a:lnTo>
                  <a:lnTo>
                    <a:pt x="728550" y="2726742"/>
                  </a:lnTo>
                  <a:lnTo>
                    <a:pt x="784816" y="2719726"/>
                  </a:lnTo>
                  <a:lnTo>
                    <a:pt x="838171" y="2708704"/>
                  </a:lnTo>
                  <a:lnTo>
                    <a:pt x="885706" y="2695677"/>
                  </a:lnTo>
                  <a:lnTo>
                    <a:pt x="927421" y="2681646"/>
                  </a:lnTo>
                  <a:lnTo>
                    <a:pt x="944882" y="2675633"/>
                  </a:lnTo>
                  <a:lnTo>
                    <a:pt x="968165" y="2668619"/>
                  </a:lnTo>
                  <a:lnTo>
                    <a:pt x="993388" y="2661605"/>
                  </a:lnTo>
                  <a:lnTo>
                    <a:pt x="1019581" y="2654590"/>
                  </a:lnTo>
                  <a:lnTo>
                    <a:pt x="1047714" y="2650582"/>
                  </a:lnTo>
                  <a:lnTo>
                    <a:pt x="1075847" y="2648577"/>
                  </a:lnTo>
                  <a:lnTo>
                    <a:pt x="1100100" y="2652585"/>
                  </a:lnTo>
                  <a:lnTo>
                    <a:pt x="1121442" y="2661605"/>
                  </a:lnTo>
                  <a:lnTo>
                    <a:pt x="1140844" y="2679643"/>
                  </a:lnTo>
                  <a:lnTo>
                    <a:pt x="1158306" y="2708704"/>
                  </a:lnTo>
                  <a:lnTo>
                    <a:pt x="1174797" y="2745782"/>
                  </a:lnTo>
                  <a:lnTo>
                    <a:pt x="1190319" y="2788872"/>
                  </a:lnTo>
                  <a:lnTo>
                    <a:pt x="1202931" y="2837975"/>
                  </a:lnTo>
                  <a:lnTo>
                    <a:pt x="1215541" y="2889083"/>
                  </a:lnTo>
                  <a:lnTo>
                    <a:pt x="1226212" y="2942195"/>
                  </a:lnTo>
                  <a:lnTo>
                    <a:pt x="1235914" y="2996309"/>
                  </a:lnTo>
                  <a:lnTo>
                    <a:pt x="1245616" y="3049421"/>
                  </a:lnTo>
                  <a:lnTo>
                    <a:pt x="1252407" y="3098524"/>
                  </a:lnTo>
                  <a:lnTo>
                    <a:pt x="1261138" y="3144621"/>
                  </a:lnTo>
                  <a:lnTo>
                    <a:pt x="1267927" y="3182701"/>
                  </a:lnTo>
                  <a:lnTo>
                    <a:pt x="1273749" y="3215771"/>
                  </a:lnTo>
                  <a:lnTo>
                    <a:pt x="1405683" y="3238820"/>
                  </a:lnTo>
                  <a:lnTo>
                    <a:pt x="1539558" y="3251847"/>
                  </a:lnTo>
                  <a:lnTo>
                    <a:pt x="1677312" y="3253851"/>
                  </a:lnTo>
                  <a:lnTo>
                    <a:pt x="1817977" y="3246837"/>
                  </a:lnTo>
                  <a:lnTo>
                    <a:pt x="1963493" y="3226793"/>
                  </a:lnTo>
                  <a:lnTo>
                    <a:pt x="1998071" y="3220300"/>
                  </a:lnTo>
                  <a:lnTo>
                    <a:pt x="1972544" y="2990832"/>
                  </a:lnTo>
                  <a:cubicBezTo>
                    <a:pt x="1951990" y="2824419"/>
                    <a:pt x="1923973" y="2664322"/>
                    <a:pt x="1866104" y="2529483"/>
                  </a:cubicBezTo>
                  <a:cubicBezTo>
                    <a:pt x="1798827" y="2378364"/>
                    <a:pt x="1318234" y="2057324"/>
                    <a:pt x="1085631" y="1773024"/>
                  </a:cubicBezTo>
                  <a:cubicBezTo>
                    <a:pt x="1039452" y="1683967"/>
                    <a:pt x="924385" y="1218329"/>
                    <a:pt x="1277747" y="968535"/>
                  </a:cubicBezTo>
                  <a:cubicBezTo>
                    <a:pt x="1430175" y="835482"/>
                    <a:pt x="1702005" y="831017"/>
                    <a:pt x="1914134" y="872477"/>
                  </a:cubicBezTo>
                  <a:cubicBezTo>
                    <a:pt x="2031257" y="905756"/>
                    <a:pt x="2240228" y="1053847"/>
                    <a:pt x="2334389" y="1316747"/>
                  </a:cubicBezTo>
                  <a:lnTo>
                    <a:pt x="2850702" y="1256710"/>
                  </a:lnTo>
                  <a:lnTo>
                    <a:pt x="2851858" y="1288484"/>
                  </a:lnTo>
                  <a:lnTo>
                    <a:pt x="2854049" y="1252639"/>
                  </a:lnTo>
                  <a:lnTo>
                    <a:pt x="2852109" y="1156435"/>
                  </a:lnTo>
                  <a:lnTo>
                    <a:pt x="2845318" y="1062236"/>
                  </a:lnTo>
                  <a:lnTo>
                    <a:pt x="2830767" y="971045"/>
                  </a:lnTo>
                  <a:lnTo>
                    <a:pt x="2811365" y="881857"/>
                  </a:lnTo>
                  <a:lnTo>
                    <a:pt x="2787112" y="799684"/>
                  </a:lnTo>
                  <a:lnTo>
                    <a:pt x="2759950" y="724526"/>
                  </a:lnTo>
                  <a:lnTo>
                    <a:pt x="2728906" y="657385"/>
                  </a:lnTo>
                  <a:lnTo>
                    <a:pt x="2682340" y="577215"/>
                  </a:lnTo>
                  <a:lnTo>
                    <a:pt x="2631895" y="501055"/>
                  </a:lnTo>
                  <a:lnTo>
                    <a:pt x="2574659" y="429907"/>
                  </a:lnTo>
                  <a:lnTo>
                    <a:pt x="2513543" y="361762"/>
                  </a:lnTo>
                  <a:lnTo>
                    <a:pt x="2446606" y="300634"/>
                  </a:lnTo>
                  <a:lnTo>
                    <a:pt x="2371907" y="243513"/>
                  </a:lnTo>
                  <a:lnTo>
                    <a:pt x="2294299" y="192406"/>
                  </a:lnTo>
                  <a:lnTo>
                    <a:pt x="2211840" y="147311"/>
                  </a:lnTo>
                  <a:lnTo>
                    <a:pt x="2121620" y="109230"/>
                  </a:lnTo>
                  <a:lnTo>
                    <a:pt x="2028490" y="74157"/>
                  </a:lnTo>
                  <a:lnTo>
                    <a:pt x="1927599" y="47099"/>
                  </a:lnTo>
                  <a:lnTo>
                    <a:pt x="1821858" y="25053"/>
                  </a:lnTo>
                  <a:lnTo>
                    <a:pt x="1711265" y="10021"/>
                  </a:lnTo>
                  <a:lnTo>
                    <a:pt x="1594853" y="1002"/>
                  </a:lnTo>
                  <a:close/>
                </a:path>
              </a:pathLst>
            </a:custGeom>
            <a:solidFill>
              <a:schemeClr val="tx1">
                <a:lumMod val="75000"/>
                <a:lumOff val="25000"/>
              </a:schemeClr>
            </a:solidFill>
            <a:ln>
              <a:solidFill>
                <a:srgbClr val="163F74"/>
              </a:solid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anchor="t" anchorCtr="0" compatLnSpc="1">
              <a:prstTxWarp prst="textNoShape">
                <a:avLst/>
              </a:prstTxWarp>
              <a:noAutofit/>
            </a:bodyPr>
            <a:lstStyle/>
            <a:p>
              <a:endParaRPr lang="ko-KR" altLang="en-US" sz="2026" dirty="0"/>
            </a:p>
          </p:txBody>
        </p:sp>
        <p:sp>
          <p:nvSpPr>
            <p:cNvPr id="16" name="Freeform: Shape 15">
              <a:extLst>
                <a:ext uri="{FF2B5EF4-FFF2-40B4-BE49-F238E27FC236}">
                  <a16:creationId xmlns:a16="http://schemas.microsoft.com/office/drawing/2014/main" id="{68C7E696-0B18-41D8-BADC-63197E0C7B5D}"/>
                </a:ext>
              </a:extLst>
            </p:cNvPr>
            <p:cNvSpPr/>
            <p:nvPr/>
          </p:nvSpPr>
          <p:spPr>
            <a:xfrm flipH="1">
              <a:off x="457200" y="590550"/>
              <a:ext cx="2979057" cy="1921717"/>
            </a:xfrm>
            <a:custGeom>
              <a:avLst/>
              <a:gdLst>
                <a:gd name="connsiteX0" fmla="*/ 1547519 w 3095038"/>
                <a:gd name="connsiteY0" fmla="*/ 0 h 2022026"/>
                <a:gd name="connsiteX1" fmla="*/ 3095038 w 3095038"/>
                <a:gd name="connsiteY1" fmla="*/ 627509 h 2022026"/>
                <a:gd name="connsiteX2" fmla="*/ 2825277 w 3095038"/>
                <a:gd name="connsiteY2" fmla="*/ 736897 h 2022026"/>
                <a:gd name="connsiteX3" fmla="*/ 2825277 w 3095038"/>
                <a:gd name="connsiteY3" fmla="*/ 1583608 h 2022026"/>
                <a:gd name="connsiteX4" fmla="*/ 2829142 w 3095038"/>
                <a:gd name="connsiteY4" fmla="*/ 1585209 h 2022026"/>
                <a:gd name="connsiteX5" fmla="*/ 2841509 w 3095038"/>
                <a:gd name="connsiteY5" fmla="*/ 1615067 h 2022026"/>
                <a:gd name="connsiteX6" fmla="*/ 2829142 w 3095038"/>
                <a:gd name="connsiteY6" fmla="*/ 1644926 h 2022026"/>
                <a:gd name="connsiteX7" fmla="*/ 2826092 w 3095038"/>
                <a:gd name="connsiteY7" fmla="*/ 1646189 h 2022026"/>
                <a:gd name="connsiteX8" fmla="*/ 2876626 w 3095038"/>
                <a:gd name="connsiteY8" fmla="*/ 2022026 h 2022026"/>
                <a:gd name="connsiteX9" fmla="*/ 2721940 w 3095038"/>
                <a:gd name="connsiteY9" fmla="*/ 2022026 h 2022026"/>
                <a:gd name="connsiteX10" fmla="*/ 2772475 w 3095038"/>
                <a:gd name="connsiteY10" fmla="*/ 1646189 h 2022026"/>
                <a:gd name="connsiteX11" fmla="*/ 2769425 w 3095038"/>
                <a:gd name="connsiteY11" fmla="*/ 1644926 h 2022026"/>
                <a:gd name="connsiteX12" fmla="*/ 2757057 w 3095038"/>
                <a:gd name="connsiteY12" fmla="*/ 1615067 h 2022026"/>
                <a:gd name="connsiteX13" fmla="*/ 2769425 w 3095038"/>
                <a:gd name="connsiteY13" fmla="*/ 1585209 h 2022026"/>
                <a:gd name="connsiteX14" fmla="*/ 2773289 w 3095038"/>
                <a:gd name="connsiteY14" fmla="*/ 1583608 h 2022026"/>
                <a:gd name="connsiteX15" fmla="*/ 2773289 w 3095038"/>
                <a:gd name="connsiteY15" fmla="*/ 757978 h 2022026"/>
                <a:gd name="connsiteX16" fmla="*/ 2747752 w 3095038"/>
                <a:gd name="connsiteY16" fmla="*/ 768333 h 2022026"/>
                <a:gd name="connsiteX17" fmla="*/ 2473970 w 3095038"/>
                <a:gd name="connsiteY17" fmla="*/ 981499 h 2022026"/>
                <a:gd name="connsiteX18" fmla="*/ 2473970 w 3095038"/>
                <a:gd name="connsiteY18" fmla="*/ 1333096 h 2022026"/>
                <a:gd name="connsiteX19" fmla="*/ 1442377 w 3095038"/>
                <a:gd name="connsiteY19" fmla="*/ 1553521 h 2022026"/>
                <a:gd name="connsiteX20" fmla="*/ 628675 w 3095038"/>
                <a:gd name="connsiteY20" fmla="*/ 1422110 h 2022026"/>
                <a:gd name="connsiteX21" fmla="*/ 635755 w 3095038"/>
                <a:gd name="connsiteY21" fmla="*/ 1406334 h 2022026"/>
                <a:gd name="connsiteX22" fmla="*/ 621068 w 3095038"/>
                <a:gd name="connsiteY22" fmla="*/ 1402746 h 2022026"/>
                <a:gd name="connsiteX23" fmla="*/ 621068 w 3095038"/>
                <a:gd name="connsiteY23" fmla="*/ 981499 h 2022026"/>
                <a:gd name="connsiteX24" fmla="*/ 0 w 3095038"/>
                <a:gd name="connsiteY24" fmla="*/ 627509 h 202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95038" h="2022026">
                  <a:moveTo>
                    <a:pt x="1547519" y="0"/>
                  </a:moveTo>
                  <a:lnTo>
                    <a:pt x="3095038" y="627509"/>
                  </a:lnTo>
                  <a:lnTo>
                    <a:pt x="2825277" y="736897"/>
                  </a:lnTo>
                  <a:lnTo>
                    <a:pt x="2825277" y="1583608"/>
                  </a:lnTo>
                  <a:lnTo>
                    <a:pt x="2829142" y="1585209"/>
                  </a:lnTo>
                  <a:cubicBezTo>
                    <a:pt x="2836783" y="1592850"/>
                    <a:pt x="2841509" y="1603406"/>
                    <a:pt x="2841509" y="1615067"/>
                  </a:cubicBezTo>
                  <a:cubicBezTo>
                    <a:pt x="2841509" y="1626728"/>
                    <a:pt x="2836783" y="1637284"/>
                    <a:pt x="2829142" y="1644926"/>
                  </a:cubicBezTo>
                  <a:lnTo>
                    <a:pt x="2826092" y="1646189"/>
                  </a:lnTo>
                  <a:lnTo>
                    <a:pt x="2876626" y="2022026"/>
                  </a:lnTo>
                  <a:lnTo>
                    <a:pt x="2721940" y="2022026"/>
                  </a:lnTo>
                  <a:lnTo>
                    <a:pt x="2772475" y="1646189"/>
                  </a:lnTo>
                  <a:lnTo>
                    <a:pt x="2769425" y="1644926"/>
                  </a:lnTo>
                  <a:cubicBezTo>
                    <a:pt x="2761784" y="1637284"/>
                    <a:pt x="2757057" y="1626728"/>
                    <a:pt x="2757057" y="1615067"/>
                  </a:cubicBezTo>
                  <a:cubicBezTo>
                    <a:pt x="2757057" y="1603406"/>
                    <a:pt x="2761784" y="1592850"/>
                    <a:pt x="2769425" y="1585209"/>
                  </a:cubicBezTo>
                  <a:lnTo>
                    <a:pt x="2773289" y="1583608"/>
                  </a:lnTo>
                  <a:lnTo>
                    <a:pt x="2773289" y="757978"/>
                  </a:lnTo>
                  <a:lnTo>
                    <a:pt x="2747752" y="768333"/>
                  </a:lnTo>
                  <a:lnTo>
                    <a:pt x="2473970" y="981499"/>
                  </a:lnTo>
                  <a:lnTo>
                    <a:pt x="2473970" y="1333096"/>
                  </a:lnTo>
                  <a:cubicBezTo>
                    <a:pt x="2176456" y="1474039"/>
                    <a:pt x="1822001" y="1553521"/>
                    <a:pt x="1442377" y="1553521"/>
                  </a:cubicBezTo>
                  <a:cubicBezTo>
                    <a:pt x="1151810" y="1553521"/>
                    <a:pt x="875988" y="1506956"/>
                    <a:pt x="628675" y="1422110"/>
                  </a:cubicBezTo>
                  <a:cubicBezTo>
                    <a:pt x="630298" y="1416654"/>
                    <a:pt x="632987" y="1411486"/>
                    <a:pt x="635755" y="1406334"/>
                  </a:cubicBezTo>
                  <a:cubicBezTo>
                    <a:pt x="631035" y="1404608"/>
                    <a:pt x="626049" y="1403669"/>
                    <a:pt x="621068" y="1402746"/>
                  </a:cubicBezTo>
                  <a:lnTo>
                    <a:pt x="621068" y="981499"/>
                  </a:lnTo>
                  <a:lnTo>
                    <a:pt x="0" y="62750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sz="2026" dirty="0"/>
            </a:p>
          </p:txBody>
        </p:sp>
      </p:grpSp>
      <p:graphicFrame>
        <p:nvGraphicFramePr>
          <p:cNvPr id="5" name="Object 4" hidden="1">
            <a:extLst>
              <a:ext uri="{FF2B5EF4-FFF2-40B4-BE49-F238E27FC236}">
                <a16:creationId xmlns:a16="http://schemas.microsoft.com/office/drawing/2014/main" id="{A9E43DCD-F115-4EC7-90AE-5F5E6C473889}"/>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5899" name="think-cell Slide" r:id="rId8" imgW="383" imgH="384" progId="TCLayout.ActiveDocument.1">
                  <p:embed/>
                </p:oleObj>
              </mc:Choice>
              <mc:Fallback>
                <p:oleObj name="think-cell Slide" r:id="rId8" imgW="383" imgH="384" progId="TCLayout.ActiveDocument.1">
                  <p:embed/>
                  <p:pic>
                    <p:nvPicPr>
                      <p:cNvPr id="5" name="Object 4" hidden="1">
                        <a:extLst>
                          <a:ext uri="{FF2B5EF4-FFF2-40B4-BE49-F238E27FC236}">
                            <a16:creationId xmlns:a16="http://schemas.microsoft.com/office/drawing/2014/main" id="{A9E43DCD-F115-4EC7-90AE-5F5E6C473889}"/>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140B3F-4BDA-4FDA-A9EE-3C673CDF2373}"/>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b="1" dirty="0">
              <a:latin typeface="Segoe UI" panose="020B0502040204020203" pitchFamily="34" charset="0"/>
              <a:ea typeface="+mj-ea"/>
              <a:cs typeface="Segoe UI" panose="020B0502040204020203" pitchFamily="34" charset="0"/>
              <a:sym typeface="Segoe UI" panose="020B0502040204020203" pitchFamily="34" charset="0"/>
            </a:endParaRPr>
          </a:p>
        </p:txBody>
      </p:sp>
      <p:cxnSp>
        <p:nvCxnSpPr>
          <p:cNvPr id="8" name="Straight Connector 7">
            <a:extLst>
              <a:ext uri="{FF2B5EF4-FFF2-40B4-BE49-F238E27FC236}">
                <a16:creationId xmlns:a16="http://schemas.microsoft.com/office/drawing/2014/main" id="{FDDCB1DF-AB7E-4220-9C07-5A95CD99AED5}"/>
              </a:ext>
            </a:extLst>
          </p:cNvPr>
          <p:cNvCxnSpPr>
            <a:cxnSpLocks/>
          </p:cNvCxnSpPr>
          <p:nvPr/>
        </p:nvCxnSpPr>
        <p:spPr>
          <a:xfrm flipH="1">
            <a:off x="264252" y="4162255"/>
            <a:ext cx="712513" cy="9885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544301-48A2-4C9C-9CBF-01A720F732C0}"/>
              </a:ext>
            </a:extLst>
          </p:cNvPr>
          <p:cNvCxnSpPr>
            <a:cxnSpLocks/>
          </p:cNvCxnSpPr>
          <p:nvPr/>
        </p:nvCxnSpPr>
        <p:spPr>
          <a:xfrm flipH="1">
            <a:off x="725918" y="1"/>
            <a:ext cx="501694" cy="69604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E0D0D9FA-3DBB-4185-910C-1F200143EFAC}"/>
              </a:ext>
            </a:extLst>
          </p:cNvPr>
          <p:cNvSpPr>
            <a:spLocks noGrp="1"/>
          </p:cNvSpPr>
          <p:nvPr>
            <p:ph type="title"/>
          </p:nvPr>
        </p:nvSpPr>
        <p:spPr>
          <a:xfrm>
            <a:off x="2716719" y="2248584"/>
            <a:ext cx="6436659" cy="646331"/>
          </a:xfrm>
        </p:spPr>
        <p:txBody>
          <a:bodyPr vert="horz" wrap="square" lIns="91440" tIns="45720" rIns="91440" bIns="45720" rtlCol="0" anchor="t">
            <a:spAutoFit/>
          </a:bodyPr>
          <a:lstStyle/>
          <a:p>
            <a:pPr marL="11545" algn="l">
              <a:spcBef>
                <a:spcPts val="72"/>
              </a:spcBef>
            </a:pPr>
            <a:r>
              <a:rPr lang="en-US" sz="3600"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rPr>
              <a:t>Seat Matrix</a:t>
            </a:r>
          </a:p>
        </p:txBody>
      </p:sp>
      <p:sp>
        <p:nvSpPr>
          <p:cNvPr id="17" name="Rectangle 16">
            <a:extLst>
              <a:ext uri="{FF2B5EF4-FFF2-40B4-BE49-F238E27FC236}">
                <a16:creationId xmlns:a16="http://schemas.microsoft.com/office/drawing/2014/main" id="{E481DB9C-92EC-43E7-B4B1-F15D6B9CE47D}"/>
              </a:ext>
            </a:extLst>
          </p:cNvPr>
          <p:cNvSpPr/>
          <p:nvPr/>
        </p:nvSpPr>
        <p:spPr>
          <a:xfrm>
            <a:off x="2707341" y="3430160"/>
            <a:ext cx="6436659" cy="48896"/>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pic>
        <p:nvPicPr>
          <p:cNvPr id="18" name="Picture 17">
            <a:extLst>
              <a:ext uri="{FF2B5EF4-FFF2-40B4-BE49-F238E27FC236}">
                <a16:creationId xmlns:a16="http://schemas.microsoft.com/office/drawing/2014/main" id="{28B6DE84-6C72-4BF8-AC33-2AA42DDE8E6D}"/>
              </a:ext>
            </a:extLst>
          </p:cNvPr>
          <p:cNvPicPr>
            <a:picLocks noChangeAspect="1"/>
          </p:cNvPicPr>
          <p:nvPr/>
        </p:nvPicPr>
        <p:blipFill rotWithShape="1">
          <a:blip r:embed="rId10"/>
          <a:srcRect l="86667" b="81138"/>
          <a:stretch/>
        </p:blipFill>
        <p:spPr>
          <a:xfrm>
            <a:off x="7924800" y="-1"/>
            <a:ext cx="1219200" cy="971551"/>
          </a:xfrm>
          <a:prstGeom prst="rect">
            <a:avLst/>
          </a:prstGeom>
        </p:spPr>
      </p:pic>
    </p:spTree>
    <p:extLst>
      <p:ext uri="{BB962C8B-B14F-4D97-AF65-F5344CB8AC3E}">
        <p14:creationId xmlns:p14="http://schemas.microsoft.com/office/powerpoint/2010/main" val="535994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C41E9-0CB4-42B9-B5FB-717F9FEE22B6}"/>
              </a:ext>
            </a:extLst>
          </p:cNvPr>
          <p:cNvSpPr txBox="1">
            <a:spLocks/>
          </p:cNvSpPr>
          <p:nvPr/>
        </p:nvSpPr>
        <p:spPr>
          <a:xfrm>
            <a:off x="155641" y="280477"/>
            <a:ext cx="8991601" cy="883864"/>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2800" dirty="0">
                <a:solidFill>
                  <a:srgbClr val="FF5969"/>
                </a:solidFill>
                <a:latin typeface="Gotham Bold" panose="02000803030000020004" pitchFamily="2" charset="0"/>
              </a:rPr>
              <a:t>Seat Matrix: </a:t>
            </a:r>
            <a:r>
              <a:rPr lang="en-US" sz="2800" dirty="0">
                <a:solidFill>
                  <a:srgbClr val="52CBBE"/>
                </a:solidFill>
                <a:latin typeface="Gotham Bold" panose="02000803030000020004" pitchFamily="2" charset="0"/>
              </a:rPr>
              <a:t>Govt. Autonomous College</a:t>
            </a:r>
          </a:p>
        </p:txBody>
      </p:sp>
      <p:sp>
        <p:nvSpPr>
          <p:cNvPr id="4" name="Rectangle 3">
            <a:extLst>
              <a:ext uri="{FF2B5EF4-FFF2-40B4-BE49-F238E27FC236}">
                <a16:creationId xmlns:a16="http://schemas.microsoft.com/office/drawing/2014/main" id="{845C5EEB-5159-4629-9568-F22ED1B108D9}"/>
              </a:ext>
            </a:extLst>
          </p:cNvPr>
          <p:cNvSpPr/>
          <p:nvPr/>
        </p:nvSpPr>
        <p:spPr>
          <a:xfrm>
            <a:off x="-4482" y="-1"/>
            <a:ext cx="156881" cy="5142251"/>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7" name="Rectangle 6">
            <a:extLst>
              <a:ext uri="{FF2B5EF4-FFF2-40B4-BE49-F238E27FC236}">
                <a16:creationId xmlns:a16="http://schemas.microsoft.com/office/drawing/2014/main" id="{02E9182E-0048-4220-BE33-C57F639C4F6F}"/>
              </a:ext>
            </a:extLst>
          </p:cNvPr>
          <p:cNvSpPr/>
          <p:nvPr/>
        </p:nvSpPr>
        <p:spPr>
          <a:xfrm flipH="1">
            <a:off x="49442" y="417666"/>
            <a:ext cx="148638" cy="609485"/>
          </a:xfrm>
          <a:prstGeom prst="rect">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graphicFrame>
        <p:nvGraphicFramePr>
          <p:cNvPr id="8" name="Content Placeholder 3">
            <a:extLst>
              <a:ext uri="{FF2B5EF4-FFF2-40B4-BE49-F238E27FC236}">
                <a16:creationId xmlns:a16="http://schemas.microsoft.com/office/drawing/2014/main" id="{8B518AE8-0ABE-4A88-A03D-B70B0FD287AE}"/>
              </a:ext>
            </a:extLst>
          </p:cNvPr>
          <p:cNvGraphicFramePr>
            <a:graphicFrameLocks/>
          </p:cNvGraphicFramePr>
          <p:nvPr>
            <p:extLst>
              <p:ext uri="{D42A27DB-BD31-4B8C-83A1-F6EECF244321}">
                <p14:modId xmlns:p14="http://schemas.microsoft.com/office/powerpoint/2010/main" val="1748213370"/>
              </p:ext>
            </p:extLst>
          </p:nvPr>
        </p:nvGraphicFramePr>
        <p:xfrm>
          <a:off x="507628" y="1162526"/>
          <a:ext cx="8305796" cy="3524461"/>
        </p:xfrm>
        <a:graphic>
          <a:graphicData uri="http://schemas.openxmlformats.org/drawingml/2006/table">
            <a:tbl>
              <a:tblPr firstRow="1" bandRow="1">
                <a:tableStyleId>{5940675A-B579-460E-94D1-54222C63F5DA}</a:tableStyleId>
              </a:tblPr>
              <a:tblGrid>
                <a:gridCol w="1058470">
                  <a:extLst>
                    <a:ext uri="{9D8B030D-6E8A-4147-A177-3AD203B41FA5}">
                      <a16:colId xmlns:a16="http://schemas.microsoft.com/office/drawing/2014/main" val="20000"/>
                    </a:ext>
                  </a:extLst>
                </a:gridCol>
                <a:gridCol w="395946">
                  <a:extLst>
                    <a:ext uri="{9D8B030D-6E8A-4147-A177-3AD203B41FA5}">
                      <a16:colId xmlns:a16="http://schemas.microsoft.com/office/drawing/2014/main" val="20001"/>
                    </a:ext>
                  </a:extLst>
                </a:gridCol>
                <a:gridCol w="395946">
                  <a:extLst>
                    <a:ext uri="{9D8B030D-6E8A-4147-A177-3AD203B41FA5}">
                      <a16:colId xmlns:a16="http://schemas.microsoft.com/office/drawing/2014/main" val="20002"/>
                    </a:ext>
                  </a:extLst>
                </a:gridCol>
                <a:gridCol w="395946">
                  <a:extLst>
                    <a:ext uri="{9D8B030D-6E8A-4147-A177-3AD203B41FA5}">
                      <a16:colId xmlns:a16="http://schemas.microsoft.com/office/drawing/2014/main" val="20003"/>
                    </a:ext>
                  </a:extLst>
                </a:gridCol>
                <a:gridCol w="395946">
                  <a:extLst>
                    <a:ext uri="{9D8B030D-6E8A-4147-A177-3AD203B41FA5}">
                      <a16:colId xmlns:a16="http://schemas.microsoft.com/office/drawing/2014/main" val="20004"/>
                    </a:ext>
                  </a:extLst>
                </a:gridCol>
                <a:gridCol w="395946">
                  <a:extLst>
                    <a:ext uri="{9D8B030D-6E8A-4147-A177-3AD203B41FA5}">
                      <a16:colId xmlns:a16="http://schemas.microsoft.com/office/drawing/2014/main" val="20005"/>
                    </a:ext>
                  </a:extLst>
                </a:gridCol>
                <a:gridCol w="395946">
                  <a:extLst>
                    <a:ext uri="{9D8B030D-6E8A-4147-A177-3AD203B41FA5}">
                      <a16:colId xmlns:a16="http://schemas.microsoft.com/office/drawing/2014/main" val="20006"/>
                    </a:ext>
                  </a:extLst>
                </a:gridCol>
                <a:gridCol w="395946">
                  <a:extLst>
                    <a:ext uri="{9D8B030D-6E8A-4147-A177-3AD203B41FA5}">
                      <a16:colId xmlns:a16="http://schemas.microsoft.com/office/drawing/2014/main" val="20007"/>
                    </a:ext>
                  </a:extLst>
                </a:gridCol>
                <a:gridCol w="395946">
                  <a:extLst>
                    <a:ext uri="{9D8B030D-6E8A-4147-A177-3AD203B41FA5}">
                      <a16:colId xmlns:a16="http://schemas.microsoft.com/office/drawing/2014/main" val="20008"/>
                    </a:ext>
                  </a:extLst>
                </a:gridCol>
                <a:gridCol w="395946">
                  <a:extLst>
                    <a:ext uri="{9D8B030D-6E8A-4147-A177-3AD203B41FA5}">
                      <a16:colId xmlns:a16="http://schemas.microsoft.com/office/drawing/2014/main" val="20009"/>
                    </a:ext>
                  </a:extLst>
                </a:gridCol>
                <a:gridCol w="395946">
                  <a:extLst>
                    <a:ext uri="{9D8B030D-6E8A-4147-A177-3AD203B41FA5}">
                      <a16:colId xmlns:a16="http://schemas.microsoft.com/office/drawing/2014/main" val="20010"/>
                    </a:ext>
                  </a:extLst>
                </a:gridCol>
                <a:gridCol w="395946">
                  <a:extLst>
                    <a:ext uri="{9D8B030D-6E8A-4147-A177-3AD203B41FA5}">
                      <a16:colId xmlns:a16="http://schemas.microsoft.com/office/drawing/2014/main" val="20011"/>
                    </a:ext>
                  </a:extLst>
                </a:gridCol>
                <a:gridCol w="395946">
                  <a:extLst>
                    <a:ext uri="{9D8B030D-6E8A-4147-A177-3AD203B41FA5}">
                      <a16:colId xmlns:a16="http://schemas.microsoft.com/office/drawing/2014/main" val="20012"/>
                    </a:ext>
                  </a:extLst>
                </a:gridCol>
                <a:gridCol w="395946">
                  <a:extLst>
                    <a:ext uri="{9D8B030D-6E8A-4147-A177-3AD203B41FA5}">
                      <a16:colId xmlns:a16="http://schemas.microsoft.com/office/drawing/2014/main" val="20013"/>
                    </a:ext>
                  </a:extLst>
                </a:gridCol>
                <a:gridCol w="395946">
                  <a:extLst>
                    <a:ext uri="{9D8B030D-6E8A-4147-A177-3AD203B41FA5}">
                      <a16:colId xmlns:a16="http://schemas.microsoft.com/office/drawing/2014/main" val="20014"/>
                    </a:ext>
                  </a:extLst>
                </a:gridCol>
                <a:gridCol w="395946">
                  <a:extLst>
                    <a:ext uri="{9D8B030D-6E8A-4147-A177-3AD203B41FA5}">
                      <a16:colId xmlns:a16="http://schemas.microsoft.com/office/drawing/2014/main" val="20015"/>
                    </a:ext>
                  </a:extLst>
                </a:gridCol>
                <a:gridCol w="395946">
                  <a:extLst>
                    <a:ext uri="{9D8B030D-6E8A-4147-A177-3AD203B41FA5}">
                      <a16:colId xmlns:a16="http://schemas.microsoft.com/office/drawing/2014/main" val="20016"/>
                    </a:ext>
                  </a:extLst>
                </a:gridCol>
                <a:gridCol w="395946">
                  <a:extLst>
                    <a:ext uri="{9D8B030D-6E8A-4147-A177-3AD203B41FA5}">
                      <a16:colId xmlns:a16="http://schemas.microsoft.com/office/drawing/2014/main" val="20017"/>
                    </a:ext>
                  </a:extLst>
                </a:gridCol>
                <a:gridCol w="516244">
                  <a:extLst>
                    <a:ext uri="{9D8B030D-6E8A-4147-A177-3AD203B41FA5}">
                      <a16:colId xmlns:a16="http://schemas.microsoft.com/office/drawing/2014/main" val="20018"/>
                    </a:ext>
                  </a:extLst>
                </a:gridCol>
              </a:tblGrid>
              <a:tr h="324280">
                <a:tc gridSpan="3">
                  <a:txBody>
                    <a:bodyPr/>
                    <a:lstStyle/>
                    <a:p>
                      <a:pPr algn="ctr"/>
                      <a:r>
                        <a:rPr lang="en-US" sz="1800" dirty="0">
                          <a:latin typeface="Gotham Medium" panose="02000603030000020004" pitchFamily="2" charset="0"/>
                        </a:rPr>
                        <a:t>S.I.</a:t>
                      </a:r>
                      <a:r>
                        <a:rPr lang="en-US" sz="1800" baseline="0" dirty="0">
                          <a:latin typeface="Gotham Medium" panose="02000603030000020004" pitchFamily="2" charset="0"/>
                        </a:rPr>
                        <a:t>   -  60</a:t>
                      </a:r>
                      <a:endParaRPr lang="en-IN" sz="18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75000"/>
                      </a:schemeClr>
                    </a:solidFill>
                  </a:tcPr>
                </a:tc>
                <a:tc hMerge="1">
                  <a:txBody>
                    <a:bodyPr/>
                    <a:lstStyle/>
                    <a:p>
                      <a:endParaRPr lang="en-IN"/>
                    </a:p>
                  </a:txBody>
                  <a:tcPr/>
                </a:tc>
                <a:tc hMerge="1">
                  <a:txBody>
                    <a:bodyPr/>
                    <a:lstStyle/>
                    <a:p>
                      <a:endParaRPr lang="en-IN"/>
                    </a:p>
                  </a:txBody>
                  <a:tcPr/>
                </a:tc>
                <a:tc gridSpan="4">
                  <a:txBody>
                    <a:bodyPr/>
                    <a:lstStyle/>
                    <a:p>
                      <a:pPr algn="ctr"/>
                      <a:r>
                        <a:rPr lang="en-US" sz="1600" dirty="0">
                          <a:latin typeface="Gotham Medium" panose="02000603030000020004" pitchFamily="2" charset="0"/>
                        </a:rPr>
                        <a:t>MSCAP - 60 </a:t>
                      </a:r>
                      <a:endParaRPr lang="en-IN" sz="16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75000"/>
                      </a:schemeClr>
                    </a:solidFill>
                  </a:tcPr>
                </a:tc>
                <a:tc hMerge="1">
                  <a:txBody>
                    <a:bodyPr/>
                    <a:lstStyle/>
                    <a:p>
                      <a:endParaRPr lang="en-IN"/>
                    </a:p>
                  </a:txBody>
                  <a:tcPr/>
                </a:tc>
                <a:tc hMerge="1">
                  <a:txBody>
                    <a:bodyPr/>
                    <a:lstStyle/>
                    <a:p>
                      <a:pPr algn="ctr"/>
                      <a:endParaRPr lang="en-IN" sz="1800" dirty="0"/>
                    </a:p>
                  </a:txBody>
                  <a:tcPr marT="45718" marB="45718"/>
                </a:tc>
                <a:tc hMerge="1">
                  <a:txBody>
                    <a:bodyPr/>
                    <a:lstStyle/>
                    <a:p>
                      <a:endParaRPr lang="en-IN" dirty="0"/>
                    </a:p>
                  </a:txBody>
                  <a:tcPr/>
                </a:tc>
                <a:tc gridSpan="6">
                  <a:txBody>
                    <a:bodyPr/>
                    <a:lstStyle/>
                    <a:p>
                      <a:pPr algn="ctr"/>
                      <a:r>
                        <a:rPr lang="en-US" sz="1800" dirty="0">
                          <a:latin typeface="Gotham Medium" panose="02000603030000020004" pitchFamily="2" charset="0"/>
                        </a:rPr>
                        <a:t>AIL – 0</a:t>
                      </a:r>
                      <a:endParaRPr lang="en-IN" sz="18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75000"/>
                      </a:schemeClr>
                    </a:solidFill>
                  </a:tcPr>
                </a:tc>
                <a:tc hMerge="1">
                  <a:txBody>
                    <a:bodyPr/>
                    <a:lstStyle/>
                    <a:p>
                      <a:pPr algn="ctr"/>
                      <a:endParaRPr lang="en-IN" dirty="0"/>
                    </a:p>
                  </a:txBody>
                  <a:tcPr/>
                </a:tc>
                <a:tc hMerge="1">
                  <a:txBody>
                    <a:bodyPr/>
                    <a:lstStyle/>
                    <a:p>
                      <a:pPr algn="ctr"/>
                      <a:endParaRPr lang="en-IN" dirty="0"/>
                    </a:p>
                  </a:txBody>
                  <a:tcPr/>
                </a:tc>
                <a:tc hMerge="1">
                  <a:txBody>
                    <a:bodyPr/>
                    <a:lstStyle/>
                    <a:p>
                      <a:pPr algn="ctr"/>
                      <a:endParaRPr lang="en-IN" dirty="0"/>
                    </a:p>
                  </a:txBody>
                  <a:tcPr/>
                </a:tc>
                <a:tc hMerge="1">
                  <a:txBody>
                    <a:bodyPr/>
                    <a:lstStyle/>
                    <a:p>
                      <a:pPr algn="ctr"/>
                      <a:endParaRPr lang="en-IN" sz="1800" dirty="0"/>
                    </a:p>
                  </a:txBody>
                  <a:tcPr marT="45718" marB="45718"/>
                </a:tc>
                <a:tc hMerge="1">
                  <a:txBody>
                    <a:bodyPr/>
                    <a:lstStyle/>
                    <a:p>
                      <a:pPr algn="ctr"/>
                      <a:endParaRPr lang="en-IN" dirty="0"/>
                    </a:p>
                  </a:txBody>
                  <a:tcPr/>
                </a:tc>
                <a:tc gridSpan="6">
                  <a:txBody>
                    <a:bodyPr/>
                    <a:lstStyle/>
                    <a:p>
                      <a:pPr algn="ctr"/>
                      <a:r>
                        <a:rPr lang="en-US" sz="1800" dirty="0">
                          <a:latin typeface="Gotham Medium" panose="02000603030000020004" pitchFamily="2" charset="0"/>
                        </a:rPr>
                        <a:t>IL</a:t>
                      </a:r>
                      <a:r>
                        <a:rPr lang="en-US" sz="1800" baseline="0" dirty="0">
                          <a:latin typeface="Gotham Medium" panose="02000603030000020004" pitchFamily="2" charset="0"/>
                        </a:rPr>
                        <a:t> - 0</a:t>
                      </a:r>
                      <a:endParaRPr lang="en-IN" sz="18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75000"/>
                      </a:schemeClr>
                    </a:solidFill>
                  </a:tcPr>
                </a:tc>
                <a:tc hMerge="1">
                  <a:txBody>
                    <a:bodyPr/>
                    <a:lstStyle/>
                    <a:p>
                      <a:pPr algn="ctr"/>
                      <a:endParaRPr lang="en-IN" dirty="0"/>
                    </a:p>
                  </a:txBody>
                  <a:tcPr/>
                </a:tc>
                <a:tc hMerge="1">
                  <a:txBody>
                    <a:bodyPr/>
                    <a:lstStyle/>
                    <a:p>
                      <a:pPr algn="ctr"/>
                      <a:endParaRPr lang="en-IN" dirty="0"/>
                    </a:p>
                  </a:txBody>
                  <a:tcPr/>
                </a:tc>
                <a:tc hMerge="1">
                  <a:txBody>
                    <a:bodyPr/>
                    <a:lstStyle/>
                    <a:p>
                      <a:endParaRPr lang="en-IN"/>
                    </a:p>
                  </a:txBody>
                  <a:tcPr/>
                </a:tc>
                <a:tc hMerge="1">
                  <a:txBody>
                    <a:bodyPr/>
                    <a:lstStyle/>
                    <a:p>
                      <a:pPr algn="ctr"/>
                      <a:endParaRPr lang="en-IN" dirty="0"/>
                    </a:p>
                  </a:txBody>
                  <a:tcPr/>
                </a:tc>
                <a:tc hMerge="1">
                  <a:txBody>
                    <a:bodyPr/>
                    <a:lstStyle/>
                    <a:p>
                      <a:pPr algn="ctr"/>
                      <a:endParaRPr lang="en-IN" dirty="0"/>
                    </a:p>
                  </a:txBody>
                  <a:tcPr/>
                </a:tc>
                <a:extLst>
                  <a:ext uri="{0D108BD9-81ED-4DB2-BD59-A6C34878D82A}">
                    <a16:rowId xmlns:a16="http://schemas.microsoft.com/office/drawing/2014/main" val="10000"/>
                  </a:ext>
                </a:extLst>
              </a:tr>
              <a:tr h="349514">
                <a:tc>
                  <a:txBody>
                    <a:bodyPr/>
                    <a:lstStyle/>
                    <a:p>
                      <a:pPr algn="ctr"/>
                      <a:r>
                        <a:rPr lang="en-US" sz="1200" dirty="0">
                          <a:latin typeface="Gotham Medium" panose="02000603030000020004" pitchFamily="2" charset="0"/>
                        </a:rPr>
                        <a:t>Category</a:t>
                      </a:r>
                      <a:endParaRPr lang="en-IN" sz="1200" b="0" dirty="0">
                        <a:solidFill>
                          <a:schemeClr val="tx1"/>
                        </a:solidFill>
                        <a:latin typeface="Gotham Medium" panose="02000603030000020004" pitchFamily="2" charset="0"/>
                      </a:endParaRPr>
                    </a:p>
                  </a:txBody>
                  <a:tcPr marL="68581" marR="68581" marT="34289" marB="34289" anchor="ctr">
                    <a:solidFill>
                      <a:srgbClr val="FF97A1"/>
                    </a:solidFill>
                  </a:tcPr>
                </a:tc>
                <a:tc gridSpan="2">
                  <a:txBody>
                    <a:bodyPr/>
                    <a:lstStyle/>
                    <a:p>
                      <a:pPr algn="ctr"/>
                      <a:r>
                        <a:rPr lang="en-US" sz="1200" dirty="0">
                          <a:latin typeface="Gotham Medium" panose="02000603030000020004" pitchFamily="2" charset="0"/>
                        </a:rPr>
                        <a:t>Open</a:t>
                      </a:r>
                      <a:endParaRPr lang="en-IN" sz="1200" b="0"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a:p>
                  </a:txBody>
                  <a:tcPr/>
                </a:tc>
                <a:tc gridSpan="2">
                  <a:txBody>
                    <a:bodyPr/>
                    <a:lstStyle/>
                    <a:p>
                      <a:pPr algn="ctr"/>
                      <a:r>
                        <a:rPr lang="en-US" sz="1200" dirty="0">
                          <a:latin typeface="Gotham Medium" panose="02000603030000020004" pitchFamily="2" charset="0"/>
                        </a:rPr>
                        <a:t>SC</a:t>
                      </a:r>
                      <a:endParaRPr lang="en-IN" sz="1200" b="0"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a:p>
                  </a:txBody>
                  <a:tcPr/>
                </a:tc>
                <a:tc gridSpan="2">
                  <a:txBody>
                    <a:bodyPr/>
                    <a:lstStyle/>
                    <a:p>
                      <a:pPr algn="ctr"/>
                      <a:r>
                        <a:rPr lang="en-US" sz="1200" dirty="0">
                          <a:latin typeface="Gotham Medium" panose="02000603030000020004" pitchFamily="2" charset="0"/>
                        </a:rPr>
                        <a:t>ST</a:t>
                      </a:r>
                      <a:endParaRPr lang="en-IN" sz="1200" b="0"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VJ/DT</a:t>
                      </a:r>
                      <a:endParaRPr lang="en-IN" sz="1200" b="0"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NTB</a:t>
                      </a:r>
                      <a:endParaRPr lang="en-IN" sz="1200" b="0"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NTC</a:t>
                      </a:r>
                      <a:endParaRPr lang="en-IN" sz="1200" b="0"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NTD</a:t>
                      </a:r>
                      <a:endParaRPr lang="en-IN" sz="1200" b="0"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OBC</a:t>
                      </a:r>
                      <a:endParaRPr lang="en-IN" sz="1200" b="0"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a:p>
                  </a:txBody>
                  <a:tcPr/>
                </a:tc>
                <a:tc>
                  <a:txBody>
                    <a:bodyPr/>
                    <a:lstStyle/>
                    <a:p>
                      <a:pPr algn="ctr"/>
                      <a:r>
                        <a:rPr lang="en-US" sz="1200" dirty="0">
                          <a:latin typeface="Gotham Medium" panose="02000603030000020004" pitchFamily="2" charset="0"/>
                        </a:rPr>
                        <a:t>PH</a:t>
                      </a:r>
                      <a:endParaRPr lang="en-IN" sz="1200" b="0" dirty="0">
                        <a:solidFill>
                          <a:schemeClr val="tx1"/>
                        </a:solidFill>
                        <a:latin typeface="Gotham Medium" panose="02000603030000020004" pitchFamily="2" charset="0"/>
                      </a:endParaRPr>
                    </a:p>
                  </a:txBody>
                  <a:tcPr marL="68581" marR="68581" marT="34289" marB="34289" anchor="ctr">
                    <a:solidFill>
                      <a:srgbClr val="FF97A1"/>
                    </a:solidFill>
                  </a:tcPr>
                </a:tc>
                <a:tc>
                  <a:txBody>
                    <a:bodyPr/>
                    <a:lstStyle/>
                    <a:p>
                      <a:pPr algn="ctr"/>
                      <a:r>
                        <a:rPr lang="en-US" sz="1200" dirty="0">
                          <a:latin typeface="Gotham Medium" panose="02000603030000020004" pitchFamily="2" charset="0"/>
                        </a:rPr>
                        <a:t>DEF</a:t>
                      </a:r>
                      <a:endParaRPr lang="en-IN" sz="1200" b="0" dirty="0">
                        <a:solidFill>
                          <a:schemeClr val="tx1"/>
                        </a:solidFill>
                        <a:latin typeface="Gotham Medium" panose="02000603030000020004" pitchFamily="2" charset="0"/>
                      </a:endParaRPr>
                    </a:p>
                  </a:txBody>
                  <a:tcPr marL="68581" marR="68581" marT="34289" marB="34289" anchor="ctr">
                    <a:solidFill>
                      <a:srgbClr val="FF97A1"/>
                    </a:solidFill>
                  </a:tcPr>
                </a:tc>
                <a:extLst>
                  <a:ext uri="{0D108BD9-81ED-4DB2-BD59-A6C34878D82A}">
                    <a16:rowId xmlns:a16="http://schemas.microsoft.com/office/drawing/2014/main" val="10001"/>
                  </a:ext>
                </a:extLst>
              </a:tr>
              <a:tr h="259423">
                <a:tc>
                  <a:txBody>
                    <a:bodyPr/>
                    <a:lstStyle/>
                    <a:p>
                      <a:r>
                        <a:rPr lang="en-US" sz="1200" dirty="0">
                          <a:latin typeface="Gotham Medium" panose="02000603030000020004" pitchFamily="2" charset="0"/>
                        </a:rPr>
                        <a:t>Gen./Lad.</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extLst>
                  <a:ext uri="{0D108BD9-81ED-4DB2-BD59-A6C34878D82A}">
                    <a16:rowId xmlns:a16="http://schemas.microsoft.com/office/drawing/2014/main" val="10002"/>
                  </a:ext>
                </a:extLst>
              </a:tr>
              <a:tr h="259423">
                <a:tc>
                  <a:txBody>
                    <a:bodyPr/>
                    <a:lstStyle/>
                    <a:p>
                      <a:r>
                        <a:rPr lang="en-US" sz="1200" dirty="0">
                          <a:latin typeface="Gotham Medium" panose="02000603030000020004" pitchFamily="2" charset="0"/>
                        </a:rPr>
                        <a:t>State</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19</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8</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6</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2</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3</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2</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2</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8</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3</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2</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extLst>
                  <a:ext uri="{0D108BD9-81ED-4DB2-BD59-A6C34878D82A}">
                    <a16:rowId xmlns:a16="http://schemas.microsoft.com/office/drawing/2014/main" val="10003"/>
                  </a:ext>
                </a:extLst>
              </a:tr>
              <a:tr h="259423">
                <a:tc>
                  <a:txBody>
                    <a:bodyPr/>
                    <a:lstStyle/>
                    <a:p>
                      <a:r>
                        <a:rPr lang="en-US" sz="1200" dirty="0">
                          <a:latin typeface="Gotham Medium" panose="02000603030000020004" pitchFamily="2" charset="0"/>
                        </a:rPr>
                        <a:t>H</a:t>
                      </a:r>
                      <a:r>
                        <a:rPr lang="en-US" sz="1200" baseline="0" dirty="0">
                          <a:latin typeface="Gotham Medium" panose="02000603030000020004" pitchFamily="2" charset="0"/>
                        </a:rPr>
                        <a:t>U</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extLst>
                  <a:ext uri="{0D108BD9-81ED-4DB2-BD59-A6C34878D82A}">
                    <a16:rowId xmlns:a16="http://schemas.microsoft.com/office/drawing/2014/main" val="10004"/>
                  </a:ext>
                </a:extLst>
              </a:tr>
              <a:tr h="259423">
                <a:tc>
                  <a:txBody>
                    <a:bodyPr/>
                    <a:lstStyle/>
                    <a:p>
                      <a:r>
                        <a:rPr lang="en-US" sz="1200" dirty="0">
                          <a:latin typeface="Gotham Medium" panose="02000603030000020004" pitchFamily="2" charset="0"/>
                        </a:rPr>
                        <a:t>OTHU</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extLst>
                  <a:ext uri="{0D108BD9-81ED-4DB2-BD59-A6C34878D82A}">
                    <a16:rowId xmlns:a16="http://schemas.microsoft.com/office/drawing/2014/main" val="10005"/>
                  </a:ext>
                </a:extLst>
              </a:tr>
              <a:tr h="1794357">
                <a:tc gridSpan="19">
                  <a:txBody>
                    <a:bodyPr/>
                    <a:lstStyle/>
                    <a:p>
                      <a:r>
                        <a:rPr lang="en-US" sz="1400" dirty="0">
                          <a:latin typeface="Gotham Medium" panose="02000603030000020004" pitchFamily="2" charset="0"/>
                        </a:rPr>
                        <a:t>S.I. - Sanctioned Intake</a:t>
                      </a:r>
                    </a:p>
                    <a:p>
                      <a:r>
                        <a:rPr lang="en-US" sz="1400" dirty="0">
                          <a:latin typeface="Gotham Medium" panose="02000603030000020004" pitchFamily="2" charset="0"/>
                        </a:rPr>
                        <a:t>MSCAP -</a:t>
                      </a:r>
                      <a:r>
                        <a:rPr lang="en-US" sz="1400" baseline="0" dirty="0">
                          <a:latin typeface="Gotham Medium" panose="02000603030000020004" pitchFamily="2" charset="0"/>
                        </a:rPr>
                        <a:t> Maharashtra Seats under CAP</a:t>
                      </a:r>
                    </a:p>
                    <a:p>
                      <a:r>
                        <a:rPr lang="en-US" sz="1400" baseline="0" dirty="0">
                          <a:latin typeface="Gotham Medium" panose="02000603030000020004" pitchFamily="2" charset="0"/>
                        </a:rPr>
                        <a:t>AIL- All India level seats </a:t>
                      </a:r>
                    </a:p>
                    <a:p>
                      <a:r>
                        <a:rPr lang="en-US" sz="1400" baseline="0" dirty="0">
                          <a:latin typeface="Gotham Medium" panose="02000603030000020004" pitchFamily="2" charset="0"/>
                        </a:rPr>
                        <a:t>IL- Seats to be filled by Management of respective institute</a:t>
                      </a:r>
                    </a:p>
                    <a:p>
                      <a:r>
                        <a:rPr lang="en-US" sz="1400" baseline="0" dirty="0">
                          <a:latin typeface="Gotham Medium" panose="02000603030000020004" pitchFamily="2" charset="0"/>
                        </a:rPr>
                        <a:t>G- Seats for general (both for boys and girls)</a:t>
                      </a:r>
                    </a:p>
                    <a:p>
                      <a:r>
                        <a:rPr lang="en-US" sz="1400" baseline="0" dirty="0">
                          <a:latin typeface="Gotham Medium" panose="02000603030000020004" pitchFamily="2" charset="0"/>
                        </a:rPr>
                        <a:t>L - Seats reserved for girls</a:t>
                      </a:r>
                    </a:p>
                    <a:p>
                      <a:r>
                        <a:rPr lang="en-US" sz="1400" baseline="0" dirty="0">
                          <a:latin typeface="Gotham Medium" panose="02000603030000020004" pitchFamily="2" charset="0"/>
                        </a:rPr>
                        <a:t>HU – Home University</a:t>
                      </a:r>
                    </a:p>
                    <a:p>
                      <a:r>
                        <a:rPr lang="en-US" sz="1400" baseline="0" dirty="0">
                          <a:latin typeface="Gotham Medium" panose="02000603030000020004" pitchFamily="2" charset="0"/>
                        </a:rPr>
                        <a:t>OTHU - Other than home University</a:t>
                      </a:r>
                      <a:endParaRPr lang="en-US" sz="1400" b="1" baseline="0" dirty="0">
                        <a:solidFill>
                          <a:schemeClr val="tx1"/>
                        </a:solidFill>
                        <a:latin typeface="Gotham Medium" panose="02000603030000020004" pitchFamily="2" charset="0"/>
                      </a:endParaRPr>
                    </a:p>
                  </a:txBody>
                  <a:tcPr marL="68581" marR="68581" marT="34289" marB="34289"/>
                </a:tc>
                <a:tc hMerge="1">
                  <a:txBody>
                    <a:bodyPr/>
                    <a:lstStyle/>
                    <a:p>
                      <a:endParaRPr lang="en-IN" dirty="0"/>
                    </a:p>
                  </a:txBody>
                  <a:tcPr marT="45718" marB="45718"/>
                </a:tc>
                <a:tc hMerge="1">
                  <a:txBody>
                    <a:bodyPr/>
                    <a:lstStyle/>
                    <a:p>
                      <a:endParaRPr lang="en-IN" dirty="0"/>
                    </a:p>
                  </a:txBody>
                  <a:tcPr marT="45718" marB="45718"/>
                </a:tc>
                <a:tc hMerge="1">
                  <a:txBody>
                    <a:bodyPr/>
                    <a:lstStyle/>
                    <a:p>
                      <a:endParaRPr lang="en-IN" dirty="0"/>
                    </a:p>
                  </a:txBody>
                  <a:tcPr marT="45718" marB="45718"/>
                </a:tc>
                <a:tc hMerge="1">
                  <a:txBody>
                    <a:bodyPr/>
                    <a:lstStyle/>
                    <a:p>
                      <a:endParaRPr lang="en-IN"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966973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3">
            <a:extLst>
              <a:ext uri="{FF2B5EF4-FFF2-40B4-BE49-F238E27FC236}">
                <a16:creationId xmlns:a16="http://schemas.microsoft.com/office/drawing/2014/main" id="{C92D0A2A-D3A9-4792-882E-3126B7793032}"/>
              </a:ext>
            </a:extLst>
          </p:cNvPr>
          <p:cNvGraphicFramePr>
            <a:graphicFrameLocks/>
          </p:cNvGraphicFramePr>
          <p:nvPr>
            <p:extLst>
              <p:ext uri="{D42A27DB-BD31-4B8C-83A1-F6EECF244321}">
                <p14:modId xmlns:p14="http://schemas.microsoft.com/office/powerpoint/2010/main" val="4283374677"/>
              </p:ext>
            </p:extLst>
          </p:nvPr>
        </p:nvGraphicFramePr>
        <p:xfrm>
          <a:off x="504386" y="1162526"/>
          <a:ext cx="8305797" cy="3524461"/>
        </p:xfrm>
        <a:graphic>
          <a:graphicData uri="http://schemas.openxmlformats.org/drawingml/2006/table">
            <a:tbl>
              <a:tblPr firstRow="1" bandRow="1">
                <a:tableStyleId>{5940675A-B579-460E-94D1-54222C63F5DA}</a:tableStyleId>
              </a:tblPr>
              <a:tblGrid>
                <a:gridCol w="1005137">
                  <a:extLst>
                    <a:ext uri="{9D8B030D-6E8A-4147-A177-3AD203B41FA5}">
                      <a16:colId xmlns:a16="http://schemas.microsoft.com/office/drawing/2014/main" val="20000"/>
                    </a:ext>
                  </a:extLst>
                </a:gridCol>
                <a:gridCol w="365033">
                  <a:extLst>
                    <a:ext uri="{9D8B030D-6E8A-4147-A177-3AD203B41FA5}">
                      <a16:colId xmlns:a16="http://schemas.microsoft.com/office/drawing/2014/main" val="20001"/>
                    </a:ext>
                  </a:extLst>
                </a:gridCol>
                <a:gridCol w="365033">
                  <a:extLst>
                    <a:ext uri="{9D8B030D-6E8A-4147-A177-3AD203B41FA5}">
                      <a16:colId xmlns:a16="http://schemas.microsoft.com/office/drawing/2014/main" val="20002"/>
                    </a:ext>
                  </a:extLst>
                </a:gridCol>
                <a:gridCol w="365033">
                  <a:extLst>
                    <a:ext uri="{9D8B030D-6E8A-4147-A177-3AD203B41FA5}">
                      <a16:colId xmlns:a16="http://schemas.microsoft.com/office/drawing/2014/main" val="20003"/>
                    </a:ext>
                  </a:extLst>
                </a:gridCol>
                <a:gridCol w="365033">
                  <a:extLst>
                    <a:ext uri="{9D8B030D-6E8A-4147-A177-3AD203B41FA5}">
                      <a16:colId xmlns:a16="http://schemas.microsoft.com/office/drawing/2014/main" val="20004"/>
                    </a:ext>
                  </a:extLst>
                </a:gridCol>
                <a:gridCol w="365033">
                  <a:extLst>
                    <a:ext uri="{9D8B030D-6E8A-4147-A177-3AD203B41FA5}">
                      <a16:colId xmlns:a16="http://schemas.microsoft.com/office/drawing/2014/main" val="20005"/>
                    </a:ext>
                  </a:extLst>
                </a:gridCol>
                <a:gridCol w="365033">
                  <a:extLst>
                    <a:ext uri="{9D8B030D-6E8A-4147-A177-3AD203B41FA5}">
                      <a16:colId xmlns:a16="http://schemas.microsoft.com/office/drawing/2014/main" val="20006"/>
                    </a:ext>
                  </a:extLst>
                </a:gridCol>
                <a:gridCol w="365033">
                  <a:extLst>
                    <a:ext uri="{9D8B030D-6E8A-4147-A177-3AD203B41FA5}">
                      <a16:colId xmlns:a16="http://schemas.microsoft.com/office/drawing/2014/main" val="20007"/>
                    </a:ext>
                  </a:extLst>
                </a:gridCol>
                <a:gridCol w="365033">
                  <a:extLst>
                    <a:ext uri="{9D8B030D-6E8A-4147-A177-3AD203B41FA5}">
                      <a16:colId xmlns:a16="http://schemas.microsoft.com/office/drawing/2014/main" val="20008"/>
                    </a:ext>
                  </a:extLst>
                </a:gridCol>
                <a:gridCol w="365033">
                  <a:extLst>
                    <a:ext uri="{9D8B030D-6E8A-4147-A177-3AD203B41FA5}">
                      <a16:colId xmlns:a16="http://schemas.microsoft.com/office/drawing/2014/main" val="20009"/>
                    </a:ext>
                  </a:extLst>
                </a:gridCol>
                <a:gridCol w="365033">
                  <a:extLst>
                    <a:ext uri="{9D8B030D-6E8A-4147-A177-3AD203B41FA5}">
                      <a16:colId xmlns:a16="http://schemas.microsoft.com/office/drawing/2014/main" val="20010"/>
                    </a:ext>
                  </a:extLst>
                </a:gridCol>
                <a:gridCol w="365033">
                  <a:extLst>
                    <a:ext uri="{9D8B030D-6E8A-4147-A177-3AD203B41FA5}">
                      <a16:colId xmlns:a16="http://schemas.microsoft.com/office/drawing/2014/main" val="20011"/>
                    </a:ext>
                  </a:extLst>
                </a:gridCol>
                <a:gridCol w="365033">
                  <a:extLst>
                    <a:ext uri="{9D8B030D-6E8A-4147-A177-3AD203B41FA5}">
                      <a16:colId xmlns:a16="http://schemas.microsoft.com/office/drawing/2014/main" val="20012"/>
                    </a:ext>
                  </a:extLst>
                </a:gridCol>
                <a:gridCol w="365033">
                  <a:extLst>
                    <a:ext uri="{9D8B030D-6E8A-4147-A177-3AD203B41FA5}">
                      <a16:colId xmlns:a16="http://schemas.microsoft.com/office/drawing/2014/main" val="20013"/>
                    </a:ext>
                  </a:extLst>
                </a:gridCol>
                <a:gridCol w="365033">
                  <a:extLst>
                    <a:ext uri="{9D8B030D-6E8A-4147-A177-3AD203B41FA5}">
                      <a16:colId xmlns:a16="http://schemas.microsoft.com/office/drawing/2014/main" val="20014"/>
                    </a:ext>
                  </a:extLst>
                </a:gridCol>
                <a:gridCol w="365033">
                  <a:extLst>
                    <a:ext uri="{9D8B030D-6E8A-4147-A177-3AD203B41FA5}">
                      <a16:colId xmlns:a16="http://schemas.microsoft.com/office/drawing/2014/main" val="20015"/>
                    </a:ext>
                  </a:extLst>
                </a:gridCol>
                <a:gridCol w="365033">
                  <a:extLst>
                    <a:ext uri="{9D8B030D-6E8A-4147-A177-3AD203B41FA5}">
                      <a16:colId xmlns:a16="http://schemas.microsoft.com/office/drawing/2014/main" val="20016"/>
                    </a:ext>
                  </a:extLst>
                </a:gridCol>
                <a:gridCol w="365033">
                  <a:extLst>
                    <a:ext uri="{9D8B030D-6E8A-4147-A177-3AD203B41FA5}">
                      <a16:colId xmlns:a16="http://schemas.microsoft.com/office/drawing/2014/main" val="20017"/>
                    </a:ext>
                  </a:extLst>
                </a:gridCol>
                <a:gridCol w="365033">
                  <a:extLst>
                    <a:ext uri="{9D8B030D-6E8A-4147-A177-3AD203B41FA5}">
                      <a16:colId xmlns:a16="http://schemas.microsoft.com/office/drawing/2014/main" val="20018"/>
                    </a:ext>
                  </a:extLst>
                </a:gridCol>
                <a:gridCol w="365033">
                  <a:extLst>
                    <a:ext uri="{9D8B030D-6E8A-4147-A177-3AD203B41FA5}">
                      <a16:colId xmlns:a16="http://schemas.microsoft.com/office/drawing/2014/main" val="20019"/>
                    </a:ext>
                  </a:extLst>
                </a:gridCol>
                <a:gridCol w="365033">
                  <a:extLst>
                    <a:ext uri="{9D8B030D-6E8A-4147-A177-3AD203B41FA5}">
                      <a16:colId xmlns:a16="http://schemas.microsoft.com/office/drawing/2014/main" val="20020"/>
                    </a:ext>
                  </a:extLst>
                </a:gridCol>
              </a:tblGrid>
              <a:tr h="348315">
                <a:tc gridSpan="3">
                  <a:txBody>
                    <a:bodyPr/>
                    <a:lstStyle/>
                    <a:p>
                      <a:pPr algn="ctr"/>
                      <a:r>
                        <a:rPr lang="en-US" sz="1800" dirty="0">
                          <a:latin typeface="Gotham Medium" panose="02000603030000020004" pitchFamily="2" charset="0"/>
                        </a:rPr>
                        <a:t>S.I.</a:t>
                      </a:r>
                      <a:r>
                        <a:rPr lang="en-US" sz="1800" baseline="0" dirty="0">
                          <a:latin typeface="Gotham Medium" panose="02000603030000020004" pitchFamily="2" charset="0"/>
                        </a:rPr>
                        <a:t>   -  60</a:t>
                      </a:r>
                      <a:endParaRPr lang="en-IN" sz="1800" b="1" dirty="0">
                        <a:solidFill>
                          <a:schemeClr val="tx1"/>
                        </a:solidFill>
                        <a:latin typeface="Gotham Medium" panose="02000603030000020004" pitchFamily="2" charset="0"/>
                      </a:endParaRPr>
                    </a:p>
                  </a:txBody>
                  <a:tcPr marL="68581" marR="68581" marT="34289" marB="34289" anchor="ctr">
                    <a:solidFill>
                      <a:schemeClr val="bg1">
                        <a:lumMod val="75000"/>
                      </a:schemeClr>
                    </a:solidFill>
                  </a:tcPr>
                </a:tc>
                <a:tc hMerge="1">
                  <a:txBody>
                    <a:bodyPr/>
                    <a:lstStyle/>
                    <a:p>
                      <a:endParaRPr lang="en-IN"/>
                    </a:p>
                  </a:txBody>
                  <a:tcPr/>
                </a:tc>
                <a:tc hMerge="1">
                  <a:txBody>
                    <a:bodyPr/>
                    <a:lstStyle/>
                    <a:p>
                      <a:endParaRPr lang="en-IN"/>
                    </a:p>
                  </a:txBody>
                  <a:tcPr/>
                </a:tc>
                <a:tc gridSpan="4">
                  <a:txBody>
                    <a:bodyPr/>
                    <a:lstStyle/>
                    <a:p>
                      <a:pPr algn="ctr"/>
                      <a:r>
                        <a:rPr lang="en-US" sz="1500" dirty="0">
                          <a:latin typeface="Gotham Medium" panose="02000603030000020004" pitchFamily="2" charset="0"/>
                        </a:rPr>
                        <a:t>MSCAP - 39 </a:t>
                      </a:r>
                      <a:endParaRPr lang="en-IN" sz="1500" b="1" dirty="0">
                        <a:solidFill>
                          <a:schemeClr val="tx1"/>
                        </a:solidFill>
                        <a:latin typeface="Gotham Medium" panose="02000603030000020004" pitchFamily="2" charset="0"/>
                      </a:endParaRPr>
                    </a:p>
                  </a:txBody>
                  <a:tcPr marL="68581" marR="68581" marT="34289" marB="34289" anchor="ctr">
                    <a:solidFill>
                      <a:schemeClr val="bg1">
                        <a:lumMod val="75000"/>
                      </a:schemeClr>
                    </a:solidFill>
                  </a:tcPr>
                </a:tc>
                <a:tc hMerge="1">
                  <a:txBody>
                    <a:bodyPr/>
                    <a:lstStyle/>
                    <a:p>
                      <a:endParaRPr lang="en-IN"/>
                    </a:p>
                  </a:txBody>
                  <a:tcPr/>
                </a:tc>
                <a:tc hMerge="1">
                  <a:txBody>
                    <a:bodyPr/>
                    <a:lstStyle/>
                    <a:p>
                      <a:pPr algn="ctr"/>
                      <a:endParaRPr lang="en-IN" sz="1800" dirty="0"/>
                    </a:p>
                  </a:txBody>
                  <a:tcPr marT="45718" marB="45718"/>
                </a:tc>
                <a:tc hMerge="1">
                  <a:txBody>
                    <a:bodyPr/>
                    <a:lstStyle/>
                    <a:p>
                      <a:endParaRPr lang="en-IN" dirty="0"/>
                    </a:p>
                  </a:txBody>
                  <a:tcPr/>
                </a:tc>
                <a:tc gridSpan="6">
                  <a:txBody>
                    <a:bodyPr/>
                    <a:lstStyle/>
                    <a:p>
                      <a:pPr algn="ctr"/>
                      <a:r>
                        <a:rPr lang="en-US" sz="1800" dirty="0">
                          <a:latin typeface="Gotham Medium" panose="02000603030000020004" pitchFamily="2" charset="0"/>
                        </a:rPr>
                        <a:t>AIL- 9</a:t>
                      </a:r>
                      <a:endParaRPr lang="en-IN" sz="1800" b="1" dirty="0">
                        <a:solidFill>
                          <a:schemeClr val="tx1"/>
                        </a:solidFill>
                        <a:latin typeface="Gotham Medium" panose="02000603030000020004" pitchFamily="2" charset="0"/>
                      </a:endParaRPr>
                    </a:p>
                  </a:txBody>
                  <a:tcPr marL="68581" marR="68581" marT="34289" marB="34289" anchor="ctr">
                    <a:solidFill>
                      <a:schemeClr val="bg1">
                        <a:lumMod val="75000"/>
                      </a:schemeClr>
                    </a:solidFill>
                  </a:tcPr>
                </a:tc>
                <a:tc hMerge="1">
                  <a:txBody>
                    <a:bodyPr/>
                    <a:lstStyle/>
                    <a:p>
                      <a:pPr algn="ctr"/>
                      <a:endParaRPr lang="en-IN" dirty="0"/>
                    </a:p>
                  </a:txBody>
                  <a:tcPr/>
                </a:tc>
                <a:tc hMerge="1">
                  <a:txBody>
                    <a:bodyPr/>
                    <a:lstStyle/>
                    <a:p>
                      <a:pPr algn="ctr"/>
                      <a:endParaRPr lang="en-IN" dirty="0"/>
                    </a:p>
                  </a:txBody>
                  <a:tcPr/>
                </a:tc>
                <a:tc hMerge="1">
                  <a:txBody>
                    <a:bodyPr/>
                    <a:lstStyle/>
                    <a:p>
                      <a:pPr algn="ctr"/>
                      <a:endParaRPr lang="en-IN" dirty="0"/>
                    </a:p>
                  </a:txBody>
                  <a:tcPr/>
                </a:tc>
                <a:tc hMerge="1">
                  <a:txBody>
                    <a:bodyPr/>
                    <a:lstStyle/>
                    <a:p>
                      <a:pPr algn="ctr"/>
                      <a:endParaRPr lang="en-IN" sz="1800" dirty="0"/>
                    </a:p>
                  </a:txBody>
                  <a:tcPr marT="45718" marB="45718"/>
                </a:tc>
                <a:tc hMerge="1">
                  <a:txBody>
                    <a:bodyPr/>
                    <a:lstStyle/>
                    <a:p>
                      <a:pPr algn="ctr"/>
                      <a:endParaRPr lang="en-IN" dirty="0"/>
                    </a:p>
                  </a:txBody>
                  <a:tcPr/>
                </a:tc>
                <a:tc gridSpan="8">
                  <a:txBody>
                    <a:bodyPr/>
                    <a:lstStyle/>
                    <a:p>
                      <a:pPr algn="ctr"/>
                      <a:r>
                        <a:rPr lang="en-US" sz="1800" dirty="0">
                          <a:latin typeface="Gotham Medium" panose="02000603030000020004" pitchFamily="2" charset="0"/>
                        </a:rPr>
                        <a:t>IL</a:t>
                      </a:r>
                      <a:r>
                        <a:rPr lang="en-US" sz="1800" baseline="0" dirty="0">
                          <a:latin typeface="Gotham Medium" panose="02000603030000020004" pitchFamily="2" charset="0"/>
                        </a:rPr>
                        <a:t> - 12</a:t>
                      </a:r>
                      <a:endParaRPr lang="en-IN" sz="1800" b="1" dirty="0">
                        <a:solidFill>
                          <a:schemeClr val="tx1"/>
                        </a:solidFill>
                        <a:latin typeface="Gotham Medium" panose="02000603030000020004" pitchFamily="2" charset="0"/>
                      </a:endParaRPr>
                    </a:p>
                  </a:txBody>
                  <a:tcPr marL="68581" marR="68581" marT="34289" marB="34289" anchor="ctr">
                    <a:solidFill>
                      <a:schemeClr val="bg1">
                        <a:lumMod val="75000"/>
                      </a:schemeClr>
                    </a:solidFill>
                  </a:tcPr>
                </a:tc>
                <a:tc hMerge="1">
                  <a:txBody>
                    <a:bodyPr/>
                    <a:lstStyle/>
                    <a:p>
                      <a:pPr algn="ctr"/>
                      <a:endParaRPr lang="en-IN" dirty="0"/>
                    </a:p>
                  </a:txBody>
                  <a:tcPr/>
                </a:tc>
                <a:tc hMerge="1">
                  <a:txBody>
                    <a:bodyPr/>
                    <a:lstStyle/>
                    <a:p>
                      <a:pPr algn="ctr"/>
                      <a:endParaRPr lang="en-IN" dirty="0"/>
                    </a:p>
                  </a:txBody>
                  <a:tcPr/>
                </a:tc>
                <a:tc hMerge="1">
                  <a:txBody>
                    <a:bodyPr/>
                    <a:lstStyle/>
                    <a:p>
                      <a:endParaRPr lang="en-IN"/>
                    </a:p>
                  </a:txBody>
                  <a:tcPr/>
                </a:tc>
                <a:tc hMerge="1">
                  <a:txBody>
                    <a:bodyPr/>
                    <a:lstStyle/>
                    <a:p>
                      <a:pPr algn="ctr"/>
                      <a:endParaRPr lang="en-IN" dirty="0"/>
                    </a:p>
                  </a:txBody>
                  <a:tcPr/>
                </a:tc>
                <a:tc hMerge="1">
                  <a:txBody>
                    <a:bodyPr/>
                    <a:lstStyle/>
                    <a:p>
                      <a:pPr algn="ctr"/>
                      <a:endParaRPr lang="en-IN" dirty="0"/>
                    </a:p>
                  </a:txBody>
                  <a:tcPr/>
                </a:tc>
                <a:tc hMerge="1">
                  <a:txBody>
                    <a:bodyPr/>
                    <a:lstStyle/>
                    <a:p>
                      <a:pPr algn="ctr"/>
                      <a:endParaRPr lang="en-IN" dirty="0"/>
                    </a:p>
                  </a:txBody>
                  <a:tcPr/>
                </a:tc>
                <a:tc hMerge="1">
                  <a:txBody>
                    <a:bodyPr/>
                    <a:lstStyle/>
                    <a:p>
                      <a:pPr algn="ctr"/>
                      <a:endParaRPr lang="en-IN" dirty="0"/>
                    </a:p>
                  </a:txBody>
                  <a:tcPr/>
                </a:tc>
                <a:extLst>
                  <a:ext uri="{0D108BD9-81ED-4DB2-BD59-A6C34878D82A}">
                    <a16:rowId xmlns:a16="http://schemas.microsoft.com/office/drawing/2014/main" val="10000"/>
                  </a:ext>
                </a:extLst>
              </a:tr>
              <a:tr h="271997">
                <a:tc>
                  <a:txBody>
                    <a:bodyPr/>
                    <a:lstStyle/>
                    <a:p>
                      <a:pPr algn="ctr"/>
                      <a:r>
                        <a:rPr lang="en-US" sz="1200" dirty="0">
                          <a:latin typeface="Gotham Medium" panose="02000603030000020004" pitchFamily="2" charset="0"/>
                        </a:rPr>
                        <a:t>Category</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FF97A1"/>
                    </a:solidFill>
                  </a:tcPr>
                </a:tc>
                <a:tc gridSpan="2">
                  <a:txBody>
                    <a:bodyPr/>
                    <a:lstStyle/>
                    <a:p>
                      <a:pPr algn="ctr"/>
                      <a:r>
                        <a:rPr lang="en-US" sz="1200" dirty="0">
                          <a:latin typeface="Gotham Medium" panose="02000603030000020004" pitchFamily="2" charset="0"/>
                        </a:rPr>
                        <a:t>Open</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FF97A1"/>
                    </a:solidFill>
                  </a:tcPr>
                </a:tc>
                <a:tc hMerge="1">
                  <a:txBody>
                    <a:bodyPr/>
                    <a:lstStyle/>
                    <a:p>
                      <a:endParaRPr lang="en-IN"/>
                    </a:p>
                  </a:txBody>
                  <a:tcPr/>
                </a:tc>
                <a:tc gridSpan="2">
                  <a:txBody>
                    <a:bodyPr/>
                    <a:lstStyle/>
                    <a:p>
                      <a:pPr algn="ctr"/>
                      <a:r>
                        <a:rPr lang="en-US" sz="1200" dirty="0">
                          <a:latin typeface="Gotham Medium" panose="02000603030000020004" pitchFamily="2" charset="0"/>
                        </a:rPr>
                        <a:t>SC</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FF97A1"/>
                    </a:solidFill>
                  </a:tcPr>
                </a:tc>
                <a:tc hMerge="1">
                  <a:txBody>
                    <a:bodyPr/>
                    <a:lstStyle/>
                    <a:p>
                      <a:endParaRPr lang="en-IN"/>
                    </a:p>
                  </a:txBody>
                  <a:tcPr/>
                </a:tc>
                <a:tc gridSpan="2">
                  <a:txBody>
                    <a:bodyPr/>
                    <a:lstStyle/>
                    <a:p>
                      <a:pPr algn="ctr"/>
                      <a:r>
                        <a:rPr lang="en-US" sz="1200" dirty="0">
                          <a:latin typeface="Gotham Medium" panose="02000603030000020004" pitchFamily="2" charset="0"/>
                        </a:rPr>
                        <a:t>S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VJ/D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NTB</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NTC</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NTD</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OBC</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FF97A1"/>
                    </a:solidFill>
                  </a:tcPr>
                </a:tc>
                <a:tc hMerge="1">
                  <a:txBody>
                    <a:bodyPr/>
                    <a:lstStyle/>
                    <a:p>
                      <a:endParaRPr lang="en-IN"/>
                    </a:p>
                  </a:txBody>
                  <a:tcPr/>
                </a:tc>
                <a:tc gridSpan="2">
                  <a:txBody>
                    <a:bodyPr/>
                    <a:lstStyle/>
                    <a:p>
                      <a:pPr algn="ctr"/>
                      <a:r>
                        <a:rPr lang="en-US" sz="1200" dirty="0">
                          <a:latin typeface="Gotham Medium" panose="02000603030000020004" pitchFamily="2" charset="0"/>
                        </a:rPr>
                        <a:t>PH</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DEF</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FF97A1"/>
                    </a:solidFill>
                  </a:tcPr>
                </a:tc>
                <a:tc hMerge="1">
                  <a:txBody>
                    <a:bodyPr/>
                    <a:lstStyle/>
                    <a:p>
                      <a:endParaRPr lang="en-IN" dirty="0"/>
                    </a:p>
                  </a:txBody>
                  <a:tcPr/>
                </a:tc>
                <a:extLst>
                  <a:ext uri="{0D108BD9-81ED-4DB2-BD59-A6C34878D82A}">
                    <a16:rowId xmlns:a16="http://schemas.microsoft.com/office/drawing/2014/main" val="10001"/>
                  </a:ext>
                </a:extLst>
              </a:tr>
              <a:tr h="260804">
                <a:tc>
                  <a:txBody>
                    <a:bodyPr/>
                    <a:lstStyle/>
                    <a:p>
                      <a:r>
                        <a:rPr lang="en-US" sz="1200" dirty="0">
                          <a:latin typeface="Gotham Medium" panose="02000603030000020004" pitchFamily="2" charset="0"/>
                        </a:rPr>
                        <a:t>Gen./Lad.</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chemeClr val="bg1">
                        <a:lumMod val="85000"/>
                      </a:schemeClr>
                    </a:solidFill>
                  </a:tcPr>
                </a:tc>
                <a:extLst>
                  <a:ext uri="{0D108BD9-81ED-4DB2-BD59-A6C34878D82A}">
                    <a16:rowId xmlns:a16="http://schemas.microsoft.com/office/drawing/2014/main" val="10002"/>
                  </a:ext>
                </a:extLst>
              </a:tr>
              <a:tr h="271997">
                <a:tc>
                  <a:txBody>
                    <a:bodyPr/>
                    <a:lstStyle/>
                    <a:p>
                      <a:r>
                        <a:rPr lang="en-US" sz="1200" dirty="0">
                          <a:latin typeface="Gotham Medium" panose="02000603030000020004" pitchFamily="2" charset="0"/>
                        </a:rPr>
                        <a:t>State</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12</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5</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4</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2</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5</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2</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2</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solidFill>
                      <a:srgbClr val="7BD7CC"/>
                    </a:solidFill>
                  </a:tcPr>
                </a:tc>
                <a:extLst>
                  <a:ext uri="{0D108BD9-81ED-4DB2-BD59-A6C34878D82A}">
                    <a16:rowId xmlns:a16="http://schemas.microsoft.com/office/drawing/2014/main" val="10003"/>
                  </a:ext>
                </a:extLst>
              </a:tr>
              <a:tr h="255431">
                <a:tc>
                  <a:txBody>
                    <a:bodyPr/>
                    <a:lstStyle/>
                    <a:p>
                      <a:r>
                        <a:rPr lang="en-US" sz="1200" dirty="0">
                          <a:latin typeface="Gotham Medium" panose="02000603030000020004" pitchFamily="2" charset="0"/>
                        </a:rPr>
                        <a:t>H</a:t>
                      </a:r>
                      <a:r>
                        <a:rPr lang="en-US" sz="1200" baseline="0" dirty="0">
                          <a:latin typeface="Gotham Medium" panose="02000603030000020004" pitchFamily="2" charset="0"/>
                        </a:rPr>
                        <a:t>U</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extLst>
                  <a:ext uri="{0D108BD9-81ED-4DB2-BD59-A6C34878D82A}">
                    <a16:rowId xmlns:a16="http://schemas.microsoft.com/office/drawing/2014/main" val="10004"/>
                  </a:ext>
                </a:extLst>
              </a:tr>
              <a:tr h="255431">
                <a:tc>
                  <a:txBody>
                    <a:bodyPr/>
                    <a:lstStyle/>
                    <a:p>
                      <a:r>
                        <a:rPr lang="en-US" sz="1200" dirty="0">
                          <a:latin typeface="Gotham Medium" panose="02000603030000020004" pitchFamily="2" charset="0"/>
                        </a:rPr>
                        <a:t>OTHU</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cs typeface="Times New Roman" pitchFamily="18" charset="0"/>
                      </a:endParaRPr>
                    </a:p>
                  </a:txBody>
                  <a:tcPr marL="68581" marR="68581" marT="34289" marB="34289" anchor="ctr"/>
                </a:tc>
                <a:extLst>
                  <a:ext uri="{0D108BD9-81ED-4DB2-BD59-A6C34878D82A}">
                    <a16:rowId xmlns:a16="http://schemas.microsoft.com/office/drawing/2014/main" val="10005"/>
                  </a:ext>
                </a:extLst>
              </a:tr>
              <a:tr h="1860486">
                <a:tc gridSpan="21">
                  <a:txBody>
                    <a:bodyPr/>
                    <a:lstStyle/>
                    <a:p>
                      <a:r>
                        <a:rPr lang="en-US" sz="1400" dirty="0">
                          <a:latin typeface="Gotham Medium" panose="02000603030000020004" pitchFamily="2" charset="0"/>
                        </a:rPr>
                        <a:t>S.I.- Sanctioned Intake</a:t>
                      </a:r>
                    </a:p>
                    <a:p>
                      <a:r>
                        <a:rPr lang="en-US" sz="1400" dirty="0">
                          <a:latin typeface="Gotham Medium" panose="02000603030000020004" pitchFamily="2" charset="0"/>
                        </a:rPr>
                        <a:t>MSCAP -</a:t>
                      </a:r>
                      <a:r>
                        <a:rPr lang="en-US" sz="1400" baseline="0" dirty="0">
                          <a:latin typeface="Gotham Medium" panose="02000603030000020004" pitchFamily="2" charset="0"/>
                        </a:rPr>
                        <a:t> Maharashtra Seats under CAP</a:t>
                      </a:r>
                    </a:p>
                    <a:p>
                      <a:r>
                        <a:rPr lang="en-US" sz="1400" baseline="0" dirty="0">
                          <a:latin typeface="Gotham Medium" panose="02000603030000020004" pitchFamily="2" charset="0"/>
                        </a:rPr>
                        <a:t>AIL - All India level seats </a:t>
                      </a:r>
                    </a:p>
                    <a:p>
                      <a:r>
                        <a:rPr lang="en-US" sz="1400" baseline="0" dirty="0">
                          <a:latin typeface="Gotham Medium" panose="02000603030000020004" pitchFamily="2" charset="0"/>
                        </a:rPr>
                        <a:t>IL - Seats to be filled by Management of respective institute</a:t>
                      </a:r>
                    </a:p>
                    <a:p>
                      <a:r>
                        <a:rPr lang="en-US" sz="1400" baseline="0" dirty="0">
                          <a:latin typeface="Gotham Medium" panose="02000603030000020004" pitchFamily="2" charset="0"/>
                        </a:rPr>
                        <a:t>G - Seats for general (both for boys and girls)</a:t>
                      </a:r>
                    </a:p>
                    <a:p>
                      <a:r>
                        <a:rPr lang="en-US" sz="1400" baseline="0" dirty="0">
                          <a:latin typeface="Gotham Medium" panose="02000603030000020004" pitchFamily="2" charset="0"/>
                        </a:rPr>
                        <a:t>L - Seats reserved for girls</a:t>
                      </a:r>
                    </a:p>
                    <a:p>
                      <a:r>
                        <a:rPr lang="en-US" sz="1400" baseline="0" dirty="0">
                          <a:latin typeface="Gotham Medium" panose="02000603030000020004" pitchFamily="2" charset="0"/>
                        </a:rPr>
                        <a:t>HU – Home University</a:t>
                      </a:r>
                    </a:p>
                    <a:p>
                      <a:r>
                        <a:rPr lang="en-US" sz="1400" baseline="0" dirty="0">
                          <a:latin typeface="Gotham Medium" panose="02000603030000020004" pitchFamily="2" charset="0"/>
                        </a:rPr>
                        <a:t>OTHU - Other than home University</a:t>
                      </a:r>
                      <a:endParaRPr lang="en-US" sz="1400" baseline="0" dirty="0">
                        <a:solidFill>
                          <a:schemeClr val="tx1"/>
                        </a:solidFill>
                        <a:latin typeface="Gotham Medium" panose="02000603030000020004" pitchFamily="2" charset="0"/>
                      </a:endParaRPr>
                    </a:p>
                  </a:txBody>
                  <a:tcPr marL="68581" marR="68581" marT="34289" marB="34289"/>
                </a:tc>
                <a:tc hMerge="1">
                  <a:txBody>
                    <a:bodyPr/>
                    <a:lstStyle/>
                    <a:p>
                      <a:endParaRPr lang="en-IN" dirty="0"/>
                    </a:p>
                  </a:txBody>
                  <a:tcPr marT="45718" marB="45718"/>
                </a:tc>
                <a:tc hMerge="1">
                  <a:txBody>
                    <a:bodyPr/>
                    <a:lstStyle/>
                    <a:p>
                      <a:endParaRPr lang="en-IN" dirty="0"/>
                    </a:p>
                  </a:txBody>
                  <a:tcPr marT="45718" marB="45718"/>
                </a:tc>
                <a:tc hMerge="1">
                  <a:txBody>
                    <a:bodyPr/>
                    <a:lstStyle/>
                    <a:p>
                      <a:endParaRPr lang="en-IN" dirty="0"/>
                    </a:p>
                  </a:txBody>
                  <a:tcPr marT="45718" marB="45718"/>
                </a:tc>
                <a:tc hMerge="1">
                  <a:txBody>
                    <a:bodyPr/>
                    <a:lstStyle/>
                    <a:p>
                      <a:endParaRPr lang="en-IN"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extLst>
                  <a:ext uri="{0D108BD9-81ED-4DB2-BD59-A6C34878D82A}">
                    <a16:rowId xmlns:a16="http://schemas.microsoft.com/office/drawing/2014/main" val="10006"/>
                  </a:ext>
                </a:extLst>
              </a:tr>
            </a:tbl>
          </a:graphicData>
        </a:graphic>
      </p:graphicFrame>
      <p:sp>
        <p:nvSpPr>
          <p:cNvPr id="2" name="Title 1">
            <a:extLst>
              <a:ext uri="{FF2B5EF4-FFF2-40B4-BE49-F238E27FC236}">
                <a16:creationId xmlns:a16="http://schemas.microsoft.com/office/drawing/2014/main" id="{7DBC41E9-0CB4-42B9-B5FB-717F9FEE22B6}"/>
              </a:ext>
            </a:extLst>
          </p:cNvPr>
          <p:cNvSpPr txBox="1">
            <a:spLocks/>
          </p:cNvSpPr>
          <p:nvPr/>
        </p:nvSpPr>
        <p:spPr>
          <a:xfrm>
            <a:off x="155641" y="280477"/>
            <a:ext cx="8991601" cy="883864"/>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2800" dirty="0">
                <a:solidFill>
                  <a:srgbClr val="FF5969"/>
                </a:solidFill>
                <a:latin typeface="Gotham Bold" panose="02000803030000020004" pitchFamily="2" charset="0"/>
              </a:rPr>
              <a:t>Seat Matrix: </a:t>
            </a:r>
            <a:r>
              <a:rPr lang="en-US" sz="2800" dirty="0">
                <a:solidFill>
                  <a:srgbClr val="92D050"/>
                </a:solidFill>
                <a:latin typeface="Gotham Bold" panose="02000803030000020004" pitchFamily="2" charset="0"/>
              </a:rPr>
              <a:t>Private Autonomous College</a:t>
            </a:r>
          </a:p>
        </p:txBody>
      </p:sp>
      <p:sp>
        <p:nvSpPr>
          <p:cNvPr id="4" name="Rectangle 3">
            <a:extLst>
              <a:ext uri="{FF2B5EF4-FFF2-40B4-BE49-F238E27FC236}">
                <a16:creationId xmlns:a16="http://schemas.microsoft.com/office/drawing/2014/main" id="{845C5EEB-5159-4629-9568-F22ED1B108D9}"/>
              </a:ext>
            </a:extLst>
          </p:cNvPr>
          <p:cNvSpPr/>
          <p:nvPr/>
        </p:nvSpPr>
        <p:spPr>
          <a:xfrm>
            <a:off x="-4482" y="-1"/>
            <a:ext cx="156881" cy="5142251"/>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7" name="Rectangle 6">
            <a:extLst>
              <a:ext uri="{FF2B5EF4-FFF2-40B4-BE49-F238E27FC236}">
                <a16:creationId xmlns:a16="http://schemas.microsoft.com/office/drawing/2014/main" id="{02E9182E-0048-4220-BE33-C57F639C4F6F}"/>
              </a:ext>
            </a:extLst>
          </p:cNvPr>
          <p:cNvSpPr/>
          <p:nvPr/>
        </p:nvSpPr>
        <p:spPr>
          <a:xfrm flipH="1">
            <a:off x="49442" y="417666"/>
            <a:ext cx="148638" cy="609485"/>
          </a:xfrm>
          <a:prstGeom prst="rect">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Tree>
    <p:extLst>
      <p:ext uri="{BB962C8B-B14F-4D97-AF65-F5344CB8AC3E}">
        <p14:creationId xmlns:p14="http://schemas.microsoft.com/office/powerpoint/2010/main" val="924570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3">
            <a:extLst>
              <a:ext uri="{FF2B5EF4-FFF2-40B4-BE49-F238E27FC236}">
                <a16:creationId xmlns:a16="http://schemas.microsoft.com/office/drawing/2014/main" id="{3E28BFBE-165A-4B2F-A7FF-1EFE42D3FEEB}"/>
              </a:ext>
            </a:extLst>
          </p:cNvPr>
          <p:cNvGraphicFramePr>
            <a:graphicFrameLocks/>
          </p:cNvGraphicFramePr>
          <p:nvPr>
            <p:extLst>
              <p:ext uri="{D42A27DB-BD31-4B8C-83A1-F6EECF244321}">
                <p14:modId xmlns:p14="http://schemas.microsoft.com/office/powerpoint/2010/main" val="1438930838"/>
              </p:ext>
            </p:extLst>
          </p:nvPr>
        </p:nvGraphicFramePr>
        <p:xfrm>
          <a:off x="504386" y="1162526"/>
          <a:ext cx="8309040" cy="3538675"/>
        </p:xfrm>
        <a:graphic>
          <a:graphicData uri="http://schemas.openxmlformats.org/drawingml/2006/table">
            <a:tbl>
              <a:tblPr firstRow="1" bandRow="1">
                <a:tableStyleId>{5940675A-B579-460E-94D1-54222C63F5DA}</a:tableStyleId>
              </a:tblPr>
              <a:tblGrid>
                <a:gridCol w="1077340">
                  <a:extLst>
                    <a:ext uri="{9D8B030D-6E8A-4147-A177-3AD203B41FA5}">
                      <a16:colId xmlns:a16="http://schemas.microsoft.com/office/drawing/2014/main" val="20000"/>
                    </a:ext>
                  </a:extLst>
                </a:gridCol>
                <a:gridCol w="502760">
                  <a:extLst>
                    <a:ext uri="{9D8B030D-6E8A-4147-A177-3AD203B41FA5}">
                      <a16:colId xmlns:a16="http://schemas.microsoft.com/office/drawing/2014/main" val="20001"/>
                    </a:ext>
                  </a:extLst>
                </a:gridCol>
                <a:gridCol w="120987">
                  <a:extLst>
                    <a:ext uri="{9D8B030D-6E8A-4147-A177-3AD203B41FA5}">
                      <a16:colId xmlns:a16="http://schemas.microsoft.com/office/drawing/2014/main" val="20002"/>
                    </a:ext>
                  </a:extLst>
                </a:gridCol>
                <a:gridCol w="347787">
                  <a:extLst>
                    <a:ext uri="{9D8B030D-6E8A-4147-A177-3AD203B41FA5}">
                      <a16:colId xmlns:a16="http://schemas.microsoft.com/office/drawing/2014/main" val="20003"/>
                    </a:ext>
                  </a:extLst>
                </a:gridCol>
                <a:gridCol w="347787">
                  <a:extLst>
                    <a:ext uri="{9D8B030D-6E8A-4147-A177-3AD203B41FA5}">
                      <a16:colId xmlns:a16="http://schemas.microsoft.com/office/drawing/2014/main" val="20004"/>
                    </a:ext>
                  </a:extLst>
                </a:gridCol>
                <a:gridCol w="347787">
                  <a:extLst>
                    <a:ext uri="{9D8B030D-6E8A-4147-A177-3AD203B41FA5}">
                      <a16:colId xmlns:a16="http://schemas.microsoft.com/office/drawing/2014/main" val="20005"/>
                    </a:ext>
                  </a:extLst>
                </a:gridCol>
                <a:gridCol w="347787">
                  <a:extLst>
                    <a:ext uri="{9D8B030D-6E8A-4147-A177-3AD203B41FA5}">
                      <a16:colId xmlns:a16="http://schemas.microsoft.com/office/drawing/2014/main" val="20006"/>
                    </a:ext>
                  </a:extLst>
                </a:gridCol>
                <a:gridCol w="347787">
                  <a:extLst>
                    <a:ext uri="{9D8B030D-6E8A-4147-A177-3AD203B41FA5}">
                      <a16:colId xmlns:a16="http://schemas.microsoft.com/office/drawing/2014/main" val="20007"/>
                    </a:ext>
                  </a:extLst>
                </a:gridCol>
                <a:gridCol w="347787">
                  <a:extLst>
                    <a:ext uri="{9D8B030D-6E8A-4147-A177-3AD203B41FA5}">
                      <a16:colId xmlns:a16="http://schemas.microsoft.com/office/drawing/2014/main" val="20008"/>
                    </a:ext>
                  </a:extLst>
                </a:gridCol>
                <a:gridCol w="347787">
                  <a:extLst>
                    <a:ext uri="{9D8B030D-6E8A-4147-A177-3AD203B41FA5}">
                      <a16:colId xmlns:a16="http://schemas.microsoft.com/office/drawing/2014/main" val="20009"/>
                    </a:ext>
                  </a:extLst>
                </a:gridCol>
                <a:gridCol w="347787">
                  <a:extLst>
                    <a:ext uri="{9D8B030D-6E8A-4147-A177-3AD203B41FA5}">
                      <a16:colId xmlns:a16="http://schemas.microsoft.com/office/drawing/2014/main" val="20010"/>
                    </a:ext>
                  </a:extLst>
                </a:gridCol>
                <a:gridCol w="347787">
                  <a:extLst>
                    <a:ext uri="{9D8B030D-6E8A-4147-A177-3AD203B41FA5}">
                      <a16:colId xmlns:a16="http://schemas.microsoft.com/office/drawing/2014/main" val="20011"/>
                    </a:ext>
                  </a:extLst>
                </a:gridCol>
                <a:gridCol w="347787">
                  <a:extLst>
                    <a:ext uri="{9D8B030D-6E8A-4147-A177-3AD203B41FA5}">
                      <a16:colId xmlns:a16="http://schemas.microsoft.com/office/drawing/2014/main" val="20012"/>
                    </a:ext>
                  </a:extLst>
                </a:gridCol>
                <a:gridCol w="347787">
                  <a:extLst>
                    <a:ext uri="{9D8B030D-6E8A-4147-A177-3AD203B41FA5}">
                      <a16:colId xmlns:a16="http://schemas.microsoft.com/office/drawing/2014/main" val="20013"/>
                    </a:ext>
                  </a:extLst>
                </a:gridCol>
                <a:gridCol w="347787">
                  <a:extLst>
                    <a:ext uri="{9D8B030D-6E8A-4147-A177-3AD203B41FA5}">
                      <a16:colId xmlns:a16="http://schemas.microsoft.com/office/drawing/2014/main" val="20014"/>
                    </a:ext>
                  </a:extLst>
                </a:gridCol>
                <a:gridCol w="347787">
                  <a:extLst>
                    <a:ext uri="{9D8B030D-6E8A-4147-A177-3AD203B41FA5}">
                      <a16:colId xmlns:a16="http://schemas.microsoft.com/office/drawing/2014/main" val="20015"/>
                    </a:ext>
                  </a:extLst>
                </a:gridCol>
                <a:gridCol w="347787">
                  <a:extLst>
                    <a:ext uri="{9D8B030D-6E8A-4147-A177-3AD203B41FA5}">
                      <a16:colId xmlns:a16="http://schemas.microsoft.com/office/drawing/2014/main" val="20016"/>
                    </a:ext>
                  </a:extLst>
                </a:gridCol>
                <a:gridCol w="347787">
                  <a:extLst>
                    <a:ext uri="{9D8B030D-6E8A-4147-A177-3AD203B41FA5}">
                      <a16:colId xmlns:a16="http://schemas.microsoft.com/office/drawing/2014/main" val="20017"/>
                    </a:ext>
                  </a:extLst>
                </a:gridCol>
                <a:gridCol w="347787">
                  <a:extLst>
                    <a:ext uri="{9D8B030D-6E8A-4147-A177-3AD203B41FA5}">
                      <a16:colId xmlns:a16="http://schemas.microsoft.com/office/drawing/2014/main" val="20018"/>
                    </a:ext>
                  </a:extLst>
                </a:gridCol>
                <a:gridCol w="347787">
                  <a:extLst>
                    <a:ext uri="{9D8B030D-6E8A-4147-A177-3AD203B41FA5}">
                      <a16:colId xmlns:a16="http://schemas.microsoft.com/office/drawing/2014/main" val="20019"/>
                    </a:ext>
                  </a:extLst>
                </a:gridCol>
                <a:gridCol w="347787">
                  <a:extLst>
                    <a:ext uri="{9D8B030D-6E8A-4147-A177-3AD203B41FA5}">
                      <a16:colId xmlns:a16="http://schemas.microsoft.com/office/drawing/2014/main" val="20020"/>
                    </a:ext>
                  </a:extLst>
                </a:gridCol>
                <a:gridCol w="347787">
                  <a:extLst>
                    <a:ext uri="{9D8B030D-6E8A-4147-A177-3AD203B41FA5}">
                      <a16:colId xmlns:a16="http://schemas.microsoft.com/office/drawing/2014/main" val="20021"/>
                    </a:ext>
                  </a:extLst>
                </a:gridCol>
              </a:tblGrid>
              <a:tr h="328680">
                <a:tc gridSpan="3">
                  <a:txBody>
                    <a:bodyPr/>
                    <a:lstStyle/>
                    <a:p>
                      <a:pPr algn="ctr"/>
                      <a:r>
                        <a:rPr lang="en-US" sz="1800" dirty="0">
                          <a:latin typeface="Gotham Medium" panose="02000603030000020004" pitchFamily="2" charset="0"/>
                        </a:rPr>
                        <a:t>S.I.</a:t>
                      </a:r>
                      <a:r>
                        <a:rPr lang="en-US" sz="1800" baseline="0" dirty="0">
                          <a:latin typeface="Gotham Medium" panose="02000603030000020004" pitchFamily="2" charset="0"/>
                        </a:rPr>
                        <a:t>   -  60</a:t>
                      </a:r>
                      <a:endParaRPr lang="en-IN" sz="1800" b="1" dirty="0">
                        <a:solidFill>
                          <a:schemeClr val="tx1"/>
                        </a:solidFill>
                        <a:latin typeface="Gotham Medium" panose="02000603030000020004" pitchFamily="2" charset="0"/>
                      </a:endParaRPr>
                    </a:p>
                  </a:txBody>
                  <a:tcPr marL="68581" marR="68581" marT="34288" marB="34288" anchor="ctr">
                    <a:solidFill>
                      <a:schemeClr val="bg1">
                        <a:lumMod val="75000"/>
                      </a:schemeClr>
                    </a:solidFill>
                  </a:tcPr>
                </a:tc>
                <a:tc hMerge="1">
                  <a:txBody>
                    <a:bodyPr/>
                    <a:lstStyle/>
                    <a:p>
                      <a:endParaRPr lang="en-IN"/>
                    </a:p>
                  </a:txBody>
                  <a:tcPr/>
                </a:tc>
                <a:tc hMerge="1">
                  <a:txBody>
                    <a:bodyPr/>
                    <a:lstStyle/>
                    <a:p>
                      <a:endParaRPr lang="en-IN"/>
                    </a:p>
                  </a:txBody>
                  <a:tcPr/>
                </a:tc>
                <a:tc gridSpan="5">
                  <a:txBody>
                    <a:bodyPr/>
                    <a:lstStyle/>
                    <a:p>
                      <a:pPr algn="ctr"/>
                      <a:r>
                        <a:rPr lang="en-US" sz="1600" dirty="0">
                          <a:latin typeface="Gotham Medium" panose="02000603030000020004" pitchFamily="2" charset="0"/>
                        </a:rPr>
                        <a:t>MSCAP - 60 </a:t>
                      </a:r>
                      <a:endParaRPr lang="en-IN" sz="1600" b="1" dirty="0">
                        <a:solidFill>
                          <a:schemeClr val="tx1"/>
                        </a:solidFill>
                        <a:latin typeface="Gotham Medium" panose="02000603030000020004" pitchFamily="2" charset="0"/>
                      </a:endParaRPr>
                    </a:p>
                  </a:txBody>
                  <a:tcPr marL="68581" marR="68581" marT="34288" marB="34288" anchor="ctr">
                    <a:solidFill>
                      <a:schemeClr val="bg1">
                        <a:lumMod val="75000"/>
                      </a:schemeClr>
                    </a:solidFill>
                  </a:tcPr>
                </a:tc>
                <a:tc hMerge="1">
                  <a:txBody>
                    <a:bodyPr/>
                    <a:lstStyle/>
                    <a:p>
                      <a:endParaRPr lang="en-IN"/>
                    </a:p>
                  </a:txBody>
                  <a:tcPr/>
                </a:tc>
                <a:tc hMerge="1">
                  <a:txBody>
                    <a:bodyPr/>
                    <a:lstStyle/>
                    <a:p>
                      <a:endParaRPr lang="en-IN"/>
                    </a:p>
                  </a:txBody>
                  <a:tcPr/>
                </a:tc>
                <a:tc hMerge="1">
                  <a:txBody>
                    <a:bodyPr/>
                    <a:lstStyle/>
                    <a:p>
                      <a:pPr algn="ctr"/>
                      <a:endParaRPr lang="en-IN" sz="1800" dirty="0"/>
                    </a:p>
                  </a:txBody>
                  <a:tcPr marT="45718" marB="45718"/>
                </a:tc>
                <a:tc hMerge="1">
                  <a:txBody>
                    <a:bodyPr/>
                    <a:lstStyle/>
                    <a:p>
                      <a:endParaRPr lang="en-IN" dirty="0"/>
                    </a:p>
                  </a:txBody>
                  <a:tcPr/>
                </a:tc>
                <a:tc gridSpan="6">
                  <a:txBody>
                    <a:bodyPr/>
                    <a:lstStyle/>
                    <a:p>
                      <a:pPr algn="ctr"/>
                      <a:r>
                        <a:rPr lang="en-US" sz="1800" dirty="0">
                          <a:latin typeface="Gotham Medium" panose="02000603030000020004" pitchFamily="2" charset="0"/>
                        </a:rPr>
                        <a:t>AIL - 0</a:t>
                      </a:r>
                      <a:endParaRPr lang="en-IN" sz="1800" b="1" dirty="0">
                        <a:solidFill>
                          <a:schemeClr val="tx1"/>
                        </a:solidFill>
                        <a:latin typeface="Gotham Medium" panose="02000603030000020004" pitchFamily="2" charset="0"/>
                      </a:endParaRPr>
                    </a:p>
                  </a:txBody>
                  <a:tcPr marL="68581" marR="68581" marT="34288" marB="34288" anchor="ctr">
                    <a:solidFill>
                      <a:schemeClr val="bg1">
                        <a:lumMod val="75000"/>
                      </a:schemeClr>
                    </a:solidFill>
                  </a:tcPr>
                </a:tc>
                <a:tc hMerge="1">
                  <a:txBody>
                    <a:bodyPr/>
                    <a:lstStyle/>
                    <a:p>
                      <a:pPr algn="ctr"/>
                      <a:endParaRPr lang="en-IN" dirty="0"/>
                    </a:p>
                  </a:txBody>
                  <a:tcPr/>
                </a:tc>
                <a:tc hMerge="1">
                  <a:txBody>
                    <a:bodyPr/>
                    <a:lstStyle/>
                    <a:p>
                      <a:pPr algn="ctr"/>
                      <a:endParaRPr lang="en-IN" dirty="0"/>
                    </a:p>
                  </a:txBody>
                  <a:tcPr/>
                </a:tc>
                <a:tc hMerge="1">
                  <a:txBody>
                    <a:bodyPr/>
                    <a:lstStyle/>
                    <a:p>
                      <a:pPr algn="ctr"/>
                      <a:endParaRPr lang="en-IN" dirty="0"/>
                    </a:p>
                  </a:txBody>
                  <a:tcPr/>
                </a:tc>
                <a:tc hMerge="1">
                  <a:txBody>
                    <a:bodyPr/>
                    <a:lstStyle/>
                    <a:p>
                      <a:pPr algn="ctr"/>
                      <a:endParaRPr lang="en-IN" sz="1800" dirty="0"/>
                    </a:p>
                  </a:txBody>
                  <a:tcPr marT="45718" marB="45718"/>
                </a:tc>
                <a:tc hMerge="1">
                  <a:txBody>
                    <a:bodyPr/>
                    <a:lstStyle/>
                    <a:p>
                      <a:pPr algn="ctr"/>
                      <a:endParaRPr lang="en-IN" dirty="0"/>
                    </a:p>
                  </a:txBody>
                  <a:tcPr/>
                </a:tc>
                <a:tc gridSpan="8">
                  <a:txBody>
                    <a:bodyPr/>
                    <a:lstStyle/>
                    <a:p>
                      <a:pPr algn="ctr"/>
                      <a:r>
                        <a:rPr lang="en-US" sz="1800" dirty="0">
                          <a:latin typeface="Gotham Medium" panose="02000603030000020004" pitchFamily="2" charset="0"/>
                        </a:rPr>
                        <a:t>IL</a:t>
                      </a:r>
                      <a:r>
                        <a:rPr lang="en-US" sz="1800" baseline="0" dirty="0">
                          <a:latin typeface="Gotham Medium" panose="02000603030000020004" pitchFamily="2" charset="0"/>
                        </a:rPr>
                        <a:t> - 0</a:t>
                      </a:r>
                      <a:endParaRPr lang="en-IN" sz="1800" b="1" dirty="0">
                        <a:solidFill>
                          <a:schemeClr val="tx1"/>
                        </a:solidFill>
                        <a:latin typeface="Gotham Medium" panose="02000603030000020004" pitchFamily="2" charset="0"/>
                      </a:endParaRPr>
                    </a:p>
                  </a:txBody>
                  <a:tcPr marL="68581" marR="68581" marT="34288" marB="34288" anchor="ctr">
                    <a:solidFill>
                      <a:schemeClr val="bg1">
                        <a:lumMod val="75000"/>
                      </a:schemeClr>
                    </a:solidFill>
                  </a:tcPr>
                </a:tc>
                <a:tc hMerge="1">
                  <a:txBody>
                    <a:bodyPr/>
                    <a:lstStyle/>
                    <a:p>
                      <a:pPr algn="ctr"/>
                      <a:endParaRPr lang="en-IN" dirty="0"/>
                    </a:p>
                  </a:txBody>
                  <a:tcPr/>
                </a:tc>
                <a:tc hMerge="1">
                  <a:txBody>
                    <a:bodyPr/>
                    <a:lstStyle/>
                    <a:p>
                      <a:pPr algn="ctr"/>
                      <a:endParaRPr lang="en-IN" dirty="0"/>
                    </a:p>
                  </a:txBody>
                  <a:tcPr/>
                </a:tc>
                <a:tc hMerge="1">
                  <a:txBody>
                    <a:bodyPr/>
                    <a:lstStyle/>
                    <a:p>
                      <a:endParaRPr lang="en-IN"/>
                    </a:p>
                  </a:txBody>
                  <a:tcPr/>
                </a:tc>
                <a:tc hMerge="1">
                  <a:txBody>
                    <a:bodyPr/>
                    <a:lstStyle/>
                    <a:p>
                      <a:pPr algn="ctr"/>
                      <a:endParaRPr lang="en-IN" dirty="0"/>
                    </a:p>
                  </a:txBody>
                  <a:tcPr/>
                </a:tc>
                <a:tc hMerge="1">
                  <a:txBody>
                    <a:bodyPr/>
                    <a:lstStyle/>
                    <a:p>
                      <a:pPr algn="ctr"/>
                      <a:endParaRPr lang="en-IN" dirty="0"/>
                    </a:p>
                  </a:txBody>
                  <a:tcPr/>
                </a:tc>
                <a:tc hMerge="1">
                  <a:txBody>
                    <a:bodyPr/>
                    <a:lstStyle/>
                    <a:p>
                      <a:pPr algn="ctr"/>
                      <a:endParaRPr lang="en-IN" dirty="0"/>
                    </a:p>
                  </a:txBody>
                  <a:tcPr/>
                </a:tc>
                <a:tc hMerge="1">
                  <a:txBody>
                    <a:bodyPr/>
                    <a:lstStyle/>
                    <a:p>
                      <a:pPr algn="ctr"/>
                      <a:endParaRPr lang="en-IN" dirty="0"/>
                    </a:p>
                  </a:txBody>
                  <a:tcPr/>
                </a:tc>
                <a:extLst>
                  <a:ext uri="{0D108BD9-81ED-4DB2-BD59-A6C34878D82A}">
                    <a16:rowId xmlns:a16="http://schemas.microsoft.com/office/drawing/2014/main" val="10000"/>
                  </a:ext>
                </a:extLst>
              </a:tr>
              <a:tr h="402118">
                <a:tc>
                  <a:txBody>
                    <a:bodyPr/>
                    <a:lstStyle/>
                    <a:p>
                      <a:pPr algn="ctr"/>
                      <a:r>
                        <a:rPr lang="en-US" sz="1200" dirty="0">
                          <a:latin typeface="Gotham Medium" panose="02000603030000020004" pitchFamily="2" charset="0"/>
                        </a:rPr>
                        <a:t>Category</a:t>
                      </a:r>
                      <a:endParaRPr lang="en-IN" sz="1200" b="0" dirty="0">
                        <a:solidFill>
                          <a:schemeClr val="tx1"/>
                        </a:solidFill>
                        <a:latin typeface="Gotham Medium" panose="02000603030000020004" pitchFamily="2" charset="0"/>
                      </a:endParaRPr>
                    </a:p>
                  </a:txBody>
                  <a:tcPr marL="68581" marR="68581" marT="34288" marB="34288" anchor="ctr">
                    <a:solidFill>
                      <a:srgbClr val="FF97A1"/>
                    </a:solidFill>
                  </a:tcPr>
                </a:tc>
                <a:tc gridSpan="3">
                  <a:txBody>
                    <a:bodyPr/>
                    <a:lstStyle/>
                    <a:p>
                      <a:pPr algn="ctr"/>
                      <a:r>
                        <a:rPr lang="en-US" sz="1200" dirty="0">
                          <a:latin typeface="Gotham Medium" panose="02000603030000020004" pitchFamily="2" charset="0"/>
                        </a:rPr>
                        <a:t>Open</a:t>
                      </a:r>
                      <a:endParaRPr lang="en-IN" sz="1200" b="0" dirty="0">
                        <a:solidFill>
                          <a:schemeClr val="tx1"/>
                        </a:solidFill>
                        <a:latin typeface="Gotham Medium" panose="02000603030000020004" pitchFamily="2" charset="0"/>
                      </a:endParaRPr>
                    </a:p>
                  </a:txBody>
                  <a:tcPr marL="68581" marR="68581" marT="34288" marB="34288" anchor="ctr">
                    <a:solidFill>
                      <a:srgbClr val="FF97A1"/>
                    </a:solidFill>
                  </a:tcPr>
                </a:tc>
                <a:tc hMerge="1">
                  <a:txBody>
                    <a:bodyPr/>
                    <a:lstStyle/>
                    <a:p>
                      <a:endParaRPr lang="en-IN"/>
                    </a:p>
                  </a:txBody>
                  <a:tcPr/>
                </a:tc>
                <a:tc hMerge="1">
                  <a:txBody>
                    <a:bodyPr/>
                    <a:lstStyle/>
                    <a:p>
                      <a:endParaRPr lang="en-IN"/>
                    </a:p>
                  </a:txBody>
                  <a:tcPr/>
                </a:tc>
                <a:tc gridSpan="2">
                  <a:txBody>
                    <a:bodyPr/>
                    <a:lstStyle/>
                    <a:p>
                      <a:pPr algn="ctr"/>
                      <a:r>
                        <a:rPr lang="en-US" sz="1200" dirty="0">
                          <a:latin typeface="Gotham Medium" panose="02000603030000020004" pitchFamily="2" charset="0"/>
                        </a:rPr>
                        <a:t>SC</a:t>
                      </a:r>
                      <a:endParaRPr lang="en-IN" sz="1200" b="0" dirty="0">
                        <a:solidFill>
                          <a:schemeClr val="tx1"/>
                        </a:solidFill>
                        <a:latin typeface="Gotham Medium" panose="02000603030000020004" pitchFamily="2" charset="0"/>
                      </a:endParaRPr>
                    </a:p>
                  </a:txBody>
                  <a:tcPr marL="68581" marR="68581" marT="34288" marB="34288" anchor="ctr">
                    <a:solidFill>
                      <a:srgbClr val="FF97A1"/>
                    </a:solidFill>
                  </a:tcPr>
                </a:tc>
                <a:tc hMerge="1">
                  <a:txBody>
                    <a:bodyPr/>
                    <a:lstStyle/>
                    <a:p>
                      <a:endParaRPr lang="en-IN"/>
                    </a:p>
                  </a:txBody>
                  <a:tcPr/>
                </a:tc>
                <a:tc gridSpan="2">
                  <a:txBody>
                    <a:bodyPr/>
                    <a:lstStyle/>
                    <a:p>
                      <a:pPr algn="ctr"/>
                      <a:r>
                        <a:rPr lang="en-US" sz="1200" dirty="0">
                          <a:latin typeface="Gotham Medium" panose="02000603030000020004" pitchFamily="2" charset="0"/>
                        </a:rPr>
                        <a:t>ST</a:t>
                      </a:r>
                      <a:endParaRPr lang="en-IN" sz="1200" b="0" dirty="0">
                        <a:solidFill>
                          <a:schemeClr val="tx1"/>
                        </a:solidFill>
                        <a:latin typeface="Gotham Medium" panose="02000603030000020004" pitchFamily="2" charset="0"/>
                      </a:endParaRPr>
                    </a:p>
                  </a:txBody>
                  <a:tcPr marL="68581" marR="68581" marT="34288" marB="34288"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VJ/DT</a:t>
                      </a:r>
                      <a:endParaRPr lang="en-IN" sz="1200" b="0" dirty="0">
                        <a:solidFill>
                          <a:schemeClr val="tx1"/>
                        </a:solidFill>
                        <a:latin typeface="Gotham Medium" panose="02000603030000020004" pitchFamily="2" charset="0"/>
                      </a:endParaRPr>
                    </a:p>
                  </a:txBody>
                  <a:tcPr marL="68581" marR="68581" marT="34288" marB="34288"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NTB</a:t>
                      </a:r>
                      <a:endParaRPr lang="en-IN" sz="1200" b="0" dirty="0">
                        <a:solidFill>
                          <a:schemeClr val="tx1"/>
                        </a:solidFill>
                        <a:latin typeface="Gotham Medium" panose="02000603030000020004" pitchFamily="2" charset="0"/>
                      </a:endParaRPr>
                    </a:p>
                  </a:txBody>
                  <a:tcPr marL="68581" marR="68581" marT="34288" marB="34288"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NTC</a:t>
                      </a:r>
                      <a:endParaRPr lang="en-IN" sz="1200" b="0" dirty="0">
                        <a:solidFill>
                          <a:schemeClr val="tx1"/>
                        </a:solidFill>
                        <a:latin typeface="Gotham Medium" panose="02000603030000020004" pitchFamily="2" charset="0"/>
                      </a:endParaRPr>
                    </a:p>
                  </a:txBody>
                  <a:tcPr marL="68581" marR="68581" marT="34288" marB="34288"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NTD</a:t>
                      </a:r>
                      <a:endParaRPr lang="en-IN" sz="1200" b="0" dirty="0">
                        <a:solidFill>
                          <a:schemeClr val="tx1"/>
                        </a:solidFill>
                        <a:latin typeface="Gotham Medium" panose="02000603030000020004" pitchFamily="2" charset="0"/>
                      </a:endParaRPr>
                    </a:p>
                  </a:txBody>
                  <a:tcPr marL="68581" marR="68581" marT="34288" marB="34288"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OBC</a:t>
                      </a:r>
                      <a:endParaRPr lang="en-IN" sz="1200" b="0" dirty="0">
                        <a:solidFill>
                          <a:schemeClr val="tx1"/>
                        </a:solidFill>
                        <a:latin typeface="Gotham Medium" panose="02000603030000020004" pitchFamily="2" charset="0"/>
                      </a:endParaRPr>
                    </a:p>
                  </a:txBody>
                  <a:tcPr marL="68581" marR="68581" marT="34288" marB="34288" anchor="ctr">
                    <a:solidFill>
                      <a:srgbClr val="FF97A1"/>
                    </a:solidFill>
                  </a:tcPr>
                </a:tc>
                <a:tc hMerge="1">
                  <a:txBody>
                    <a:bodyPr/>
                    <a:lstStyle/>
                    <a:p>
                      <a:endParaRPr lang="en-IN"/>
                    </a:p>
                  </a:txBody>
                  <a:tcPr/>
                </a:tc>
                <a:tc gridSpan="2">
                  <a:txBody>
                    <a:bodyPr/>
                    <a:lstStyle/>
                    <a:p>
                      <a:pPr algn="ctr"/>
                      <a:r>
                        <a:rPr lang="en-US" sz="1200" dirty="0">
                          <a:latin typeface="Gotham Medium" panose="02000603030000020004" pitchFamily="2" charset="0"/>
                        </a:rPr>
                        <a:t>PH</a:t>
                      </a:r>
                      <a:endParaRPr lang="en-IN" sz="1200" b="0" dirty="0">
                        <a:solidFill>
                          <a:schemeClr val="tx1"/>
                        </a:solidFill>
                        <a:latin typeface="Gotham Medium" panose="02000603030000020004" pitchFamily="2" charset="0"/>
                      </a:endParaRPr>
                    </a:p>
                  </a:txBody>
                  <a:tcPr marL="68581" marR="68581" marT="34288" marB="34288"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DEF</a:t>
                      </a:r>
                      <a:endParaRPr lang="en-IN" sz="1200" b="0" dirty="0">
                        <a:solidFill>
                          <a:schemeClr val="tx1"/>
                        </a:solidFill>
                        <a:latin typeface="Gotham Medium" panose="02000603030000020004" pitchFamily="2" charset="0"/>
                      </a:endParaRPr>
                    </a:p>
                  </a:txBody>
                  <a:tcPr marL="68581" marR="68581" marT="34288" marB="34288" anchor="ctr">
                    <a:solidFill>
                      <a:srgbClr val="FF97A1"/>
                    </a:solidFill>
                  </a:tcPr>
                </a:tc>
                <a:tc hMerge="1">
                  <a:txBody>
                    <a:bodyPr/>
                    <a:lstStyle/>
                    <a:p>
                      <a:endParaRPr lang="en-IN" dirty="0"/>
                    </a:p>
                  </a:txBody>
                  <a:tcPr/>
                </a:tc>
                <a:extLst>
                  <a:ext uri="{0D108BD9-81ED-4DB2-BD59-A6C34878D82A}">
                    <a16:rowId xmlns:a16="http://schemas.microsoft.com/office/drawing/2014/main" val="10001"/>
                  </a:ext>
                </a:extLst>
              </a:tr>
              <a:tr h="253967">
                <a:tc>
                  <a:txBody>
                    <a:bodyPr/>
                    <a:lstStyle/>
                    <a:p>
                      <a:r>
                        <a:rPr lang="en-US" sz="1200" dirty="0">
                          <a:latin typeface="Gotham Medium" panose="02000603030000020004" pitchFamily="2" charset="0"/>
                        </a:rPr>
                        <a:t>Gen./Lad.</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gridSpan="2">
                  <a:txBody>
                    <a:bodyPr/>
                    <a:lstStyle/>
                    <a:p>
                      <a:pPr algn="ctr"/>
                      <a:r>
                        <a:rPr lang="en-US" sz="1200" dirty="0">
                          <a:latin typeface="Gotham Medium" panose="02000603030000020004" pitchFamily="2" charset="0"/>
                        </a:rPr>
                        <a:t>L</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hMerge="1">
                  <a:txBody>
                    <a:bodyPr/>
                    <a:lstStyle/>
                    <a:p>
                      <a:pPr algn="ctr"/>
                      <a:endParaRPr lang="en-IN" sz="1800" b="1" dirty="0"/>
                    </a:p>
                  </a:txBody>
                  <a:tcPr marL="91441" marR="91441" anchor="ctr">
                    <a:solidFill>
                      <a:srgbClr val="00B0F0"/>
                    </a:solidFill>
                  </a:tcPr>
                </a:tc>
                <a:tc>
                  <a:txBody>
                    <a:bodyPr/>
                    <a:lstStyle/>
                    <a:p>
                      <a:pPr algn="ctr"/>
                      <a:r>
                        <a:rPr lang="en-US" sz="1200" dirty="0">
                          <a:latin typeface="Gotham Medium" panose="02000603030000020004" pitchFamily="2" charset="0"/>
                        </a:rPr>
                        <a:t>G</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0" dirty="0">
                        <a:solidFill>
                          <a:schemeClr val="tx1"/>
                        </a:solidFill>
                        <a:latin typeface="Gotham Medium" panose="02000603030000020004" pitchFamily="2" charset="0"/>
                      </a:endParaRPr>
                    </a:p>
                  </a:txBody>
                  <a:tcPr marL="68581" marR="68581" marT="34288" marB="34288" anchor="ctr">
                    <a:solidFill>
                      <a:schemeClr val="bg1">
                        <a:lumMod val="85000"/>
                      </a:schemeClr>
                    </a:solidFill>
                  </a:tcPr>
                </a:tc>
                <a:extLst>
                  <a:ext uri="{0D108BD9-81ED-4DB2-BD59-A6C34878D82A}">
                    <a16:rowId xmlns:a16="http://schemas.microsoft.com/office/drawing/2014/main" val="10002"/>
                  </a:ext>
                </a:extLst>
              </a:tr>
              <a:tr h="253967">
                <a:tc>
                  <a:txBody>
                    <a:bodyPr/>
                    <a:lstStyle/>
                    <a:p>
                      <a:r>
                        <a:rPr lang="en-US" sz="1200" dirty="0">
                          <a:latin typeface="Gotham Medium" panose="02000603030000020004" pitchFamily="2" charset="0"/>
                        </a:rPr>
                        <a:t>State</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gridSpan="2">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hMerge="1">
                  <a:txBody>
                    <a:bodyPr/>
                    <a:lstStyle/>
                    <a:p>
                      <a:endParaRPr lang="en-IN" sz="1800" b="1" dirty="0"/>
                    </a:p>
                  </a:txBody>
                  <a:tcPr marL="91441" marR="91441" anchor="ctr">
                    <a:solidFill>
                      <a:srgbClr val="92D050"/>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1</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solidFill>
                      <a:srgbClr val="7BD7CC"/>
                    </a:solidFill>
                  </a:tcPr>
                </a:tc>
                <a:extLst>
                  <a:ext uri="{0D108BD9-81ED-4DB2-BD59-A6C34878D82A}">
                    <a16:rowId xmlns:a16="http://schemas.microsoft.com/office/drawing/2014/main" val="10003"/>
                  </a:ext>
                </a:extLst>
              </a:tr>
              <a:tr h="253967">
                <a:tc>
                  <a:txBody>
                    <a:bodyPr/>
                    <a:lstStyle/>
                    <a:p>
                      <a:r>
                        <a:rPr lang="en-US" sz="1200" dirty="0">
                          <a:latin typeface="Gotham Medium" panose="02000603030000020004" pitchFamily="2" charset="0"/>
                        </a:rPr>
                        <a:t>H</a:t>
                      </a:r>
                      <a:r>
                        <a:rPr lang="en-US" sz="1200" baseline="0" dirty="0">
                          <a:latin typeface="Gotham Medium" panose="02000603030000020004" pitchFamily="2" charset="0"/>
                        </a:rPr>
                        <a:t>U</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13</a:t>
                      </a:r>
                      <a:endParaRPr lang="en-IN" sz="1200" b="0" dirty="0">
                        <a:solidFill>
                          <a:schemeClr val="tx1"/>
                        </a:solidFill>
                        <a:latin typeface="Gotham Medium" panose="02000603030000020004" pitchFamily="2" charset="0"/>
                      </a:endParaRPr>
                    </a:p>
                  </a:txBody>
                  <a:tcPr marL="68581" marR="68581" marT="34288" marB="34288" anchor="ctr"/>
                </a:tc>
                <a:tc gridSpan="2">
                  <a:txBody>
                    <a:bodyPr/>
                    <a:lstStyle/>
                    <a:p>
                      <a:pPr algn="ctr"/>
                      <a:r>
                        <a:rPr lang="en-US" sz="1200" dirty="0">
                          <a:latin typeface="Gotham Medium" panose="02000603030000020004" pitchFamily="2" charset="0"/>
                        </a:rPr>
                        <a:t>6</a:t>
                      </a:r>
                      <a:endParaRPr lang="en-IN" sz="1200" b="0" dirty="0">
                        <a:solidFill>
                          <a:schemeClr val="tx1"/>
                        </a:solidFill>
                        <a:latin typeface="Gotham Medium" panose="02000603030000020004" pitchFamily="2" charset="0"/>
                      </a:endParaRPr>
                    </a:p>
                  </a:txBody>
                  <a:tcPr marL="68581" marR="68581" marT="34288" marB="34288" anchor="ctr"/>
                </a:tc>
                <a:tc hMerge="1">
                  <a:txBody>
                    <a:bodyPr/>
                    <a:lstStyle/>
                    <a:p>
                      <a:endParaRPr lang="en-IN" sz="1800" b="1" dirty="0"/>
                    </a:p>
                  </a:txBody>
                  <a:tcPr marL="91441" marR="91441" anchor="ctr">
                    <a:solidFill>
                      <a:srgbClr val="FF66FF"/>
                    </a:solidFill>
                  </a:tcPr>
                </a:tc>
                <a:tc>
                  <a:txBody>
                    <a:bodyPr/>
                    <a:lstStyle/>
                    <a:p>
                      <a:pPr algn="ctr"/>
                      <a:r>
                        <a:rPr lang="en-US" sz="1200" dirty="0">
                          <a:latin typeface="Gotham Medium" panose="02000603030000020004" pitchFamily="2" charset="0"/>
                        </a:rPr>
                        <a:t>3</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2</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2</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1</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1</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1</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1</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0</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1</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0</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1</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0</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6</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2</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2</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tc>
                <a:extLst>
                  <a:ext uri="{0D108BD9-81ED-4DB2-BD59-A6C34878D82A}">
                    <a16:rowId xmlns:a16="http://schemas.microsoft.com/office/drawing/2014/main" val="10004"/>
                  </a:ext>
                </a:extLst>
              </a:tr>
              <a:tr h="253967">
                <a:tc>
                  <a:txBody>
                    <a:bodyPr/>
                    <a:lstStyle/>
                    <a:p>
                      <a:r>
                        <a:rPr lang="en-US" sz="1200" dirty="0">
                          <a:latin typeface="Gotham Medium" panose="02000603030000020004" pitchFamily="2" charset="0"/>
                        </a:rPr>
                        <a:t>OTHU</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6</a:t>
                      </a:r>
                      <a:endParaRPr lang="en-IN" sz="1200" b="0" dirty="0">
                        <a:solidFill>
                          <a:schemeClr val="tx1"/>
                        </a:solidFill>
                        <a:latin typeface="Gotham Medium" panose="02000603030000020004" pitchFamily="2" charset="0"/>
                      </a:endParaRPr>
                    </a:p>
                  </a:txBody>
                  <a:tcPr marL="68581" marR="68581" marT="34288" marB="34288" anchor="ctr"/>
                </a:tc>
                <a:tc gridSpan="2">
                  <a:txBody>
                    <a:bodyPr/>
                    <a:lstStyle/>
                    <a:p>
                      <a:pPr algn="ctr"/>
                      <a:r>
                        <a:rPr lang="en-US" sz="1200" dirty="0">
                          <a:latin typeface="Gotham Medium" panose="02000603030000020004" pitchFamily="2" charset="0"/>
                        </a:rPr>
                        <a:t>2</a:t>
                      </a:r>
                      <a:endParaRPr lang="en-IN" sz="1200" b="0" dirty="0">
                        <a:solidFill>
                          <a:schemeClr val="tx1"/>
                        </a:solidFill>
                        <a:latin typeface="Gotham Medium" panose="02000603030000020004" pitchFamily="2" charset="0"/>
                      </a:endParaRPr>
                    </a:p>
                  </a:txBody>
                  <a:tcPr marL="68581" marR="68581" marT="34288" marB="34288" anchor="ctr"/>
                </a:tc>
                <a:tc hMerge="1">
                  <a:txBody>
                    <a:bodyPr/>
                    <a:lstStyle/>
                    <a:p>
                      <a:endParaRPr lang="en-IN" sz="1800" b="1" dirty="0"/>
                    </a:p>
                  </a:txBody>
                  <a:tcPr marL="91441" marR="91441" anchor="ctr">
                    <a:solidFill>
                      <a:srgbClr val="FF66FF"/>
                    </a:solidFill>
                  </a:tcPr>
                </a:tc>
                <a:tc>
                  <a:txBody>
                    <a:bodyPr/>
                    <a:lstStyle/>
                    <a:p>
                      <a:pPr algn="ctr"/>
                      <a:r>
                        <a:rPr lang="en-US" sz="1200" dirty="0">
                          <a:latin typeface="Gotham Medium" panose="02000603030000020004" pitchFamily="2" charset="0"/>
                        </a:rPr>
                        <a:t>2</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0</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0</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1</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0</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0</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0</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1</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1</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0</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0</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0</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3</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1</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tc>
                <a:tc>
                  <a:txBody>
                    <a:bodyPr/>
                    <a:lstStyle/>
                    <a:p>
                      <a:pPr algn="ctr"/>
                      <a:r>
                        <a:rPr lang="en-US" sz="1200" dirty="0">
                          <a:latin typeface="Gotham Medium" panose="02000603030000020004" pitchFamily="2" charset="0"/>
                        </a:rPr>
                        <a:t>-</a:t>
                      </a:r>
                      <a:endParaRPr lang="en-IN" sz="1200" b="0" dirty="0">
                        <a:solidFill>
                          <a:schemeClr val="tx1"/>
                        </a:solidFill>
                        <a:latin typeface="Gotham Medium" panose="02000603030000020004" pitchFamily="2" charset="0"/>
                      </a:endParaRPr>
                    </a:p>
                  </a:txBody>
                  <a:tcPr marL="68581" marR="68581" marT="34288" marB="34288" anchor="ctr"/>
                </a:tc>
                <a:extLst>
                  <a:ext uri="{0D108BD9-81ED-4DB2-BD59-A6C34878D82A}">
                    <a16:rowId xmlns:a16="http://schemas.microsoft.com/office/drawing/2014/main" val="10005"/>
                  </a:ext>
                </a:extLst>
              </a:tr>
              <a:tr h="1777793">
                <a:tc gridSpan="22">
                  <a:txBody>
                    <a:bodyPr/>
                    <a:lstStyle/>
                    <a:p>
                      <a:r>
                        <a:rPr lang="en-US" sz="1200" dirty="0">
                          <a:latin typeface="Gotham Medium" panose="02000603030000020004" pitchFamily="2" charset="0"/>
                        </a:rPr>
                        <a:t>S.I. - Sanctioned Intake</a:t>
                      </a:r>
                    </a:p>
                    <a:p>
                      <a:r>
                        <a:rPr lang="en-US" sz="1200" dirty="0">
                          <a:latin typeface="Gotham Medium" panose="02000603030000020004" pitchFamily="2" charset="0"/>
                        </a:rPr>
                        <a:t>MSCAP -</a:t>
                      </a:r>
                      <a:r>
                        <a:rPr lang="en-US" sz="1200" baseline="0" dirty="0">
                          <a:latin typeface="Gotham Medium" panose="02000603030000020004" pitchFamily="2" charset="0"/>
                        </a:rPr>
                        <a:t> Maharashtra Seats under CAP</a:t>
                      </a:r>
                    </a:p>
                    <a:p>
                      <a:r>
                        <a:rPr lang="en-US" sz="1200" baseline="0" dirty="0">
                          <a:latin typeface="Gotham Medium" panose="02000603030000020004" pitchFamily="2" charset="0"/>
                        </a:rPr>
                        <a:t>AIL - All India level seats </a:t>
                      </a:r>
                    </a:p>
                    <a:p>
                      <a:r>
                        <a:rPr lang="en-US" sz="1200" baseline="0" dirty="0">
                          <a:latin typeface="Gotham Medium" panose="02000603030000020004" pitchFamily="2" charset="0"/>
                        </a:rPr>
                        <a:t>IL - Seats to be filled by Management of respective institute</a:t>
                      </a:r>
                    </a:p>
                    <a:p>
                      <a:r>
                        <a:rPr lang="en-US" sz="1200" baseline="0" dirty="0">
                          <a:latin typeface="Gotham Medium" panose="02000603030000020004" pitchFamily="2" charset="0"/>
                        </a:rPr>
                        <a:t>G - Seats for general (both for boys and girls)</a:t>
                      </a:r>
                    </a:p>
                    <a:p>
                      <a:r>
                        <a:rPr lang="en-US" sz="1200" baseline="0" dirty="0">
                          <a:latin typeface="Gotham Medium" panose="02000603030000020004" pitchFamily="2" charset="0"/>
                        </a:rPr>
                        <a:t>L - Seats reserved for girls</a:t>
                      </a:r>
                    </a:p>
                    <a:p>
                      <a:r>
                        <a:rPr lang="en-US" sz="1200" baseline="0" dirty="0">
                          <a:latin typeface="Gotham Medium" panose="02000603030000020004" pitchFamily="2" charset="0"/>
                        </a:rPr>
                        <a:t>HU – Home University</a:t>
                      </a:r>
                    </a:p>
                    <a:p>
                      <a:r>
                        <a:rPr lang="en-US" sz="1200" baseline="0" dirty="0">
                          <a:latin typeface="Gotham Medium" panose="02000603030000020004" pitchFamily="2" charset="0"/>
                        </a:rPr>
                        <a:t>OTHU - Other than home University</a:t>
                      </a:r>
                    </a:p>
                    <a:p>
                      <a:endParaRPr lang="en-IN" sz="1200" b="0" dirty="0">
                        <a:solidFill>
                          <a:schemeClr val="tx1"/>
                        </a:solidFill>
                        <a:latin typeface="Gotham Medium" panose="02000603030000020004" pitchFamily="2" charset="0"/>
                      </a:endParaRPr>
                    </a:p>
                  </a:txBody>
                  <a:tcPr marL="68581" marR="68581" marT="34288" marB="34288"/>
                </a:tc>
                <a:tc hMerge="1">
                  <a:txBody>
                    <a:bodyPr/>
                    <a:lstStyle/>
                    <a:p>
                      <a:endParaRPr lang="en-IN" dirty="0"/>
                    </a:p>
                  </a:txBody>
                  <a:tcPr marT="45718" marB="45718"/>
                </a:tc>
                <a:tc hMerge="1">
                  <a:txBody>
                    <a:bodyPr/>
                    <a:lstStyle/>
                    <a:p>
                      <a:endParaRPr lang="en-IN"/>
                    </a:p>
                  </a:txBody>
                  <a:tcPr/>
                </a:tc>
                <a:tc hMerge="1">
                  <a:txBody>
                    <a:bodyPr/>
                    <a:lstStyle/>
                    <a:p>
                      <a:endParaRPr lang="en-IN"/>
                    </a:p>
                  </a:txBody>
                  <a:tcPr/>
                </a:tc>
                <a:tc hMerge="1">
                  <a:txBody>
                    <a:bodyPr/>
                    <a:lstStyle/>
                    <a:p>
                      <a:endParaRPr lang="en-IN" dirty="0"/>
                    </a:p>
                  </a:txBody>
                  <a:tcPr marT="45718" marB="45718"/>
                </a:tc>
                <a:tc hMerge="1">
                  <a:txBody>
                    <a:bodyPr/>
                    <a:lstStyle/>
                    <a:p>
                      <a:endParaRPr lang="en-IN"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extLst>
                  <a:ext uri="{0D108BD9-81ED-4DB2-BD59-A6C34878D82A}">
                    <a16:rowId xmlns:a16="http://schemas.microsoft.com/office/drawing/2014/main" val="10006"/>
                  </a:ext>
                </a:extLst>
              </a:tr>
            </a:tbl>
          </a:graphicData>
        </a:graphic>
      </p:graphicFrame>
      <p:sp>
        <p:nvSpPr>
          <p:cNvPr id="2" name="Title 1">
            <a:extLst>
              <a:ext uri="{FF2B5EF4-FFF2-40B4-BE49-F238E27FC236}">
                <a16:creationId xmlns:a16="http://schemas.microsoft.com/office/drawing/2014/main" id="{7DBC41E9-0CB4-42B9-B5FB-717F9FEE22B6}"/>
              </a:ext>
            </a:extLst>
          </p:cNvPr>
          <p:cNvSpPr txBox="1">
            <a:spLocks/>
          </p:cNvSpPr>
          <p:nvPr/>
        </p:nvSpPr>
        <p:spPr>
          <a:xfrm>
            <a:off x="155641" y="280477"/>
            <a:ext cx="8988359" cy="883864"/>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2800" dirty="0">
                <a:solidFill>
                  <a:srgbClr val="FF5969"/>
                </a:solidFill>
                <a:latin typeface="Gotham Bold" panose="02000803030000020004" pitchFamily="2" charset="0"/>
              </a:rPr>
              <a:t>Seat Matrix: </a:t>
            </a:r>
            <a:r>
              <a:rPr lang="en-US" sz="2800" dirty="0">
                <a:solidFill>
                  <a:srgbClr val="FEC630"/>
                </a:solidFill>
                <a:latin typeface="Gotham Bold" panose="02000803030000020004" pitchFamily="2" charset="0"/>
              </a:rPr>
              <a:t>Govt. College </a:t>
            </a:r>
            <a:r>
              <a:rPr lang="en-US" sz="2000" dirty="0">
                <a:solidFill>
                  <a:srgbClr val="FEC630"/>
                </a:solidFill>
                <a:latin typeface="Gotham Bold" panose="02000803030000020004" pitchFamily="2" charset="0"/>
              </a:rPr>
              <a:t>(Non Autonomous)</a:t>
            </a:r>
            <a:endParaRPr lang="en-US" sz="2800" dirty="0">
              <a:solidFill>
                <a:srgbClr val="FEC630"/>
              </a:solidFill>
              <a:latin typeface="Gotham Bold" panose="02000803030000020004" pitchFamily="2" charset="0"/>
            </a:endParaRPr>
          </a:p>
        </p:txBody>
      </p:sp>
      <p:sp>
        <p:nvSpPr>
          <p:cNvPr id="4" name="Rectangle 3">
            <a:extLst>
              <a:ext uri="{FF2B5EF4-FFF2-40B4-BE49-F238E27FC236}">
                <a16:creationId xmlns:a16="http://schemas.microsoft.com/office/drawing/2014/main" id="{845C5EEB-5159-4629-9568-F22ED1B108D9}"/>
              </a:ext>
            </a:extLst>
          </p:cNvPr>
          <p:cNvSpPr/>
          <p:nvPr/>
        </p:nvSpPr>
        <p:spPr>
          <a:xfrm>
            <a:off x="-4482" y="-1"/>
            <a:ext cx="156881" cy="5142251"/>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7" name="Rectangle 6">
            <a:extLst>
              <a:ext uri="{FF2B5EF4-FFF2-40B4-BE49-F238E27FC236}">
                <a16:creationId xmlns:a16="http://schemas.microsoft.com/office/drawing/2014/main" id="{02E9182E-0048-4220-BE33-C57F639C4F6F}"/>
              </a:ext>
            </a:extLst>
          </p:cNvPr>
          <p:cNvSpPr/>
          <p:nvPr/>
        </p:nvSpPr>
        <p:spPr>
          <a:xfrm flipH="1">
            <a:off x="49442" y="417666"/>
            <a:ext cx="148638" cy="609485"/>
          </a:xfrm>
          <a:prstGeom prst="rect">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Tree>
    <p:extLst>
      <p:ext uri="{BB962C8B-B14F-4D97-AF65-F5344CB8AC3E}">
        <p14:creationId xmlns:p14="http://schemas.microsoft.com/office/powerpoint/2010/main" val="4115208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3">
            <a:extLst>
              <a:ext uri="{FF2B5EF4-FFF2-40B4-BE49-F238E27FC236}">
                <a16:creationId xmlns:a16="http://schemas.microsoft.com/office/drawing/2014/main" id="{6BC9F443-FC80-402C-B0BB-8BAC68916CCC}"/>
              </a:ext>
            </a:extLst>
          </p:cNvPr>
          <p:cNvGraphicFramePr>
            <a:graphicFrameLocks/>
          </p:cNvGraphicFramePr>
          <p:nvPr>
            <p:extLst>
              <p:ext uri="{D42A27DB-BD31-4B8C-83A1-F6EECF244321}">
                <p14:modId xmlns:p14="http://schemas.microsoft.com/office/powerpoint/2010/main" val="3596310039"/>
              </p:ext>
            </p:extLst>
          </p:nvPr>
        </p:nvGraphicFramePr>
        <p:xfrm>
          <a:off x="504386" y="1175441"/>
          <a:ext cx="8305795" cy="3524461"/>
        </p:xfrm>
        <a:graphic>
          <a:graphicData uri="http://schemas.openxmlformats.org/drawingml/2006/table">
            <a:tbl>
              <a:tblPr firstRow="1" bandRow="1">
                <a:tableStyleId>{5940675A-B579-460E-94D1-54222C63F5DA}</a:tableStyleId>
              </a:tblPr>
              <a:tblGrid>
                <a:gridCol w="1076940">
                  <a:extLst>
                    <a:ext uri="{9D8B030D-6E8A-4147-A177-3AD203B41FA5}">
                      <a16:colId xmlns:a16="http://schemas.microsoft.com/office/drawing/2014/main" val="20000"/>
                    </a:ext>
                  </a:extLst>
                </a:gridCol>
                <a:gridCol w="358981">
                  <a:extLst>
                    <a:ext uri="{9D8B030D-6E8A-4147-A177-3AD203B41FA5}">
                      <a16:colId xmlns:a16="http://schemas.microsoft.com/office/drawing/2014/main" val="20001"/>
                    </a:ext>
                  </a:extLst>
                </a:gridCol>
                <a:gridCol w="287184">
                  <a:extLst>
                    <a:ext uri="{9D8B030D-6E8A-4147-A177-3AD203B41FA5}">
                      <a16:colId xmlns:a16="http://schemas.microsoft.com/office/drawing/2014/main" val="20002"/>
                    </a:ext>
                  </a:extLst>
                </a:gridCol>
                <a:gridCol w="110088">
                  <a:extLst>
                    <a:ext uri="{9D8B030D-6E8A-4147-A177-3AD203B41FA5}">
                      <a16:colId xmlns:a16="http://schemas.microsoft.com/office/drawing/2014/main" val="20003"/>
                    </a:ext>
                  </a:extLst>
                </a:gridCol>
                <a:gridCol w="358981">
                  <a:extLst>
                    <a:ext uri="{9D8B030D-6E8A-4147-A177-3AD203B41FA5}">
                      <a16:colId xmlns:a16="http://schemas.microsoft.com/office/drawing/2014/main" val="20004"/>
                    </a:ext>
                  </a:extLst>
                </a:gridCol>
                <a:gridCol w="358981">
                  <a:extLst>
                    <a:ext uri="{9D8B030D-6E8A-4147-A177-3AD203B41FA5}">
                      <a16:colId xmlns:a16="http://schemas.microsoft.com/office/drawing/2014/main" val="20005"/>
                    </a:ext>
                  </a:extLst>
                </a:gridCol>
                <a:gridCol w="358981">
                  <a:extLst>
                    <a:ext uri="{9D8B030D-6E8A-4147-A177-3AD203B41FA5}">
                      <a16:colId xmlns:a16="http://schemas.microsoft.com/office/drawing/2014/main" val="20006"/>
                    </a:ext>
                  </a:extLst>
                </a:gridCol>
                <a:gridCol w="358981">
                  <a:extLst>
                    <a:ext uri="{9D8B030D-6E8A-4147-A177-3AD203B41FA5}">
                      <a16:colId xmlns:a16="http://schemas.microsoft.com/office/drawing/2014/main" val="20007"/>
                    </a:ext>
                  </a:extLst>
                </a:gridCol>
                <a:gridCol w="358981">
                  <a:extLst>
                    <a:ext uri="{9D8B030D-6E8A-4147-A177-3AD203B41FA5}">
                      <a16:colId xmlns:a16="http://schemas.microsoft.com/office/drawing/2014/main" val="20008"/>
                    </a:ext>
                  </a:extLst>
                </a:gridCol>
                <a:gridCol w="358981">
                  <a:extLst>
                    <a:ext uri="{9D8B030D-6E8A-4147-A177-3AD203B41FA5}">
                      <a16:colId xmlns:a16="http://schemas.microsoft.com/office/drawing/2014/main" val="20009"/>
                    </a:ext>
                  </a:extLst>
                </a:gridCol>
                <a:gridCol w="358981">
                  <a:extLst>
                    <a:ext uri="{9D8B030D-6E8A-4147-A177-3AD203B41FA5}">
                      <a16:colId xmlns:a16="http://schemas.microsoft.com/office/drawing/2014/main" val="20010"/>
                    </a:ext>
                  </a:extLst>
                </a:gridCol>
                <a:gridCol w="287184">
                  <a:extLst>
                    <a:ext uri="{9D8B030D-6E8A-4147-A177-3AD203B41FA5}">
                      <a16:colId xmlns:a16="http://schemas.microsoft.com/office/drawing/2014/main" val="20011"/>
                    </a:ext>
                  </a:extLst>
                </a:gridCol>
                <a:gridCol w="287184">
                  <a:extLst>
                    <a:ext uri="{9D8B030D-6E8A-4147-A177-3AD203B41FA5}">
                      <a16:colId xmlns:a16="http://schemas.microsoft.com/office/drawing/2014/main" val="20012"/>
                    </a:ext>
                  </a:extLst>
                </a:gridCol>
                <a:gridCol w="425994">
                  <a:extLst>
                    <a:ext uri="{9D8B030D-6E8A-4147-A177-3AD203B41FA5}">
                      <a16:colId xmlns:a16="http://schemas.microsoft.com/office/drawing/2014/main" val="20013"/>
                    </a:ext>
                  </a:extLst>
                </a:gridCol>
                <a:gridCol w="363765">
                  <a:extLst>
                    <a:ext uri="{9D8B030D-6E8A-4147-A177-3AD203B41FA5}">
                      <a16:colId xmlns:a16="http://schemas.microsoft.com/office/drawing/2014/main" val="20014"/>
                    </a:ext>
                  </a:extLst>
                </a:gridCol>
                <a:gridCol w="358981">
                  <a:extLst>
                    <a:ext uri="{9D8B030D-6E8A-4147-A177-3AD203B41FA5}">
                      <a16:colId xmlns:a16="http://schemas.microsoft.com/office/drawing/2014/main" val="20015"/>
                    </a:ext>
                  </a:extLst>
                </a:gridCol>
                <a:gridCol w="369924">
                  <a:extLst>
                    <a:ext uri="{9D8B030D-6E8A-4147-A177-3AD203B41FA5}">
                      <a16:colId xmlns:a16="http://schemas.microsoft.com/office/drawing/2014/main" val="20016"/>
                    </a:ext>
                  </a:extLst>
                </a:gridCol>
                <a:gridCol w="430776">
                  <a:extLst>
                    <a:ext uri="{9D8B030D-6E8A-4147-A177-3AD203B41FA5}">
                      <a16:colId xmlns:a16="http://schemas.microsoft.com/office/drawing/2014/main" val="20017"/>
                    </a:ext>
                  </a:extLst>
                </a:gridCol>
                <a:gridCol w="358981">
                  <a:extLst>
                    <a:ext uri="{9D8B030D-6E8A-4147-A177-3AD203B41FA5}">
                      <a16:colId xmlns:a16="http://schemas.microsoft.com/office/drawing/2014/main" val="20018"/>
                    </a:ext>
                  </a:extLst>
                </a:gridCol>
                <a:gridCol w="430776">
                  <a:extLst>
                    <a:ext uri="{9D8B030D-6E8A-4147-A177-3AD203B41FA5}">
                      <a16:colId xmlns:a16="http://schemas.microsoft.com/office/drawing/2014/main" val="20019"/>
                    </a:ext>
                  </a:extLst>
                </a:gridCol>
                <a:gridCol w="330632">
                  <a:extLst>
                    <a:ext uri="{9D8B030D-6E8A-4147-A177-3AD203B41FA5}">
                      <a16:colId xmlns:a16="http://schemas.microsoft.com/office/drawing/2014/main" val="20020"/>
                    </a:ext>
                  </a:extLst>
                </a:gridCol>
                <a:gridCol w="315538">
                  <a:extLst>
                    <a:ext uri="{9D8B030D-6E8A-4147-A177-3AD203B41FA5}">
                      <a16:colId xmlns:a16="http://schemas.microsoft.com/office/drawing/2014/main" val="20021"/>
                    </a:ext>
                  </a:extLst>
                </a:gridCol>
              </a:tblGrid>
              <a:tr h="361041">
                <a:tc gridSpan="3">
                  <a:txBody>
                    <a:bodyPr/>
                    <a:lstStyle/>
                    <a:p>
                      <a:pPr algn="ctr"/>
                      <a:r>
                        <a:rPr lang="en-US" sz="1800" dirty="0">
                          <a:latin typeface="Gotham Medium" panose="02000603030000020004" pitchFamily="2" charset="0"/>
                        </a:rPr>
                        <a:t>S.I.</a:t>
                      </a:r>
                      <a:r>
                        <a:rPr lang="en-US" sz="1800" baseline="0" dirty="0">
                          <a:latin typeface="Gotham Medium" panose="02000603030000020004" pitchFamily="2" charset="0"/>
                        </a:rPr>
                        <a:t>   -  60</a:t>
                      </a:r>
                      <a:endParaRPr lang="en-IN" sz="1800" b="1" dirty="0">
                        <a:solidFill>
                          <a:schemeClr val="tx1"/>
                        </a:solidFill>
                        <a:latin typeface="Gotham Medium" panose="02000603030000020004" pitchFamily="2" charset="0"/>
                      </a:endParaRPr>
                    </a:p>
                  </a:txBody>
                  <a:tcPr marL="68581" marR="68581" marT="34289" marB="34289" anchor="ctr">
                    <a:solidFill>
                      <a:schemeClr val="bg1">
                        <a:lumMod val="75000"/>
                      </a:schemeClr>
                    </a:solidFill>
                  </a:tcPr>
                </a:tc>
                <a:tc hMerge="1">
                  <a:txBody>
                    <a:bodyPr/>
                    <a:lstStyle/>
                    <a:p>
                      <a:endParaRPr lang="en-IN"/>
                    </a:p>
                  </a:txBody>
                  <a:tcPr/>
                </a:tc>
                <a:tc hMerge="1">
                  <a:txBody>
                    <a:bodyPr/>
                    <a:lstStyle/>
                    <a:p>
                      <a:endParaRPr lang="en-IN"/>
                    </a:p>
                  </a:txBody>
                  <a:tcPr/>
                </a:tc>
                <a:tc gridSpan="5">
                  <a:txBody>
                    <a:bodyPr/>
                    <a:lstStyle/>
                    <a:p>
                      <a:pPr algn="ctr"/>
                      <a:r>
                        <a:rPr lang="en-US" sz="1600" dirty="0">
                          <a:latin typeface="Gotham Medium" panose="02000603030000020004" pitchFamily="2" charset="0"/>
                        </a:rPr>
                        <a:t>MSCAP - 39 </a:t>
                      </a:r>
                      <a:endParaRPr lang="en-IN" sz="1600" b="1" dirty="0">
                        <a:solidFill>
                          <a:schemeClr val="tx1"/>
                        </a:solidFill>
                        <a:latin typeface="Gotham Medium" panose="02000603030000020004" pitchFamily="2" charset="0"/>
                      </a:endParaRPr>
                    </a:p>
                  </a:txBody>
                  <a:tcPr marL="68581" marR="68581" marT="34289" marB="34289" anchor="ctr">
                    <a:solidFill>
                      <a:schemeClr val="bg1">
                        <a:lumMod val="75000"/>
                      </a:schemeClr>
                    </a:solidFill>
                  </a:tcPr>
                </a:tc>
                <a:tc hMerge="1">
                  <a:txBody>
                    <a:bodyPr/>
                    <a:lstStyle/>
                    <a:p>
                      <a:endParaRPr lang="en-IN"/>
                    </a:p>
                  </a:txBody>
                  <a:tcPr/>
                </a:tc>
                <a:tc hMerge="1">
                  <a:txBody>
                    <a:bodyPr/>
                    <a:lstStyle/>
                    <a:p>
                      <a:endParaRPr lang="en-IN"/>
                    </a:p>
                  </a:txBody>
                  <a:tcPr/>
                </a:tc>
                <a:tc hMerge="1">
                  <a:txBody>
                    <a:bodyPr/>
                    <a:lstStyle/>
                    <a:p>
                      <a:pPr algn="ctr"/>
                      <a:endParaRPr lang="en-IN" sz="1800" dirty="0"/>
                    </a:p>
                  </a:txBody>
                  <a:tcPr marT="45718" marB="45718"/>
                </a:tc>
                <a:tc hMerge="1">
                  <a:txBody>
                    <a:bodyPr/>
                    <a:lstStyle/>
                    <a:p>
                      <a:endParaRPr lang="en-IN" dirty="0"/>
                    </a:p>
                  </a:txBody>
                  <a:tcPr/>
                </a:tc>
                <a:tc gridSpan="6">
                  <a:txBody>
                    <a:bodyPr/>
                    <a:lstStyle/>
                    <a:p>
                      <a:pPr algn="ctr"/>
                      <a:r>
                        <a:rPr lang="en-US" sz="1800" dirty="0">
                          <a:latin typeface="Gotham Medium" panose="02000603030000020004" pitchFamily="2" charset="0"/>
                        </a:rPr>
                        <a:t>AIL - 09</a:t>
                      </a:r>
                      <a:endParaRPr lang="en-IN" sz="1800" b="1" dirty="0">
                        <a:solidFill>
                          <a:schemeClr val="tx1"/>
                        </a:solidFill>
                        <a:latin typeface="Gotham Medium" panose="02000603030000020004" pitchFamily="2" charset="0"/>
                      </a:endParaRPr>
                    </a:p>
                  </a:txBody>
                  <a:tcPr marL="68581" marR="68581" marT="34289" marB="34289" anchor="ctr">
                    <a:solidFill>
                      <a:schemeClr val="bg1">
                        <a:lumMod val="75000"/>
                      </a:schemeClr>
                    </a:solidFill>
                  </a:tcPr>
                </a:tc>
                <a:tc hMerge="1">
                  <a:txBody>
                    <a:bodyPr/>
                    <a:lstStyle/>
                    <a:p>
                      <a:pPr algn="ctr"/>
                      <a:endParaRPr lang="en-IN" dirty="0"/>
                    </a:p>
                  </a:txBody>
                  <a:tcPr/>
                </a:tc>
                <a:tc hMerge="1">
                  <a:txBody>
                    <a:bodyPr/>
                    <a:lstStyle/>
                    <a:p>
                      <a:pPr algn="ctr"/>
                      <a:endParaRPr lang="en-IN" dirty="0"/>
                    </a:p>
                  </a:txBody>
                  <a:tcPr/>
                </a:tc>
                <a:tc hMerge="1">
                  <a:txBody>
                    <a:bodyPr/>
                    <a:lstStyle/>
                    <a:p>
                      <a:pPr algn="ctr"/>
                      <a:endParaRPr lang="en-IN" dirty="0"/>
                    </a:p>
                  </a:txBody>
                  <a:tcPr/>
                </a:tc>
                <a:tc hMerge="1">
                  <a:txBody>
                    <a:bodyPr/>
                    <a:lstStyle/>
                    <a:p>
                      <a:pPr algn="ctr"/>
                      <a:endParaRPr lang="en-IN" sz="1800" dirty="0"/>
                    </a:p>
                  </a:txBody>
                  <a:tcPr marT="45718" marB="45718"/>
                </a:tc>
                <a:tc hMerge="1">
                  <a:txBody>
                    <a:bodyPr/>
                    <a:lstStyle/>
                    <a:p>
                      <a:pPr algn="ctr"/>
                      <a:endParaRPr lang="en-IN" dirty="0"/>
                    </a:p>
                  </a:txBody>
                  <a:tcPr/>
                </a:tc>
                <a:tc gridSpan="8">
                  <a:txBody>
                    <a:bodyPr/>
                    <a:lstStyle/>
                    <a:p>
                      <a:pPr algn="ctr"/>
                      <a:r>
                        <a:rPr lang="en-US" sz="1800" dirty="0">
                          <a:latin typeface="Gotham Medium" panose="02000603030000020004" pitchFamily="2" charset="0"/>
                        </a:rPr>
                        <a:t>IL</a:t>
                      </a:r>
                      <a:r>
                        <a:rPr lang="en-US" sz="1800" baseline="0" dirty="0">
                          <a:latin typeface="Gotham Medium" panose="02000603030000020004" pitchFamily="2" charset="0"/>
                        </a:rPr>
                        <a:t> – 12</a:t>
                      </a:r>
                      <a:endParaRPr lang="en-IN" sz="1800" b="1" dirty="0">
                        <a:solidFill>
                          <a:schemeClr val="tx1"/>
                        </a:solidFill>
                        <a:latin typeface="Gotham Medium" panose="02000603030000020004" pitchFamily="2" charset="0"/>
                      </a:endParaRPr>
                    </a:p>
                  </a:txBody>
                  <a:tcPr marL="68581" marR="68581" marT="34289" marB="34289" anchor="ctr">
                    <a:solidFill>
                      <a:schemeClr val="bg1">
                        <a:lumMod val="75000"/>
                      </a:schemeClr>
                    </a:solidFill>
                  </a:tcPr>
                </a:tc>
                <a:tc hMerge="1">
                  <a:txBody>
                    <a:bodyPr/>
                    <a:lstStyle/>
                    <a:p>
                      <a:pPr algn="ctr"/>
                      <a:endParaRPr lang="en-IN" dirty="0"/>
                    </a:p>
                  </a:txBody>
                  <a:tcPr/>
                </a:tc>
                <a:tc hMerge="1">
                  <a:txBody>
                    <a:bodyPr/>
                    <a:lstStyle/>
                    <a:p>
                      <a:pPr algn="ctr"/>
                      <a:endParaRPr lang="en-IN" dirty="0"/>
                    </a:p>
                  </a:txBody>
                  <a:tcPr/>
                </a:tc>
                <a:tc hMerge="1">
                  <a:txBody>
                    <a:bodyPr/>
                    <a:lstStyle/>
                    <a:p>
                      <a:endParaRPr lang="en-IN"/>
                    </a:p>
                  </a:txBody>
                  <a:tcPr/>
                </a:tc>
                <a:tc hMerge="1">
                  <a:txBody>
                    <a:bodyPr/>
                    <a:lstStyle/>
                    <a:p>
                      <a:pPr algn="ctr"/>
                      <a:endParaRPr lang="en-IN" dirty="0"/>
                    </a:p>
                  </a:txBody>
                  <a:tcPr/>
                </a:tc>
                <a:tc hMerge="1">
                  <a:txBody>
                    <a:bodyPr/>
                    <a:lstStyle/>
                    <a:p>
                      <a:pPr algn="ctr"/>
                      <a:endParaRPr lang="en-IN" dirty="0"/>
                    </a:p>
                  </a:txBody>
                  <a:tcPr/>
                </a:tc>
                <a:tc hMerge="1">
                  <a:txBody>
                    <a:bodyPr/>
                    <a:lstStyle/>
                    <a:p>
                      <a:pPr algn="ctr"/>
                      <a:endParaRPr lang="en-IN" dirty="0"/>
                    </a:p>
                  </a:txBody>
                  <a:tcPr/>
                </a:tc>
                <a:tc hMerge="1">
                  <a:txBody>
                    <a:bodyPr/>
                    <a:lstStyle/>
                    <a:p>
                      <a:pPr algn="ctr"/>
                      <a:endParaRPr lang="en-IN" dirty="0"/>
                    </a:p>
                  </a:txBody>
                  <a:tcPr/>
                </a:tc>
                <a:extLst>
                  <a:ext uri="{0D108BD9-81ED-4DB2-BD59-A6C34878D82A}">
                    <a16:rowId xmlns:a16="http://schemas.microsoft.com/office/drawing/2014/main" val="10000"/>
                  </a:ext>
                </a:extLst>
              </a:tr>
              <a:tr h="271615">
                <a:tc>
                  <a:txBody>
                    <a:bodyPr/>
                    <a:lstStyle/>
                    <a:p>
                      <a:pPr algn="ctr"/>
                      <a:r>
                        <a:rPr lang="en-US" sz="1200" dirty="0">
                          <a:latin typeface="Gotham Medium" panose="02000603030000020004" pitchFamily="2" charset="0"/>
                        </a:rPr>
                        <a:t>Category</a:t>
                      </a:r>
                      <a:endParaRPr lang="en-IN" sz="1200" b="1" dirty="0">
                        <a:solidFill>
                          <a:schemeClr val="tx1"/>
                        </a:solidFill>
                        <a:latin typeface="Gotham Medium" panose="02000603030000020004" pitchFamily="2" charset="0"/>
                      </a:endParaRPr>
                    </a:p>
                  </a:txBody>
                  <a:tcPr marL="68581" marR="68581" marT="34289" marB="34289" anchor="ctr">
                    <a:solidFill>
                      <a:srgbClr val="FF97A1"/>
                    </a:solidFill>
                  </a:tcPr>
                </a:tc>
                <a:tc gridSpan="3">
                  <a:txBody>
                    <a:bodyPr/>
                    <a:lstStyle/>
                    <a:p>
                      <a:pPr algn="ctr"/>
                      <a:r>
                        <a:rPr lang="en-US" sz="1200" dirty="0">
                          <a:latin typeface="Gotham Medium" panose="02000603030000020004" pitchFamily="2" charset="0"/>
                        </a:rPr>
                        <a:t>Open</a:t>
                      </a:r>
                      <a:endParaRPr lang="en-IN" sz="1200" b="1"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a:p>
                  </a:txBody>
                  <a:tcPr/>
                </a:tc>
                <a:tc hMerge="1">
                  <a:txBody>
                    <a:bodyPr/>
                    <a:lstStyle/>
                    <a:p>
                      <a:endParaRPr lang="en-IN"/>
                    </a:p>
                  </a:txBody>
                  <a:tcPr/>
                </a:tc>
                <a:tc gridSpan="2">
                  <a:txBody>
                    <a:bodyPr/>
                    <a:lstStyle/>
                    <a:p>
                      <a:pPr algn="ctr"/>
                      <a:r>
                        <a:rPr lang="en-US" sz="1200" dirty="0">
                          <a:latin typeface="Gotham Medium" panose="02000603030000020004" pitchFamily="2" charset="0"/>
                        </a:rPr>
                        <a:t>SC</a:t>
                      </a:r>
                      <a:endParaRPr lang="en-IN" sz="1200" b="1"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a:p>
                  </a:txBody>
                  <a:tcPr/>
                </a:tc>
                <a:tc gridSpan="2">
                  <a:txBody>
                    <a:bodyPr/>
                    <a:lstStyle/>
                    <a:p>
                      <a:pPr algn="ctr"/>
                      <a:r>
                        <a:rPr lang="en-US" sz="1200" dirty="0">
                          <a:latin typeface="Gotham Medium" panose="02000603030000020004" pitchFamily="2" charset="0"/>
                        </a:rPr>
                        <a:t>ST</a:t>
                      </a:r>
                      <a:endParaRPr lang="en-IN" sz="1200" b="1"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VJ/DT</a:t>
                      </a:r>
                      <a:endParaRPr lang="en-IN" sz="1200" b="1"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NTB</a:t>
                      </a:r>
                      <a:endParaRPr lang="en-IN" sz="1200" b="1"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NTC</a:t>
                      </a:r>
                      <a:endParaRPr lang="en-IN" sz="1200" b="1"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NTD</a:t>
                      </a:r>
                      <a:endParaRPr lang="en-IN" sz="1200" b="1"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OBC</a:t>
                      </a:r>
                      <a:endParaRPr lang="en-IN" sz="1200" b="1"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a:p>
                  </a:txBody>
                  <a:tcPr/>
                </a:tc>
                <a:tc gridSpan="2">
                  <a:txBody>
                    <a:bodyPr/>
                    <a:lstStyle/>
                    <a:p>
                      <a:pPr algn="ctr"/>
                      <a:r>
                        <a:rPr lang="en-US" sz="1200" dirty="0">
                          <a:latin typeface="Gotham Medium" panose="02000603030000020004" pitchFamily="2" charset="0"/>
                        </a:rPr>
                        <a:t>PH</a:t>
                      </a:r>
                      <a:endParaRPr lang="en-IN" sz="1200" b="1"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dirty="0"/>
                    </a:p>
                  </a:txBody>
                  <a:tcPr/>
                </a:tc>
                <a:tc gridSpan="2">
                  <a:txBody>
                    <a:bodyPr/>
                    <a:lstStyle/>
                    <a:p>
                      <a:pPr algn="ctr"/>
                      <a:r>
                        <a:rPr lang="en-US" sz="1200" dirty="0">
                          <a:latin typeface="Gotham Medium" panose="02000603030000020004" pitchFamily="2" charset="0"/>
                        </a:rPr>
                        <a:t>DEF</a:t>
                      </a:r>
                      <a:endParaRPr lang="en-IN" sz="1200" b="1" dirty="0">
                        <a:solidFill>
                          <a:schemeClr val="tx1"/>
                        </a:solidFill>
                        <a:latin typeface="Gotham Medium" panose="02000603030000020004" pitchFamily="2" charset="0"/>
                      </a:endParaRPr>
                    </a:p>
                  </a:txBody>
                  <a:tcPr marL="68581" marR="68581" marT="34289" marB="34289" anchor="ctr">
                    <a:solidFill>
                      <a:srgbClr val="FF97A1"/>
                    </a:solidFill>
                  </a:tcPr>
                </a:tc>
                <a:tc hMerge="1">
                  <a:txBody>
                    <a:bodyPr/>
                    <a:lstStyle/>
                    <a:p>
                      <a:endParaRPr lang="en-IN" dirty="0"/>
                    </a:p>
                  </a:txBody>
                  <a:tcPr/>
                </a:tc>
                <a:extLst>
                  <a:ext uri="{0D108BD9-81ED-4DB2-BD59-A6C34878D82A}">
                    <a16:rowId xmlns:a16="http://schemas.microsoft.com/office/drawing/2014/main" val="10001"/>
                  </a:ext>
                </a:extLst>
              </a:tr>
              <a:tr h="271615">
                <a:tc>
                  <a:txBody>
                    <a:bodyPr/>
                    <a:lstStyle/>
                    <a:p>
                      <a:r>
                        <a:rPr lang="en-US" sz="1200" dirty="0">
                          <a:latin typeface="Gotham Medium" panose="02000603030000020004" pitchFamily="2" charset="0"/>
                        </a:rPr>
                        <a:t>Gen./Lad.</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gridSpan="2">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hMerge="1">
                  <a:txBody>
                    <a:bodyPr/>
                    <a:lstStyle/>
                    <a:p>
                      <a:endParaRPr lang="en-IN"/>
                    </a:p>
                  </a:txBody>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G</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tc>
                  <a:txBody>
                    <a:bodyPr/>
                    <a:lstStyle/>
                    <a:p>
                      <a:pPr algn="ctr"/>
                      <a:r>
                        <a:rPr lang="en-US" sz="1200" dirty="0">
                          <a:latin typeface="Gotham Medium" panose="02000603030000020004" pitchFamily="2" charset="0"/>
                        </a:rPr>
                        <a:t>L</a:t>
                      </a:r>
                      <a:endParaRPr lang="en-IN" sz="1200" b="1" dirty="0">
                        <a:solidFill>
                          <a:schemeClr val="tx1"/>
                        </a:solidFill>
                        <a:latin typeface="Gotham Medium" panose="02000603030000020004" pitchFamily="2" charset="0"/>
                      </a:endParaRPr>
                    </a:p>
                  </a:txBody>
                  <a:tcPr marL="68581" marR="68581" marT="34289" marB="34289" anchor="ctr">
                    <a:solidFill>
                      <a:schemeClr val="bg1">
                        <a:lumMod val="85000"/>
                      </a:schemeClr>
                    </a:solidFill>
                  </a:tcPr>
                </a:tc>
                <a:extLst>
                  <a:ext uri="{0D108BD9-81ED-4DB2-BD59-A6C34878D82A}">
                    <a16:rowId xmlns:a16="http://schemas.microsoft.com/office/drawing/2014/main" val="10002"/>
                  </a:ext>
                </a:extLst>
              </a:tr>
              <a:tr h="271615">
                <a:tc>
                  <a:txBody>
                    <a:bodyPr/>
                    <a:lstStyle/>
                    <a:p>
                      <a:r>
                        <a:rPr lang="en-US" sz="1200" dirty="0">
                          <a:latin typeface="Gotham Medium" panose="02000603030000020004" pitchFamily="2" charset="0"/>
                        </a:rPr>
                        <a:t>State</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gridSpan="2">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hMerge="1">
                  <a:txBody>
                    <a:bodyPr/>
                    <a:lstStyle/>
                    <a:p>
                      <a:endParaRPr lang="en-IN"/>
                    </a:p>
                  </a:txBody>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solidFill>
                      <a:srgbClr val="7BD7CC"/>
                    </a:solidFill>
                  </a:tcPr>
                </a:tc>
                <a:extLst>
                  <a:ext uri="{0D108BD9-81ED-4DB2-BD59-A6C34878D82A}">
                    <a16:rowId xmlns:a16="http://schemas.microsoft.com/office/drawing/2014/main" val="10003"/>
                  </a:ext>
                </a:extLst>
              </a:tr>
              <a:tr h="271615">
                <a:tc>
                  <a:txBody>
                    <a:bodyPr/>
                    <a:lstStyle/>
                    <a:p>
                      <a:r>
                        <a:rPr lang="en-US" sz="1200" dirty="0">
                          <a:latin typeface="Gotham Medium" panose="02000603030000020004" pitchFamily="2" charset="0"/>
                        </a:rPr>
                        <a:t>H</a:t>
                      </a:r>
                      <a:r>
                        <a:rPr lang="en-US" sz="1200" baseline="0" dirty="0">
                          <a:latin typeface="Gotham Medium" panose="02000603030000020004" pitchFamily="2" charset="0"/>
                        </a:rPr>
                        <a:t>U</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8</a:t>
                      </a:r>
                      <a:endParaRPr lang="en-IN" sz="1200" b="1" dirty="0">
                        <a:solidFill>
                          <a:schemeClr val="tx1"/>
                        </a:solidFill>
                        <a:latin typeface="Gotham Medium" panose="02000603030000020004" pitchFamily="2" charset="0"/>
                      </a:endParaRPr>
                    </a:p>
                  </a:txBody>
                  <a:tcPr marL="68581" marR="68581" marT="34289" marB="34289" anchor="ctr"/>
                </a:tc>
                <a:tc gridSpan="2">
                  <a:txBody>
                    <a:bodyPr/>
                    <a:lstStyle/>
                    <a:p>
                      <a:pPr algn="ctr"/>
                      <a:r>
                        <a:rPr lang="en-US" sz="1200" dirty="0">
                          <a:latin typeface="Gotham Medium" panose="02000603030000020004" pitchFamily="2" charset="0"/>
                        </a:rPr>
                        <a:t>3</a:t>
                      </a:r>
                      <a:endParaRPr lang="en-IN" sz="1200" b="1" dirty="0">
                        <a:solidFill>
                          <a:schemeClr val="tx1"/>
                        </a:solidFill>
                        <a:latin typeface="Gotham Medium" panose="02000603030000020004" pitchFamily="2" charset="0"/>
                      </a:endParaRPr>
                    </a:p>
                  </a:txBody>
                  <a:tcPr marL="68581" marR="68581" marT="34289" marB="34289" anchor="ctr"/>
                </a:tc>
                <a:tc hMerge="1">
                  <a:txBody>
                    <a:bodyPr/>
                    <a:lstStyle/>
                    <a:p>
                      <a:endParaRPr lang="en-IN"/>
                    </a:p>
                  </a:txBody>
                  <a:tcPr/>
                </a:tc>
                <a:tc>
                  <a:txBody>
                    <a:bodyPr/>
                    <a:lstStyle/>
                    <a:p>
                      <a:pPr algn="ctr"/>
                      <a:r>
                        <a:rPr lang="en-US" sz="1200" dirty="0">
                          <a:latin typeface="Gotham Medium" panose="02000603030000020004" pitchFamily="2" charset="0"/>
                        </a:rPr>
                        <a:t>3</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4</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2</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extLst>
                  <a:ext uri="{0D108BD9-81ED-4DB2-BD59-A6C34878D82A}">
                    <a16:rowId xmlns:a16="http://schemas.microsoft.com/office/drawing/2014/main" val="10004"/>
                  </a:ext>
                </a:extLst>
              </a:tr>
              <a:tr h="271615">
                <a:tc>
                  <a:txBody>
                    <a:bodyPr/>
                    <a:lstStyle/>
                    <a:p>
                      <a:r>
                        <a:rPr lang="en-US" sz="1200" dirty="0">
                          <a:latin typeface="Gotham Medium" panose="02000603030000020004" pitchFamily="2" charset="0"/>
                        </a:rPr>
                        <a:t>OTHU</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4</a:t>
                      </a:r>
                      <a:endParaRPr lang="en-IN" sz="1200" b="1" dirty="0">
                        <a:solidFill>
                          <a:schemeClr val="tx1"/>
                        </a:solidFill>
                        <a:latin typeface="Gotham Medium" panose="02000603030000020004" pitchFamily="2" charset="0"/>
                      </a:endParaRPr>
                    </a:p>
                  </a:txBody>
                  <a:tcPr marL="68581" marR="68581" marT="34289" marB="34289" anchor="ctr"/>
                </a:tc>
                <a:tc gridSpan="2">
                  <a:txBody>
                    <a:bodyPr/>
                    <a:lstStyle/>
                    <a:p>
                      <a:pPr algn="ctr"/>
                      <a:r>
                        <a:rPr lang="en-US" sz="1200" dirty="0">
                          <a:latin typeface="Gotham Medium" panose="02000603030000020004" pitchFamily="2" charset="0"/>
                        </a:rPr>
                        <a:t>2</a:t>
                      </a:r>
                      <a:endParaRPr lang="en-IN" sz="1200" b="1" dirty="0">
                        <a:solidFill>
                          <a:schemeClr val="tx1"/>
                        </a:solidFill>
                        <a:latin typeface="Gotham Medium" panose="02000603030000020004" pitchFamily="2" charset="0"/>
                      </a:endParaRPr>
                    </a:p>
                  </a:txBody>
                  <a:tcPr marL="68581" marR="68581" marT="34289" marB="34289" anchor="ctr"/>
                </a:tc>
                <a:tc hMerge="1">
                  <a:txBody>
                    <a:bodyPr/>
                    <a:lstStyle/>
                    <a:p>
                      <a:endParaRPr lang="en-IN"/>
                    </a:p>
                  </a:txBody>
                  <a:tcP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0</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1</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tc>
                  <a:txBody>
                    <a:bodyPr/>
                    <a:lstStyle/>
                    <a:p>
                      <a:pPr algn="ctr"/>
                      <a:r>
                        <a:rPr lang="en-US" sz="1200" dirty="0">
                          <a:latin typeface="Gotham Medium" panose="02000603030000020004" pitchFamily="2" charset="0"/>
                        </a:rPr>
                        <a:t>-</a:t>
                      </a:r>
                      <a:endParaRPr lang="en-IN" sz="1200" b="1" dirty="0">
                        <a:solidFill>
                          <a:schemeClr val="tx1"/>
                        </a:solidFill>
                        <a:latin typeface="Gotham Medium" panose="02000603030000020004" pitchFamily="2" charset="0"/>
                      </a:endParaRPr>
                    </a:p>
                  </a:txBody>
                  <a:tcPr marL="68581" marR="68581" marT="34289" marB="34289" anchor="ctr"/>
                </a:tc>
                <a:extLst>
                  <a:ext uri="{0D108BD9-81ED-4DB2-BD59-A6C34878D82A}">
                    <a16:rowId xmlns:a16="http://schemas.microsoft.com/office/drawing/2014/main" val="10005"/>
                  </a:ext>
                </a:extLst>
              </a:tr>
              <a:tr h="1805345">
                <a:tc gridSpan="22">
                  <a:txBody>
                    <a:bodyPr/>
                    <a:lstStyle/>
                    <a:p>
                      <a:r>
                        <a:rPr lang="en-US" sz="1200" dirty="0">
                          <a:latin typeface="Gotham Medium" panose="02000603030000020004" pitchFamily="2" charset="0"/>
                        </a:rPr>
                        <a:t>S.I.- Sanctioned Intake</a:t>
                      </a:r>
                    </a:p>
                    <a:p>
                      <a:r>
                        <a:rPr lang="en-US" sz="1200" dirty="0">
                          <a:latin typeface="Gotham Medium" panose="02000603030000020004" pitchFamily="2" charset="0"/>
                        </a:rPr>
                        <a:t>MSCAP-</a:t>
                      </a:r>
                      <a:r>
                        <a:rPr lang="en-US" sz="1200" baseline="0" dirty="0">
                          <a:latin typeface="Gotham Medium" panose="02000603030000020004" pitchFamily="2" charset="0"/>
                        </a:rPr>
                        <a:t> Maharashtra Seats under CAP</a:t>
                      </a:r>
                    </a:p>
                    <a:p>
                      <a:r>
                        <a:rPr lang="en-US" sz="1200" baseline="0" dirty="0">
                          <a:latin typeface="Gotham Medium" panose="02000603030000020004" pitchFamily="2" charset="0"/>
                        </a:rPr>
                        <a:t>AIL-All India level seats </a:t>
                      </a:r>
                    </a:p>
                    <a:p>
                      <a:r>
                        <a:rPr lang="en-US" sz="1200" baseline="0" dirty="0">
                          <a:latin typeface="Gotham Medium" panose="02000603030000020004" pitchFamily="2" charset="0"/>
                        </a:rPr>
                        <a:t>IL- Seats to be filled by Management of respective institute</a:t>
                      </a:r>
                    </a:p>
                    <a:p>
                      <a:r>
                        <a:rPr lang="en-US" sz="1200" baseline="0" dirty="0">
                          <a:latin typeface="Gotham Medium" panose="02000603030000020004" pitchFamily="2" charset="0"/>
                        </a:rPr>
                        <a:t>G- Seats for general (both for boys and girls)</a:t>
                      </a:r>
                    </a:p>
                    <a:p>
                      <a:r>
                        <a:rPr lang="en-US" sz="1200" baseline="0" dirty="0">
                          <a:latin typeface="Gotham Medium" panose="02000603030000020004" pitchFamily="2" charset="0"/>
                        </a:rPr>
                        <a:t>L- Seats reserved for girls</a:t>
                      </a:r>
                    </a:p>
                    <a:p>
                      <a:r>
                        <a:rPr lang="en-US" sz="1200" baseline="0" dirty="0">
                          <a:latin typeface="Gotham Medium" panose="02000603030000020004" pitchFamily="2" charset="0"/>
                        </a:rPr>
                        <a:t>HU – Home University</a:t>
                      </a:r>
                    </a:p>
                    <a:p>
                      <a:r>
                        <a:rPr lang="en-US" sz="1200" baseline="0" dirty="0">
                          <a:latin typeface="Gotham Medium" panose="02000603030000020004" pitchFamily="2" charset="0"/>
                        </a:rPr>
                        <a:t>OTHU- Other than home University</a:t>
                      </a:r>
                      <a:endParaRPr lang="en-US" sz="1200" baseline="0" dirty="0">
                        <a:solidFill>
                          <a:schemeClr val="tx1"/>
                        </a:solidFill>
                        <a:latin typeface="Gotham Medium" panose="02000603030000020004" pitchFamily="2" charset="0"/>
                      </a:endParaRPr>
                    </a:p>
                  </a:txBody>
                  <a:tcPr marL="68581" marR="68581" marT="34289" marB="34289"/>
                </a:tc>
                <a:tc hMerge="1">
                  <a:txBody>
                    <a:bodyPr/>
                    <a:lstStyle/>
                    <a:p>
                      <a:endParaRPr lang="en-IN" dirty="0"/>
                    </a:p>
                  </a:txBody>
                  <a:tcPr marT="45718" marB="45718"/>
                </a:tc>
                <a:tc hMerge="1">
                  <a:txBody>
                    <a:bodyPr/>
                    <a:lstStyle/>
                    <a:p>
                      <a:endParaRPr lang="en-IN" dirty="0"/>
                    </a:p>
                  </a:txBody>
                  <a:tcPr marT="45718" marB="45718"/>
                </a:tc>
                <a:tc hMerge="1">
                  <a:txBody>
                    <a:bodyPr/>
                    <a:lstStyle/>
                    <a:p>
                      <a:endParaRPr lang="en-IN"/>
                    </a:p>
                  </a:txBody>
                  <a:tcPr/>
                </a:tc>
                <a:tc hMerge="1">
                  <a:txBody>
                    <a:bodyPr/>
                    <a:lstStyle/>
                    <a:p>
                      <a:endParaRPr lang="en-IN" dirty="0"/>
                    </a:p>
                  </a:txBody>
                  <a:tcPr marT="45718" marB="45718"/>
                </a:tc>
                <a:tc hMerge="1">
                  <a:txBody>
                    <a:bodyPr/>
                    <a:lstStyle/>
                    <a:p>
                      <a:endParaRPr lang="en-IN"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tc hMerge="1">
                  <a:txBody>
                    <a:bodyPr/>
                    <a:lstStyle/>
                    <a:p>
                      <a:endParaRPr lang="en-IN" sz="1800" dirty="0"/>
                    </a:p>
                  </a:txBody>
                  <a:tcPr marT="45718" marB="45718"/>
                </a:tc>
                <a:extLst>
                  <a:ext uri="{0D108BD9-81ED-4DB2-BD59-A6C34878D82A}">
                    <a16:rowId xmlns:a16="http://schemas.microsoft.com/office/drawing/2014/main" val="10006"/>
                  </a:ext>
                </a:extLst>
              </a:tr>
            </a:tbl>
          </a:graphicData>
        </a:graphic>
      </p:graphicFrame>
      <p:sp>
        <p:nvSpPr>
          <p:cNvPr id="2" name="Title 1">
            <a:extLst>
              <a:ext uri="{FF2B5EF4-FFF2-40B4-BE49-F238E27FC236}">
                <a16:creationId xmlns:a16="http://schemas.microsoft.com/office/drawing/2014/main" id="{7DBC41E9-0CB4-42B9-B5FB-717F9FEE22B6}"/>
              </a:ext>
            </a:extLst>
          </p:cNvPr>
          <p:cNvSpPr txBox="1">
            <a:spLocks/>
          </p:cNvSpPr>
          <p:nvPr/>
        </p:nvSpPr>
        <p:spPr>
          <a:xfrm>
            <a:off x="155641" y="280477"/>
            <a:ext cx="8991601" cy="883864"/>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2800" dirty="0">
                <a:solidFill>
                  <a:srgbClr val="FF5969"/>
                </a:solidFill>
                <a:latin typeface="Gotham Bold" panose="02000803030000020004" pitchFamily="2" charset="0"/>
              </a:rPr>
              <a:t>Seat Matrix: </a:t>
            </a:r>
            <a:r>
              <a:rPr lang="en-US" sz="2800" dirty="0">
                <a:solidFill>
                  <a:srgbClr val="FEC630"/>
                </a:solidFill>
                <a:latin typeface="Gotham Bold" panose="02000803030000020004" pitchFamily="2" charset="0"/>
              </a:rPr>
              <a:t>Private College </a:t>
            </a:r>
            <a:r>
              <a:rPr lang="en-US" sz="2000" dirty="0">
                <a:solidFill>
                  <a:srgbClr val="FEC630"/>
                </a:solidFill>
                <a:latin typeface="Gotham Bold" panose="02000803030000020004" pitchFamily="2" charset="0"/>
              </a:rPr>
              <a:t>(Non Autonomous) </a:t>
            </a:r>
            <a:endParaRPr lang="en-US" sz="2800" dirty="0">
              <a:solidFill>
                <a:srgbClr val="FEC630"/>
              </a:solidFill>
              <a:latin typeface="Gotham Bold" panose="02000803030000020004" pitchFamily="2" charset="0"/>
            </a:endParaRPr>
          </a:p>
        </p:txBody>
      </p:sp>
      <p:sp>
        <p:nvSpPr>
          <p:cNvPr id="4" name="Rectangle 3">
            <a:extLst>
              <a:ext uri="{FF2B5EF4-FFF2-40B4-BE49-F238E27FC236}">
                <a16:creationId xmlns:a16="http://schemas.microsoft.com/office/drawing/2014/main" id="{845C5EEB-5159-4629-9568-F22ED1B108D9}"/>
              </a:ext>
            </a:extLst>
          </p:cNvPr>
          <p:cNvSpPr/>
          <p:nvPr/>
        </p:nvSpPr>
        <p:spPr>
          <a:xfrm>
            <a:off x="-4482" y="-1"/>
            <a:ext cx="156881" cy="5142251"/>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7" name="Rectangle 6">
            <a:extLst>
              <a:ext uri="{FF2B5EF4-FFF2-40B4-BE49-F238E27FC236}">
                <a16:creationId xmlns:a16="http://schemas.microsoft.com/office/drawing/2014/main" id="{02E9182E-0048-4220-BE33-C57F639C4F6F}"/>
              </a:ext>
            </a:extLst>
          </p:cNvPr>
          <p:cNvSpPr/>
          <p:nvPr/>
        </p:nvSpPr>
        <p:spPr>
          <a:xfrm flipH="1">
            <a:off x="49442" y="417666"/>
            <a:ext cx="148638" cy="609485"/>
          </a:xfrm>
          <a:prstGeom prst="rect">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Tree>
    <p:extLst>
      <p:ext uri="{BB962C8B-B14F-4D97-AF65-F5344CB8AC3E}">
        <p14:creationId xmlns:p14="http://schemas.microsoft.com/office/powerpoint/2010/main" val="3570680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77" descr="Presentations background 3D model - TurboSquid 1163407">
            <a:extLst>
              <a:ext uri="{FF2B5EF4-FFF2-40B4-BE49-F238E27FC236}">
                <a16:creationId xmlns:a16="http://schemas.microsoft.com/office/drawing/2014/main" id="{E3AD4A40-9026-4D64-AE95-0AC2652DCF36}"/>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0" y="-1"/>
            <a:ext cx="9142412" cy="51435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6BAE015D-47D1-4E48-8E90-3697142C75CA}"/>
              </a:ext>
            </a:extLst>
          </p:cNvPr>
          <p:cNvSpPr/>
          <p:nvPr/>
        </p:nvSpPr>
        <p:spPr>
          <a:xfrm>
            <a:off x="2057400" y="1872476"/>
            <a:ext cx="7086600" cy="1496146"/>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grpSp>
        <p:nvGrpSpPr>
          <p:cNvPr id="2" name="Group 1">
            <a:extLst>
              <a:ext uri="{FF2B5EF4-FFF2-40B4-BE49-F238E27FC236}">
                <a16:creationId xmlns:a16="http://schemas.microsoft.com/office/drawing/2014/main" id="{54EEDD90-704E-4878-AF8D-68076816A27C}"/>
              </a:ext>
            </a:extLst>
          </p:cNvPr>
          <p:cNvGrpSpPr/>
          <p:nvPr/>
        </p:nvGrpSpPr>
        <p:grpSpPr>
          <a:xfrm>
            <a:off x="268941" y="742950"/>
            <a:ext cx="2438400" cy="3496230"/>
            <a:chOff x="457200" y="590550"/>
            <a:chExt cx="2979057" cy="4182030"/>
          </a:xfrm>
        </p:grpSpPr>
        <p:sp>
          <p:nvSpPr>
            <p:cNvPr id="12" name="Freeform: Shape 11">
              <a:extLst>
                <a:ext uri="{FF2B5EF4-FFF2-40B4-BE49-F238E27FC236}">
                  <a16:creationId xmlns:a16="http://schemas.microsoft.com/office/drawing/2014/main" id="{07097967-BC15-498E-939C-AE11970C5D94}"/>
                </a:ext>
              </a:extLst>
            </p:cNvPr>
            <p:cNvSpPr>
              <a:spLocks/>
            </p:cNvSpPr>
            <p:nvPr/>
          </p:nvSpPr>
          <p:spPr bwMode="auto">
            <a:xfrm rot="410959" flipH="1">
              <a:off x="794188" y="1474662"/>
              <a:ext cx="2305082" cy="3297918"/>
            </a:xfrm>
            <a:custGeom>
              <a:avLst/>
              <a:gdLst>
                <a:gd name="connsiteX0" fmla="*/ 1696267 w 2854049"/>
                <a:gd name="connsiteY0" fmla="*/ 3431657 h 4135471"/>
                <a:gd name="connsiteX1" fmla="*/ 1344360 w 2854049"/>
                <a:gd name="connsiteY1" fmla="*/ 3783564 h 4135471"/>
                <a:gd name="connsiteX2" fmla="*/ 1696267 w 2854049"/>
                <a:gd name="connsiteY2" fmla="*/ 4135471 h 4135471"/>
                <a:gd name="connsiteX3" fmla="*/ 2048174 w 2854049"/>
                <a:gd name="connsiteY3" fmla="*/ 3783564 h 4135471"/>
                <a:gd name="connsiteX4" fmla="*/ 1696267 w 2854049"/>
                <a:gd name="connsiteY4" fmla="*/ 3431657 h 4135471"/>
                <a:gd name="connsiteX5" fmla="*/ 1470680 w 2854049"/>
                <a:gd name="connsiteY5" fmla="*/ 0 h 4135471"/>
                <a:gd name="connsiteX6" fmla="*/ 1360088 w 2854049"/>
                <a:gd name="connsiteY6" fmla="*/ 9020 h 4135471"/>
                <a:gd name="connsiteX7" fmla="*/ 1082638 w 2854049"/>
                <a:gd name="connsiteY7" fmla="*/ 72152 h 4135471"/>
                <a:gd name="connsiteX8" fmla="*/ 1000179 w 2854049"/>
                <a:gd name="connsiteY8" fmla="*/ 103217 h 4135471"/>
                <a:gd name="connsiteX9" fmla="*/ 918691 w 2854049"/>
                <a:gd name="connsiteY9" fmla="*/ 138291 h 4135471"/>
                <a:gd name="connsiteX10" fmla="*/ 839141 w 2854049"/>
                <a:gd name="connsiteY10" fmla="*/ 180379 h 4135471"/>
                <a:gd name="connsiteX11" fmla="*/ 765414 w 2854049"/>
                <a:gd name="connsiteY11" fmla="*/ 227479 h 4135471"/>
                <a:gd name="connsiteX12" fmla="*/ 694595 w 2854049"/>
                <a:gd name="connsiteY12" fmla="*/ 280591 h 4135471"/>
                <a:gd name="connsiteX13" fmla="*/ 629599 w 2854049"/>
                <a:gd name="connsiteY13" fmla="*/ 338714 h 4135471"/>
                <a:gd name="connsiteX14" fmla="*/ 569452 w 2854049"/>
                <a:gd name="connsiteY14" fmla="*/ 401847 h 4135471"/>
                <a:gd name="connsiteX15" fmla="*/ 515126 w 2854049"/>
                <a:gd name="connsiteY15" fmla="*/ 470992 h 4135471"/>
                <a:gd name="connsiteX16" fmla="*/ 467591 w 2854049"/>
                <a:gd name="connsiteY16" fmla="*/ 544147 h 4135471"/>
                <a:gd name="connsiteX17" fmla="*/ 426847 w 2854049"/>
                <a:gd name="connsiteY17" fmla="*/ 622311 h 4135471"/>
                <a:gd name="connsiteX18" fmla="*/ 392893 w 2854049"/>
                <a:gd name="connsiteY18" fmla="*/ 706488 h 4135471"/>
                <a:gd name="connsiteX19" fmla="*/ 338568 w 2854049"/>
                <a:gd name="connsiteY19" fmla="*/ 937976 h 4135471"/>
                <a:gd name="connsiteX20" fmla="*/ 333717 w 2854049"/>
                <a:gd name="connsiteY20" fmla="*/ 994094 h 4135471"/>
                <a:gd name="connsiteX21" fmla="*/ 331776 w 2854049"/>
                <a:gd name="connsiteY21" fmla="*/ 1047206 h 4135471"/>
                <a:gd name="connsiteX22" fmla="*/ 333717 w 2854049"/>
                <a:gd name="connsiteY22" fmla="*/ 1096308 h 4135471"/>
                <a:gd name="connsiteX23" fmla="*/ 334686 w 2854049"/>
                <a:gd name="connsiteY23" fmla="*/ 1145413 h 4135471"/>
                <a:gd name="connsiteX24" fmla="*/ 334686 w 2854049"/>
                <a:gd name="connsiteY24" fmla="*/ 1191509 h 4135471"/>
                <a:gd name="connsiteX25" fmla="*/ 329836 w 2854049"/>
                <a:gd name="connsiteY25" fmla="*/ 1234599 h 4135471"/>
                <a:gd name="connsiteX26" fmla="*/ 315284 w 2854049"/>
                <a:gd name="connsiteY26" fmla="*/ 1278693 h 4135471"/>
                <a:gd name="connsiteX27" fmla="*/ 289092 w 2854049"/>
                <a:gd name="connsiteY27" fmla="*/ 1331805 h 4135471"/>
                <a:gd name="connsiteX28" fmla="*/ 257078 w 2854049"/>
                <a:gd name="connsiteY28" fmla="*/ 1380908 h 4135471"/>
                <a:gd name="connsiteX29" fmla="*/ 222155 w 2854049"/>
                <a:gd name="connsiteY29" fmla="*/ 1423998 h 4135471"/>
                <a:gd name="connsiteX30" fmla="*/ 185291 w 2854049"/>
                <a:gd name="connsiteY30" fmla="*/ 1468092 h 4135471"/>
                <a:gd name="connsiteX31" fmla="*/ 146487 w 2854049"/>
                <a:gd name="connsiteY31" fmla="*/ 1508176 h 4135471"/>
                <a:gd name="connsiteX32" fmla="*/ 107683 w 2854049"/>
                <a:gd name="connsiteY32" fmla="*/ 1548261 h 4135471"/>
                <a:gd name="connsiteX33" fmla="*/ 70819 w 2854049"/>
                <a:gd name="connsiteY33" fmla="*/ 1592354 h 4135471"/>
                <a:gd name="connsiteX34" fmla="*/ 58206 w 2854049"/>
                <a:gd name="connsiteY34" fmla="*/ 1604378 h 4135471"/>
                <a:gd name="connsiteX35" fmla="*/ 42684 w 2854049"/>
                <a:gd name="connsiteY35" fmla="*/ 1619410 h 4135471"/>
                <a:gd name="connsiteX36" fmla="*/ 26193 w 2854049"/>
                <a:gd name="connsiteY36" fmla="*/ 1637448 h 4135471"/>
                <a:gd name="connsiteX37" fmla="*/ 12611 w 2854049"/>
                <a:gd name="connsiteY37" fmla="*/ 1655486 h 4135471"/>
                <a:gd name="connsiteX38" fmla="*/ 3882 w 2854049"/>
                <a:gd name="connsiteY38" fmla="*/ 1677533 h 4135471"/>
                <a:gd name="connsiteX39" fmla="*/ 0 w 2854049"/>
                <a:gd name="connsiteY39" fmla="*/ 1701583 h 4135471"/>
                <a:gd name="connsiteX40" fmla="*/ 4851 w 2854049"/>
                <a:gd name="connsiteY40" fmla="*/ 1726636 h 4135471"/>
                <a:gd name="connsiteX41" fmla="*/ 17462 w 2854049"/>
                <a:gd name="connsiteY41" fmla="*/ 1750687 h 4135471"/>
                <a:gd name="connsiteX42" fmla="*/ 38806 w 2854049"/>
                <a:gd name="connsiteY42" fmla="*/ 1770728 h 4135471"/>
                <a:gd name="connsiteX43" fmla="*/ 63057 w 2854049"/>
                <a:gd name="connsiteY43" fmla="*/ 1784759 h 4135471"/>
                <a:gd name="connsiteX44" fmla="*/ 93130 w 2854049"/>
                <a:gd name="connsiteY44" fmla="*/ 1797786 h 4135471"/>
                <a:gd name="connsiteX45" fmla="*/ 125143 w 2854049"/>
                <a:gd name="connsiteY45" fmla="*/ 1808809 h 4135471"/>
                <a:gd name="connsiteX46" fmla="*/ 157158 w 2854049"/>
                <a:gd name="connsiteY46" fmla="*/ 1819833 h 4135471"/>
                <a:gd name="connsiteX47" fmla="*/ 188201 w 2854049"/>
                <a:gd name="connsiteY47" fmla="*/ 1830855 h 4135471"/>
                <a:gd name="connsiteX48" fmla="*/ 218273 w 2854049"/>
                <a:gd name="connsiteY48" fmla="*/ 1843883 h 4135471"/>
                <a:gd name="connsiteX49" fmla="*/ 245437 w 2854049"/>
                <a:gd name="connsiteY49" fmla="*/ 1857912 h 4135471"/>
                <a:gd name="connsiteX50" fmla="*/ 264839 w 2854049"/>
                <a:gd name="connsiteY50" fmla="*/ 1875951 h 4135471"/>
                <a:gd name="connsiteX51" fmla="*/ 259018 w 2854049"/>
                <a:gd name="connsiteY51" fmla="*/ 1900001 h 4135471"/>
                <a:gd name="connsiteX52" fmla="*/ 248347 w 2854049"/>
                <a:gd name="connsiteY52" fmla="*/ 1922047 h 4135471"/>
                <a:gd name="connsiteX53" fmla="*/ 237676 w 2854049"/>
                <a:gd name="connsiteY53" fmla="*/ 1945097 h 4135471"/>
                <a:gd name="connsiteX54" fmla="*/ 226035 w 2854049"/>
                <a:gd name="connsiteY54" fmla="*/ 1967142 h 4135471"/>
                <a:gd name="connsiteX55" fmla="*/ 215364 w 2854049"/>
                <a:gd name="connsiteY55" fmla="*/ 1989189 h 4135471"/>
                <a:gd name="connsiteX56" fmla="*/ 207602 w 2854049"/>
                <a:gd name="connsiteY56" fmla="*/ 2011236 h 4135471"/>
                <a:gd name="connsiteX57" fmla="*/ 204693 w 2854049"/>
                <a:gd name="connsiteY57" fmla="*/ 2031277 h 4135471"/>
                <a:gd name="connsiteX58" fmla="*/ 206633 w 2854049"/>
                <a:gd name="connsiteY58" fmla="*/ 2053324 h 4135471"/>
                <a:gd name="connsiteX59" fmla="*/ 217304 w 2854049"/>
                <a:gd name="connsiteY59" fmla="*/ 2073366 h 4135471"/>
                <a:gd name="connsiteX60" fmla="*/ 236706 w 2854049"/>
                <a:gd name="connsiteY60" fmla="*/ 2093409 h 4135471"/>
                <a:gd name="connsiteX61" fmla="*/ 264839 w 2854049"/>
                <a:gd name="connsiteY61" fmla="*/ 2113450 h 4135471"/>
                <a:gd name="connsiteX62" fmla="*/ 259018 w 2854049"/>
                <a:gd name="connsiteY62" fmla="*/ 2129483 h 4135471"/>
                <a:gd name="connsiteX63" fmla="*/ 250288 w 2854049"/>
                <a:gd name="connsiteY63" fmla="*/ 2145517 h 4135471"/>
                <a:gd name="connsiteX64" fmla="*/ 243497 w 2854049"/>
                <a:gd name="connsiteY64" fmla="*/ 2164557 h 4135471"/>
                <a:gd name="connsiteX65" fmla="*/ 241557 w 2854049"/>
                <a:gd name="connsiteY65" fmla="*/ 2184601 h 4135471"/>
                <a:gd name="connsiteX66" fmla="*/ 245437 w 2854049"/>
                <a:gd name="connsiteY66" fmla="*/ 2204642 h 4135471"/>
                <a:gd name="connsiteX67" fmla="*/ 256109 w 2854049"/>
                <a:gd name="connsiteY67" fmla="*/ 2222680 h 4135471"/>
                <a:gd name="connsiteX68" fmla="*/ 269690 w 2854049"/>
                <a:gd name="connsiteY68" fmla="*/ 2236709 h 4135471"/>
                <a:gd name="connsiteX69" fmla="*/ 287151 w 2854049"/>
                <a:gd name="connsiteY69" fmla="*/ 2249737 h 4135471"/>
                <a:gd name="connsiteX70" fmla="*/ 304613 w 2854049"/>
                <a:gd name="connsiteY70" fmla="*/ 2258756 h 4135471"/>
                <a:gd name="connsiteX71" fmla="*/ 321105 w 2854049"/>
                <a:gd name="connsiteY71" fmla="*/ 2269780 h 4135471"/>
                <a:gd name="connsiteX72" fmla="*/ 336627 w 2854049"/>
                <a:gd name="connsiteY72" fmla="*/ 2284810 h 4135471"/>
                <a:gd name="connsiteX73" fmla="*/ 345358 w 2854049"/>
                <a:gd name="connsiteY73" fmla="*/ 2300845 h 4135471"/>
                <a:gd name="connsiteX74" fmla="*/ 354089 w 2854049"/>
                <a:gd name="connsiteY74" fmla="*/ 2329906 h 4135471"/>
                <a:gd name="connsiteX75" fmla="*/ 354089 w 2854049"/>
                <a:gd name="connsiteY75" fmla="*/ 2362976 h 4135471"/>
                <a:gd name="connsiteX76" fmla="*/ 351179 w 2854049"/>
                <a:gd name="connsiteY76" fmla="*/ 2394041 h 4135471"/>
                <a:gd name="connsiteX77" fmla="*/ 343417 w 2854049"/>
                <a:gd name="connsiteY77" fmla="*/ 2426108 h 4135471"/>
                <a:gd name="connsiteX78" fmla="*/ 336627 w 2854049"/>
                <a:gd name="connsiteY78" fmla="*/ 2457173 h 4135471"/>
                <a:gd name="connsiteX79" fmla="*/ 331776 w 2854049"/>
                <a:gd name="connsiteY79" fmla="*/ 2485233 h 4135471"/>
                <a:gd name="connsiteX80" fmla="*/ 327896 w 2854049"/>
                <a:gd name="connsiteY80" fmla="*/ 2525318 h 4135471"/>
                <a:gd name="connsiteX81" fmla="*/ 331776 w 2854049"/>
                <a:gd name="connsiteY81" fmla="*/ 2561393 h 4135471"/>
                <a:gd name="connsiteX82" fmla="*/ 342447 w 2854049"/>
                <a:gd name="connsiteY82" fmla="*/ 2594464 h 4135471"/>
                <a:gd name="connsiteX83" fmla="*/ 356029 w 2854049"/>
                <a:gd name="connsiteY83" fmla="*/ 2623524 h 4135471"/>
                <a:gd name="connsiteX84" fmla="*/ 375432 w 2854049"/>
                <a:gd name="connsiteY84" fmla="*/ 2646572 h 4135471"/>
                <a:gd name="connsiteX85" fmla="*/ 400654 w 2854049"/>
                <a:gd name="connsiteY85" fmla="*/ 2668619 h 4135471"/>
                <a:gd name="connsiteX86" fmla="*/ 424906 w 2854049"/>
                <a:gd name="connsiteY86" fmla="*/ 2686657 h 4135471"/>
                <a:gd name="connsiteX87" fmla="*/ 453040 w 2854049"/>
                <a:gd name="connsiteY87" fmla="*/ 2701688 h 4135471"/>
                <a:gd name="connsiteX88" fmla="*/ 481173 w 2854049"/>
                <a:gd name="connsiteY88" fmla="*/ 2714717 h 4135471"/>
                <a:gd name="connsiteX89" fmla="*/ 509306 w 2854049"/>
                <a:gd name="connsiteY89" fmla="*/ 2721731 h 4135471"/>
                <a:gd name="connsiteX90" fmla="*/ 560721 w 2854049"/>
                <a:gd name="connsiteY90" fmla="*/ 2730751 h 4135471"/>
                <a:gd name="connsiteX91" fmla="*/ 615047 w 2854049"/>
                <a:gd name="connsiteY91" fmla="*/ 2734758 h 4135471"/>
                <a:gd name="connsiteX92" fmla="*/ 672284 w 2854049"/>
                <a:gd name="connsiteY92" fmla="*/ 2732755 h 4135471"/>
                <a:gd name="connsiteX93" fmla="*/ 728550 w 2854049"/>
                <a:gd name="connsiteY93" fmla="*/ 2726742 h 4135471"/>
                <a:gd name="connsiteX94" fmla="*/ 784816 w 2854049"/>
                <a:gd name="connsiteY94" fmla="*/ 2719726 h 4135471"/>
                <a:gd name="connsiteX95" fmla="*/ 838171 w 2854049"/>
                <a:gd name="connsiteY95" fmla="*/ 2708704 h 4135471"/>
                <a:gd name="connsiteX96" fmla="*/ 885706 w 2854049"/>
                <a:gd name="connsiteY96" fmla="*/ 2695677 h 4135471"/>
                <a:gd name="connsiteX97" fmla="*/ 927421 w 2854049"/>
                <a:gd name="connsiteY97" fmla="*/ 2681646 h 4135471"/>
                <a:gd name="connsiteX98" fmla="*/ 944882 w 2854049"/>
                <a:gd name="connsiteY98" fmla="*/ 2675633 h 4135471"/>
                <a:gd name="connsiteX99" fmla="*/ 968165 w 2854049"/>
                <a:gd name="connsiteY99" fmla="*/ 2668619 h 4135471"/>
                <a:gd name="connsiteX100" fmla="*/ 993388 w 2854049"/>
                <a:gd name="connsiteY100" fmla="*/ 2661605 h 4135471"/>
                <a:gd name="connsiteX101" fmla="*/ 1019581 w 2854049"/>
                <a:gd name="connsiteY101" fmla="*/ 2654590 h 4135471"/>
                <a:gd name="connsiteX102" fmla="*/ 1047714 w 2854049"/>
                <a:gd name="connsiteY102" fmla="*/ 2650582 h 4135471"/>
                <a:gd name="connsiteX103" fmla="*/ 1075847 w 2854049"/>
                <a:gd name="connsiteY103" fmla="*/ 2648577 h 4135471"/>
                <a:gd name="connsiteX104" fmla="*/ 1100100 w 2854049"/>
                <a:gd name="connsiteY104" fmla="*/ 2652585 h 4135471"/>
                <a:gd name="connsiteX105" fmla="*/ 1121442 w 2854049"/>
                <a:gd name="connsiteY105" fmla="*/ 2661605 h 4135471"/>
                <a:gd name="connsiteX106" fmla="*/ 1140844 w 2854049"/>
                <a:gd name="connsiteY106" fmla="*/ 2679643 h 4135471"/>
                <a:gd name="connsiteX107" fmla="*/ 1158306 w 2854049"/>
                <a:gd name="connsiteY107" fmla="*/ 2708704 h 4135471"/>
                <a:gd name="connsiteX108" fmla="*/ 1174797 w 2854049"/>
                <a:gd name="connsiteY108" fmla="*/ 2745782 h 4135471"/>
                <a:gd name="connsiteX109" fmla="*/ 1190319 w 2854049"/>
                <a:gd name="connsiteY109" fmla="*/ 2788872 h 4135471"/>
                <a:gd name="connsiteX110" fmla="*/ 1202931 w 2854049"/>
                <a:gd name="connsiteY110" fmla="*/ 2837975 h 4135471"/>
                <a:gd name="connsiteX111" fmla="*/ 1215541 w 2854049"/>
                <a:gd name="connsiteY111" fmla="*/ 2889083 h 4135471"/>
                <a:gd name="connsiteX112" fmla="*/ 1226212 w 2854049"/>
                <a:gd name="connsiteY112" fmla="*/ 2942195 h 4135471"/>
                <a:gd name="connsiteX113" fmla="*/ 1235914 w 2854049"/>
                <a:gd name="connsiteY113" fmla="*/ 2996309 h 4135471"/>
                <a:gd name="connsiteX114" fmla="*/ 1245616 w 2854049"/>
                <a:gd name="connsiteY114" fmla="*/ 3049421 h 4135471"/>
                <a:gd name="connsiteX115" fmla="*/ 1252407 w 2854049"/>
                <a:gd name="connsiteY115" fmla="*/ 3098524 h 4135471"/>
                <a:gd name="connsiteX116" fmla="*/ 1261138 w 2854049"/>
                <a:gd name="connsiteY116" fmla="*/ 3144621 h 4135471"/>
                <a:gd name="connsiteX117" fmla="*/ 1267927 w 2854049"/>
                <a:gd name="connsiteY117" fmla="*/ 3182701 h 4135471"/>
                <a:gd name="connsiteX118" fmla="*/ 1273749 w 2854049"/>
                <a:gd name="connsiteY118" fmla="*/ 3215771 h 4135471"/>
                <a:gd name="connsiteX119" fmla="*/ 1405683 w 2854049"/>
                <a:gd name="connsiteY119" fmla="*/ 3238820 h 4135471"/>
                <a:gd name="connsiteX120" fmla="*/ 1539558 w 2854049"/>
                <a:gd name="connsiteY120" fmla="*/ 3251847 h 4135471"/>
                <a:gd name="connsiteX121" fmla="*/ 1677312 w 2854049"/>
                <a:gd name="connsiteY121" fmla="*/ 3253851 h 4135471"/>
                <a:gd name="connsiteX122" fmla="*/ 1817977 w 2854049"/>
                <a:gd name="connsiteY122" fmla="*/ 3246837 h 4135471"/>
                <a:gd name="connsiteX123" fmla="*/ 1963493 w 2854049"/>
                <a:gd name="connsiteY123" fmla="*/ 3226793 h 4135471"/>
                <a:gd name="connsiteX124" fmla="*/ 1998071 w 2854049"/>
                <a:gd name="connsiteY124" fmla="*/ 3220300 h 4135471"/>
                <a:gd name="connsiteX125" fmla="*/ 1972544 w 2854049"/>
                <a:gd name="connsiteY125" fmla="*/ 2990832 h 4135471"/>
                <a:gd name="connsiteX126" fmla="*/ 1866104 w 2854049"/>
                <a:gd name="connsiteY126" fmla="*/ 2529483 h 4135471"/>
                <a:gd name="connsiteX127" fmla="*/ 1085631 w 2854049"/>
                <a:gd name="connsiteY127" fmla="*/ 1773024 h 4135471"/>
                <a:gd name="connsiteX128" fmla="*/ 1277747 w 2854049"/>
                <a:gd name="connsiteY128" fmla="*/ 968535 h 4135471"/>
                <a:gd name="connsiteX129" fmla="*/ 1914134 w 2854049"/>
                <a:gd name="connsiteY129" fmla="*/ 872477 h 4135471"/>
                <a:gd name="connsiteX130" fmla="*/ 2334389 w 2854049"/>
                <a:gd name="connsiteY130" fmla="*/ 1316747 h 4135471"/>
                <a:gd name="connsiteX131" fmla="*/ 2850702 w 2854049"/>
                <a:gd name="connsiteY131" fmla="*/ 1256710 h 4135471"/>
                <a:gd name="connsiteX132" fmla="*/ 2851858 w 2854049"/>
                <a:gd name="connsiteY132" fmla="*/ 1288484 h 4135471"/>
                <a:gd name="connsiteX133" fmla="*/ 2854049 w 2854049"/>
                <a:gd name="connsiteY133" fmla="*/ 1252639 h 4135471"/>
                <a:gd name="connsiteX134" fmla="*/ 2852109 w 2854049"/>
                <a:gd name="connsiteY134" fmla="*/ 1156435 h 4135471"/>
                <a:gd name="connsiteX135" fmla="*/ 2845318 w 2854049"/>
                <a:gd name="connsiteY135" fmla="*/ 1062236 h 4135471"/>
                <a:gd name="connsiteX136" fmla="*/ 2830767 w 2854049"/>
                <a:gd name="connsiteY136" fmla="*/ 971045 h 4135471"/>
                <a:gd name="connsiteX137" fmla="*/ 2811365 w 2854049"/>
                <a:gd name="connsiteY137" fmla="*/ 881857 h 4135471"/>
                <a:gd name="connsiteX138" fmla="*/ 2787112 w 2854049"/>
                <a:gd name="connsiteY138" fmla="*/ 799684 h 4135471"/>
                <a:gd name="connsiteX139" fmla="*/ 2759950 w 2854049"/>
                <a:gd name="connsiteY139" fmla="*/ 724526 h 4135471"/>
                <a:gd name="connsiteX140" fmla="*/ 2728906 w 2854049"/>
                <a:gd name="connsiteY140" fmla="*/ 657385 h 4135471"/>
                <a:gd name="connsiteX141" fmla="*/ 2682340 w 2854049"/>
                <a:gd name="connsiteY141" fmla="*/ 577215 h 4135471"/>
                <a:gd name="connsiteX142" fmla="*/ 2631895 w 2854049"/>
                <a:gd name="connsiteY142" fmla="*/ 501055 h 4135471"/>
                <a:gd name="connsiteX143" fmla="*/ 2574659 w 2854049"/>
                <a:gd name="connsiteY143" fmla="*/ 429907 h 4135471"/>
                <a:gd name="connsiteX144" fmla="*/ 2513543 w 2854049"/>
                <a:gd name="connsiteY144" fmla="*/ 361762 h 4135471"/>
                <a:gd name="connsiteX145" fmla="*/ 2446606 w 2854049"/>
                <a:gd name="connsiteY145" fmla="*/ 300634 h 4135471"/>
                <a:gd name="connsiteX146" fmla="*/ 2371907 w 2854049"/>
                <a:gd name="connsiteY146" fmla="*/ 243513 h 4135471"/>
                <a:gd name="connsiteX147" fmla="*/ 2294299 w 2854049"/>
                <a:gd name="connsiteY147" fmla="*/ 192406 h 4135471"/>
                <a:gd name="connsiteX148" fmla="*/ 2211840 w 2854049"/>
                <a:gd name="connsiteY148" fmla="*/ 147311 h 4135471"/>
                <a:gd name="connsiteX149" fmla="*/ 2121620 w 2854049"/>
                <a:gd name="connsiteY149" fmla="*/ 109230 h 4135471"/>
                <a:gd name="connsiteX150" fmla="*/ 2028490 w 2854049"/>
                <a:gd name="connsiteY150" fmla="*/ 74157 h 4135471"/>
                <a:gd name="connsiteX151" fmla="*/ 1927599 w 2854049"/>
                <a:gd name="connsiteY151" fmla="*/ 47099 h 4135471"/>
                <a:gd name="connsiteX152" fmla="*/ 1821858 w 2854049"/>
                <a:gd name="connsiteY152" fmla="*/ 25053 h 4135471"/>
                <a:gd name="connsiteX153" fmla="*/ 1711265 w 2854049"/>
                <a:gd name="connsiteY153" fmla="*/ 10021 h 4135471"/>
                <a:gd name="connsiteX154" fmla="*/ 1594853 w 2854049"/>
                <a:gd name="connsiteY154" fmla="*/ 1002 h 413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854049" h="4135471">
                  <a:moveTo>
                    <a:pt x="1696267" y="3431657"/>
                  </a:moveTo>
                  <a:cubicBezTo>
                    <a:pt x="1501914" y="3431657"/>
                    <a:pt x="1344360" y="3589211"/>
                    <a:pt x="1344360" y="3783564"/>
                  </a:cubicBezTo>
                  <a:cubicBezTo>
                    <a:pt x="1344360" y="3977917"/>
                    <a:pt x="1501914" y="4135471"/>
                    <a:pt x="1696267" y="4135471"/>
                  </a:cubicBezTo>
                  <a:cubicBezTo>
                    <a:pt x="1890620" y="4135471"/>
                    <a:pt x="2048174" y="3977917"/>
                    <a:pt x="2048174" y="3783564"/>
                  </a:cubicBezTo>
                  <a:cubicBezTo>
                    <a:pt x="2048174" y="3589211"/>
                    <a:pt x="1890620" y="3431657"/>
                    <a:pt x="1696267" y="3431657"/>
                  </a:cubicBezTo>
                  <a:close/>
                  <a:moveTo>
                    <a:pt x="1470680" y="0"/>
                  </a:moveTo>
                  <a:lnTo>
                    <a:pt x="1360088" y="9020"/>
                  </a:lnTo>
                  <a:lnTo>
                    <a:pt x="1082638" y="72152"/>
                  </a:lnTo>
                  <a:lnTo>
                    <a:pt x="1000179" y="103217"/>
                  </a:lnTo>
                  <a:lnTo>
                    <a:pt x="918691" y="138291"/>
                  </a:lnTo>
                  <a:lnTo>
                    <a:pt x="839141" y="180379"/>
                  </a:lnTo>
                  <a:lnTo>
                    <a:pt x="765414" y="227479"/>
                  </a:lnTo>
                  <a:lnTo>
                    <a:pt x="694595" y="280591"/>
                  </a:lnTo>
                  <a:lnTo>
                    <a:pt x="629599" y="338714"/>
                  </a:lnTo>
                  <a:lnTo>
                    <a:pt x="569452" y="401847"/>
                  </a:lnTo>
                  <a:lnTo>
                    <a:pt x="515126" y="470992"/>
                  </a:lnTo>
                  <a:lnTo>
                    <a:pt x="467591" y="544147"/>
                  </a:lnTo>
                  <a:lnTo>
                    <a:pt x="426847" y="622311"/>
                  </a:lnTo>
                  <a:lnTo>
                    <a:pt x="392893" y="706488"/>
                  </a:lnTo>
                  <a:lnTo>
                    <a:pt x="338568" y="937976"/>
                  </a:lnTo>
                  <a:lnTo>
                    <a:pt x="333717" y="994094"/>
                  </a:lnTo>
                  <a:lnTo>
                    <a:pt x="331776" y="1047206"/>
                  </a:lnTo>
                  <a:lnTo>
                    <a:pt x="333717" y="1096308"/>
                  </a:lnTo>
                  <a:lnTo>
                    <a:pt x="334686" y="1145413"/>
                  </a:lnTo>
                  <a:lnTo>
                    <a:pt x="334686" y="1191509"/>
                  </a:lnTo>
                  <a:lnTo>
                    <a:pt x="329836" y="1234599"/>
                  </a:lnTo>
                  <a:lnTo>
                    <a:pt x="315284" y="1278693"/>
                  </a:lnTo>
                  <a:lnTo>
                    <a:pt x="289092" y="1331805"/>
                  </a:lnTo>
                  <a:lnTo>
                    <a:pt x="257078" y="1380908"/>
                  </a:lnTo>
                  <a:lnTo>
                    <a:pt x="222155" y="1423998"/>
                  </a:lnTo>
                  <a:lnTo>
                    <a:pt x="185291" y="1468092"/>
                  </a:lnTo>
                  <a:lnTo>
                    <a:pt x="146487" y="1508176"/>
                  </a:lnTo>
                  <a:lnTo>
                    <a:pt x="107683" y="1548261"/>
                  </a:lnTo>
                  <a:lnTo>
                    <a:pt x="70819" y="1592354"/>
                  </a:lnTo>
                  <a:lnTo>
                    <a:pt x="58206" y="1604378"/>
                  </a:lnTo>
                  <a:lnTo>
                    <a:pt x="42684" y="1619410"/>
                  </a:lnTo>
                  <a:lnTo>
                    <a:pt x="26193" y="1637448"/>
                  </a:lnTo>
                  <a:lnTo>
                    <a:pt x="12611" y="1655486"/>
                  </a:lnTo>
                  <a:lnTo>
                    <a:pt x="3882" y="1677533"/>
                  </a:lnTo>
                  <a:lnTo>
                    <a:pt x="0" y="1701583"/>
                  </a:lnTo>
                  <a:lnTo>
                    <a:pt x="4851" y="1726636"/>
                  </a:lnTo>
                  <a:lnTo>
                    <a:pt x="17462" y="1750687"/>
                  </a:lnTo>
                  <a:lnTo>
                    <a:pt x="38806" y="1770728"/>
                  </a:lnTo>
                  <a:lnTo>
                    <a:pt x="63057" y="1784759"/>
                  </a:lnTo>
                  <a:lnTo>
                    <a:pt x="93130" y="1797786"/>
                  </a:lnTo>
                  <a:lnTo>
                    <a:pt x="125143" y="1808809"/>
                  </a:lnTo>
                  <a:lnTo>
                    <a:pt x="157158" y="1819833"/>
                  </a:lnTo>
                  <a:lnTo>
                    <a:pt x="188201" y="1830855"/>
                  </a:lnTo>
                  <a:lnTo>
                    <a:pt x="218273" y="1843883"/>
                  </a:lnTo>
                  <a:lnTo>
                    <a:pt x="245437" y="1857912"/>
                  </a:lnTo>
                  <a:lnTo>
                    <a:pt x="264839" y="1875951"/>
                  </a:lnTo>
                  <a:lnTo>
                    <a:pt x="259018" y="1900001"/>
                  </a:lnTo>
                  <a:lnTo>
                    <a:pt x="248347" y="1922047"/>
                  </a:lnTo>
                  <a:lnTo>
                    <a:pt x="237676" y="1945097"/>
                  </a:lnTo>
                  <a:lnTo>
                    <a:pt x="226035" y="1967142"/>
                  </a:lnTo>
                  <a:lnTo>
                    <a:pt x="215364" y="1989189"/>
                  </a:lnTo>
                  <a:lnTo>
                    <a:pt x="207602" y="2011236"/>
                  </a:lnTo>
                  <a:lnTo>
                    <a:pt x="204693" y="2031277"/>
                  </a:lnTo>
                  <a:lnTo>
                    <a:pt x="206633" y="2053324"/>
                  </a:lnTo>
                  <a:lnTo>
                    <a:pt x="217304" y="2073366"/>
                  </a:lnTo>
                  <a:lnTo>
                    <a:pt x="236706" y="2093409"/>
                  </a:lnTo>
                  <a:lnTo>
                    <a:pt x="264839" y="2113450"/>
                  </a:lnTo>
                  <a:lnTo>
                    <a:pt x="259018" y="2129483"/>
                  </a:lnTo>
                  <a:lnTo>
                    <a:pt x="250288" y="2145517"/>
                  </a:lnTo>
                  <a:lnTo>
                    <a:pt x="243497" y="2164557"/>
                  </a:lnTo>
                  <a:lnTo>
                    <a:pt x="241557" y="2184601"/>
                  </a:lnTo>
                  <a:lnTo>
                    <a:pt x="245437" y="2204642"/>
                  </a:lnTo>
                  <a:lnTo>
                    <a:pt x="256109" y="2222680"/>
                  </a:lnTo>
                  <a:lnTo>
                    <a:pt x="269690" y="2236709"/>
                  </a:lnTo>
                  <a:lnTo>
                    <a:pt x="287151" y="2249737"/>
                  </a:lnTo>
                  <a:lnTo>
                    <a:pt x="304613" y="2258756"/>
                  </a:lnTo>
                  <a:lnTo>
                    <a:pt x="321105" y="2269780"/>
                  </a:lnTo>
                  <a:lnTo>
                    <a:pt x="336627" y="2284810"/>
                  </a:lnTo>
                  <a:lnTo>
                    <a:pt x="345358" y="2300845"/>
                  </a:lnTo>
                  <a:lnTo>
                    <a:pt x="354089" y="2329906"/>
                  </a:lnTo>
                  <a:lnTo>
                    <a:pt x="354089" y="2362976"/>
                  </a:lnTo>
                  <a:lnTo>
                    <a:pt x="351179" y="2394041"/>
                  </a:lnTo>
                  <a:lnTo>
                    <a:pt x="343417" y="2426108"/>
                  </a:lnTo>
                  <a:lnTo>
                    <a:pt x="336627" y="2457173"/>
                  </a:lnTo>
                  <a:lnTo>
                    <a:pt x="331776" y="2485233"/>
                  </a:lnTo>
                  <a:lnTo>
                    <a:pt x="327896" y="2525318"/>
                  </a:lnTo>
                  <a:lnTo>
                    <a:pt x="331776" y="2561393"/>
                  </a:lnTo>
                  <a:lnTo>
                    <a:pt x="342447" y="2594464"/>
                  </a:lnTo>
                  <a:lnTo>
                    <a:pt x="356029" y="2623524"/>
                  </a:lnTo>
                  <a:lnTo>
                    <a:pt x="375432" y="2646572"/>
                  </a:lnTo>
                  <a:lnTo>
                    <a:pt x="400654" y="2668619"/>
                  </a:lnTo>
                  <a:lnTo>
                    <a:pt x="424906" y="2686657"/>
                  </a:lnTo>
                  <a:lnTo>
                    <a:pt x="453040" y="2701688"/>
                  </a:lnTo>
                  <a:lnTo>
                    <a:pt x="481173" y="2714717"/>
                  </a:lnTo>
                  <a:lnTo>
                    <a:pt x="509306" y="2721731"/>
                  </a:lnTo>
                  <a:lnTo>
                    <a:pt x="560721" y="2730751"/>
                  </a:lnTo>
                  <a:lnTo>
                    <a:pt x="615047" y="2734758"/>
                  </a:lnTo>
                  <a:lnTo>
                    <a:pt x="672284" y="2732755"/>
                  </a:lnTo>
                  <a:lnTo>
                    <a:pt x="728550" y="2726742"/>
                  </a:lnTo>
                  <a:lnTo>
                    <a:pt x="784816" y="2719726"/>
                  </a:lnTo>
                  <a:lnTo>
                    <a:pt x="838171" y="2708704"/>
                  </a:lnTo>
                  <a:lnTo>
                    <a:pt x="885706" y="2695677"/>
                  </a:lnTo>
                  <a:lnTo>
                    <a:pt x="927421" y="2681646"/>
                  </a:lnTo>
                  <a:lnTo>
                    <a:pt x="944882" y="2675633"/>
                  </a:lnTo>
                  <a:lnTo>
                    <a:pt x="968165" y="2668619"/>
                  </a:lnTo>
                  <a:lnTo>
                    <a:pt x="993388" y="2661605"/>
                  </a:lnTo>
                  <a:lnTo>
                    <a:pt x="1019581" y="2654590"/>
                  </a:lnTo>
                  <a:lnTo>
                    <a:pt x="1047714" y="2650582"/>
                  </a:lnTo>
                  <a:lnTo>
                    <a:pt x="1075847" y="2648577"/>
                  </a:lnTo>
                  <a:lnTo>
                    <a:pt x="1100100" y="2652585"/>
                  </a:lnTo>
                  <a:lnTo>
                    <a:pt x="1121442" y="2661605"/>
                  </a:lnTo>
                  <a:lnTo>
                    <a:pt x="1140844" y="2679643"/>
                  </a:lnTo>
                  <a:lnTo>
                    <a:pt x="1158306" y="2708704"/>
                  </a:lnTo>
                  <a:lnTo>
                    <a:pt x="1174797" y="2745782"/>
                  </a:lnTo>
                  <a:lnTo>
                    <a:pt x="1190319" y="2788872"/>
                  </a:lnTo>
                  <a:lnTo>
                    <a:pt x="1202931" y="2837975"/>
                  </a:lnTo>
                  <a:lnTo>
                    <a:pt x="1215541" y="2889083"/>
                  </a:lnTo>
                  <a:lnTo>
                    <a:pt x="1226212" y="2942195"/>
                  </a:lnTo>
                  <a:lnTo>
                    <a:pt x="1235914" y="2996309"/>
                  </a:lnTo>
                  <a:lnTo>
                    <a:pt x="1245616" y="3049421"/>
                  </a:lnTo>
                  <a:lnTo>
                    <a:pt x="1252407" y="3098524"/>
                  </a:lnTo>
                  <a:lnTo>
                    <a:pt x="1261138" y="3144621"/>
                  </a:lnTo>
                  <a:lnTo>
                    <a:pt x="1267927" y="3182701"/>
                  </a:lnTo>
                  <a:lnTo>
                    <a:pt x="1273749" y="3215771"/>
                  </a:lnTo>
                  <a:lnTo>
                    <a:pt x="1405683" y="3238820"/>
                  </a:lnTo>
                  <a:lnTo>
                    <a:pt x="1539558" y="3251847"/>
                  </a:lnTo>
                  <a:lnTo>
                    <a:pt x="1677312" y="3253851"/>
                  </a:lnTo>
                  <a:lnTo>
                    <a:pt x="1817977" y="3246837"/>
                  </a:lnTo>
                  <a:lnTo>
                    <a:pt x="1963493" y="3226793"/>
                  </a:lnTo>
                  <a:lnTo>
                    <a:pt x="1998071" y="3220300"/>
                  </a:lnTo>
                  <a:lnTo>
                    <a:pt x="1972544" y="2990832"/>
                  </a:lnTo>
                  <a:cubicBezTo>
                    <a:pt x="1951990" y="2824419"/>
                    <a:pt x="1923973" y="2664322"/>
                    <a:pt x="1866104" y="2529483"/>
                  </a:cubicBezTo>
                  <a:cubicBezTo>
                    <a:pt x="1798827" y="2378364"/>
                    <a:pt x="1318234" y="2057324"/>
                    <a:pt x="1085631" y="1773024"/>
                  </a:cubicBezTo>
                  <a:cubicBezTo>
                    <a:pt x="1039452" y="1683967"/>
                    <a:pt x="924385" y="1218329"/>
                    <a:pt x="1277747" y="968535"/>
                  </a:cubicBezTo>
                  <a:cubicBezTo>
                    <a:pt x="1430175" y="835482"/>
                    <a:pt x="1702005" y="831017"/>
                    <a:pt x="1914134" y="872477"/>
                  </a:cubicBezTo>
                  <a:cubicBezTo>
                    <a:pt x="2031257" y="905756"/>
                    <a:pt x="2240228" y="1053847"/>
                    <a:pt x="2334389" y="1316747"/>
                  </a:cubicBezTo>
                  <a:lnTo>
                    <a:pt x="2850702" y="1256710"/>
                  </a:lnTo>
                  <a:lnTo>
                    <a:pt x="2851858" y="1288484"/>
                  </a:lnTo>
                  <a:lnTo>
                    <a:pt x="2854049" y="1252639"/>
                  </a:lnTo>
                  <a:lnTo>
                    <a:pt x="2852109" y="1156435"/>
                  </a:lnTo>
                  <a:lnTo>
                    <a:pt x="2845318" y="1062236"/>
                  </a:lnTo>
                  <a:lnTo>
                    <a:pt x="2830767" y="971045"/>
                  </a:lnTo>
                  <a:lnTo>
                    <a:pt x="2811365" y="881857"/>
                  </a:lnTo>
                  <a:lnTo>
                    <a:pt x="2787112" y="799684"/>
                  </a:lnTo>
                  <a:lnTo>
                    <a:pt x="2759950" y="724526"/>
                  </a:lnTo>
                  <a:lnTo>
                    <a:pt x="2728906" y="657385"/>
                  </a:lnTo>
                  <a:lnTo>
                    <a:pt x="2682340" y="577215"/>
                  </a:lnTo>
                  <a:lnTo>
                    <a:pt x="2631895" y="501055"/>
                  </a:lnTo>
                  <a:lnTo>
                    <a:pt x="2574659" y="429907"/>
                  </a:lnTo>
                  <a:lnTo>
                    <a:pt x="2513543" y="361762"/>
                  </a:lnTo>
                  <a:lnTo>
                    <a:pt x="2446606" y="300634"/>
                  </a:lnTo>
                  <a:lnTo>
                    <a:pt x="2371907" y="243513"/>
                  </a:lnTo>
                  <a:lnTo>
                    <a:pt x="2294299" y="192406"/>
                  </a:lnTo>
                  <a:lnTo>
                    <a:pt x="2211840" y="147311"/>
                  </a:lnTo>
                  <a:lnTo>
                    <a:pt x="2121620" y="109230"/>
                  </a:lnTo>
                  <a:lnTo>
                    <a:pt x="2028490" y="74157"/>
                  </a:lnTo>
                  <a:lnTo>
                    <a:pt x="1927599" y="47099"/>
                  </a:lnTo>
                  <a:lnTo>
                    <a:pt x="1821858" y="25053"/>
                  </a:lnTo>
                  <a:lnTo>
                    <a:pt x="1711265" y="10021"/>
                  </a:lnTo>
                  <a:lnTo>
                    <a:pt x="1594853" y="1002"/>
                  </a:lnTo>
                  <a:close/>
                </a:path>
              </a:pathLst>
            </a:custGeom>
            <a:solidFill>
              <a:schemeClr val="tx1">
                <a:lumMod val="75000"/>
                <a:lumOff val="25000"/>
              </a:schemeClr>
            </a:solidFill>
            <a:ln>
              <a:solidFill>
                <a:srgbClr val="163F74"/>
              </a:solid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anchor="t" anchorCtr="0" compatLnSpc="1">
              <a:prstTxWarp prst="textNoShape">
                <a:avLst/>
              </a:prstTxWarp>
              <a:noAutofit/>
            </a:bodyPr>
            <a:lstStyle/>
            <a:p>
              <a:endParaRPr lang="ko-KR" altLang="en-US" sz="2026" dirty="0"/>
            </a:p>
          </p:txBody>
        </p:sp>
        <p:sp>
          <p:nvSpPr>
            <p:cNvPr id="16" name="Freeform: Shape 15">
              <a:extLst>
                <a:ext uri="{FF2B5EF4-FFF2-40B4-BE49-F238E27FC236}">
                  <a16:creationId xmlns:a16="http://schemas.microsoft.com/office/drawing/2014/main" id="{68C7E696-0B18-41D8-BADC-63197E0C7B5D}"/>
                </a:ext>
              </a:extLst>
            </p:cNvPr>
            <p:cNvSpPr/>
            <p:nvPr/>
          </p:nvSpPr>
          <p:spPr>
            <a:xfrm flipH="1">
              <a:off x="457200" y="590550"/>
              <a:ext cx="2979057" cy="1921717"/>
            </a:xfrm>
            <a:custGeom>
              <a:avLst/>
              <a:gdLst>
                <a:gd name="connsiteX0" fmla="*/ 1547519 w 3095038"/>
                <a:gd name="connsiteY0" fmla="*/ 0 h 2022026"/>
                <a:gd name="connsiteX1" fmla="*/ 3095038 w 3095038"/>
                <a:gd name="connsiteY1" fmla="*/ 627509 h 2022026"/>
                <a:gd name="connsiteX2" fmla="*/ 2825277 w 3095038"/>
                <a:gd name="connsiteY2" fmla="*/ 736897 h 2022026"/>
                <a:gd name="connsiteX3" fmla="*/ 2825277 w 3095038"/>
                <a:gd name="connsiteY3" fmla="*/ 1583608 h 2022026"/>
                <a:gd name="connsiteX4" fmla="*/ 2829142 w 3095038"/>
                <a:gd name="connsiteY4" fmla="*/ 1585209 h 2022026"/>
                <a:gd name="connsiteX5" fmla="*/ 2841509 w 3095038"/>
                <a:gd name="connsiteY5" fmla="*/ 1615067 h 2022026"/>
                <a:gd name="connsiteX6" fmla="*/ 2829142 w 3095038"/>
                <a:gd name="connsiteY6" fmla="*/ 1644926 h 2022026"/>
                <a:gd name="connsiteX7" fmla="*/ 2826092 w 3095038"/>
                <a:gd name="connsiteY7" fmla="*/ 1646189 h 2022026"/>
                <a:gd name="connsiteX8" fmla="*/ 2876626 w 3095038"/>
                <a:gd name="connsiteY8" fmla="*/ 2022026 h 2022026"/>
                <a:gd name="connsiteX9" fmla="*/ 2721940 w 3095038"/>
                <a:gd name="connsiteY9" fmla="*/ 2022026 h 2022026"/>
                <a:gd name="connsiteX10" fmla="*/ 2772475 w 3095038"/>
                <a:gd name="connsiteY10" fmla="*/ 1646189 h 2022026"/>
                <a:gd name="connsiteX11" fmla="*/ 2769425 w 3095038"/>
                <a:gd name="connsiteY11" fmla="*/ 1644926 h 2022026"/>
                <a:gd name="connsiteX12" fmla="*/ 2757057 w 3095038"/>
                <a:gd name="connsiteY12" fmla="*/ 1615067 h 2022026"/>
                <a:gd name="connsiteX13" fmla="*/ 2769425 w 3095038"/>
                <a:gd name="connsiteY13" fmla="*/ 1585209 h 2022026"/>
                <a:gd name="connsiteX14" fmla="*/ 2773289 w 3095038"/>
                <a:gd name="connsiteY14" fmla="*/ 1583608 h 2022026"/>
                <a:gd name="connsiteX15" fmla="*/ 2773289 w 3095038"/>
                <a:gd name="connsiteY15" fmla="*/ 757978 h 2022026"/>
                <a:gd name="connsiteX16" fmla="*/ 2747752 w 3095038"/>
                <a:gd name="connsiteY16" fmla="*/ 768333 h 2022026"/>
                <a:gd name="connsiteX17" fmla="*/ 2473970 w 3095038"/>
                <a:gd name="connsiteY17" fmla="*/ 981499 h 2022026"/>
                <a:gd name="connsiteX18" fmla="*/ 2473970 w 3095038"/>
                <a:gd name="connsiteY18" fmla="*/ 1333096 h 2022026"/>
                <a:gd name="connsiteX19" fmla="*/ 1442377 w 3095038"/>
                <a:gd name="connsiteY19" fmla="*/ 1553521 h 2022026"/>
                <a:gd name="connsiteX20" fmla="*/ 628675 w 3095038"/>
                <a:gd name="connsiteY20" fmla="*/ 1422110 h 2022026"/>
                <a:gd name="connsiteX21" fmla="*/ 635755 w 3095038"/>
                <a:gd name="connsiteY21" fmla="*/ 1406334 h 2022026"/>
                <a:gd name="connsiteX22" fmla="*/ 621068 w 3095038"/>
                <a:gd name="connsiteY22" fmla="*/ 1402746 h 2022026"/>
                <a:gd name="connsiteX23" fmla="*/ 621068 w 3095038"/>
                <a:gd name="connsiteY23" fmla="*/ 981499 h 2022026"/>
                <a:gd name="connsiteX24" fmla="*/ 0 w 3095038"/>
                <a:gd name="connsiteY24" fmla="*/ 627509 h 202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95038" h="2022026">
                  <a:moveTo>
                    <a:pt x="1547519" y="0"/>
                  </a:moveTo>
                  <a:lnTo>
                    <a:pt x="3095038" y="627509"/>
                  </a:lnTo>
                  <a:lnTo>
                    <a:pt x="2825277" y="736897"/>
                  </a:lnTo>
                  <a:lnTo>
                    <a:pt x="2825277" y="1583608"/>
                  </a:lnTo>
                  <a:lnTo>
                    <a:pt x="2829142" y="1585209"/>
                  </a:lnTo>
                  <a:cubicBezTo>
                    <a:pt x="2836783" y="1592850"/>
                    <a:pt x="2841509" y="1603406"/>
                    <a:pt x="2841509" y="1615067"/>
                  </a:cubicBezTo>
                  <a:cubicBezTo>
                    <a:pt x="2841509" y="1626728"/>
                    <a:pt x="2836783" y="1637284"/>
                    <a:pt x="2829142" y="1644926"/>
                  </a:cubicBezTo>
                  <a:lnTo>
                    <a:pt x="2826092" y="1646189"/>
                  </a:lnTo>
                  <a:lnTo>
                    <a:pt x="2876626" y="2022026"/>
                  </a:lnTo>
                  <a:lnTo>
                    <a:pt x="2721940" y="2022026"/>
                  </a:lnTo>
                  <a:lnTo>
                    <a:pt x="2772475" y="1646189"/>
                  </a:lnTo>
                  <a:lnTo>
                    <a:pt x="2769425" y="1644926"/>
                  </a:lnTo>
                  <a:cubicBezTo>
                    <a:pt x="2761784" y="1637284"/>
                    <a:pt x="2757057" y="1626728"/>
                    <a:pt x="2757057" y="1615067"/>
                  </a:cubicBezTo>
                  <a:cubicBezTo>
                    <a:pt x="2757057" y="1603406"/>
                    <a:pt x="2761784" y="1592850"/>
                    <a:pt x="2769425" y="1585209"/>
                  </a:cubicBezTo>
                  <a:lnTo>
                    <a:pt x="2773289" y="1583608"/>
                  </a:lnTo>
                  <a:lnTo>
                    <a:pt x="2773289" y="757978"/>
                  </a:lnTo>
                  <a:lnTo>
                    <a:pt x="2747752" y="768333"/>
                  </a:lnTo>
                  <a:lnTo>
                    <a:pt x="2473970" y="981499"/>
                  </a:lnTo>
                  <a:lnTo>
                    <a:pt x="2473970" y="1333096"/>
                  </a:lnTo>
                  <a:cubicBezTo>
                    <a:pt x="2176456" y="1474039"/>
                    <a:pt x="1822001" y="1553521"/>
                    <a:pt x="1442377" y="1553521"/>
                  </a:cubicBezTo>
                  <a:cubicBezTo>
                    <a:pt x="1151810" y="1553521"/>
                    <a:pt x="875988" y="1506956"/>
                    <a:pt x="628675" y="1422110"/>
                  </a:cubicBezTo>
                  <a:cubicBezTo>
                    <a:pt x="630298" y="1416654"/>
                    <a:pt x="632987" y="1411486"/>
                    <a:pt x="635755" y="1406334"/>
                  </a:cubicBezTo>
                  <a:cubicBezTo>
                    <a:pt x="631035" y="1404608"/>
                    <a:pt x="626049" y="1403669"/>
                    <a:pt x="621068" y="1402746"/>
                  </a:cubicBezTo>
                  <a:lnTo>
                    <a:pt x="621068" y="981499"/>
                  </a:lnTo>
                  <a:lnTo>
                    <a:pt x="0" y="62750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sz="2026" dirty="0"/>
            </a:p>
          </p:txBody>
        </p:sp>
      </p:grpSp>
      <p:graphicFrame>
        <p:nvGraphicFramePr>
          <p:cNvPr id="5" name="Object 4" hidden="1">
            <a:extLst>
              <a:ext uri="{FF2B5EF4-FFF2-40B4-BE49-F238E27FC236}">
                <a16:creationId xmlns:a16="http://schemas.microsoft.com/office/drawing/2014/main" id="{A9E43DCD-F115-4EC7-90AE-5F5E6C473889}"/>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0780" name="think-cell Slide" r:id="rId8" imgW="383" imgH="384" progId="TCLayout.ActiveDocument.1">
                  <p:embed/>
                </p:oleObj>
              </mc:Choice>
              <mc:Fallback>
                <p:oleObj name="think-cell Slide" r:id="rId8" imgW="383" imgH="384" progId="TCLayout.ActiveDocument.1">
                  <p:embed/>
                  <p:pic>
                    <p:nvPicPr>
                      <p:cNvPr id="5" name="Object 4" hidden="1">
                        <a:extLst>
                          <a:ext uri="{FF2B5EF4-FFF2-40B4-BE49-F238E27FC236}">
                            <a16:creationId xmlns:a16="http://schemas.microsoft.com/office/drawing/2014/main" id="{A9E43DCD-F115-4EC7-90AE-5F5E6C473889}"/>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140B3F-4BDA-4FDA-A9EE-3C673CDF2373}"/>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b="1" dirty="0">
              <a:latin typeface="Segoe UI" panose="020B0502040204020203" pitchFamily="34" charset="0"/>
              <a:ea typeface="+mj-ea"/>
              <a:cs typeface="Segoe UI" panose="020B0502040204020203" pitchFamily="34" charset="0"/>
              <a:sym typeface="Segoe UI" panose="020B0502040204020203" pitchFamily="34" charset="0"/>
            </a:endParaRPr>
          </a:p>
        </p:txBody>
      </p:sp>
      <p:cxnSp>
        <p:nvCxnSpPr>
          <p:cNvPr id="8" name="Straight Connector 7">
            <a:extLst>
              <a:ext uri="{FF2B5EF4-FFF2-40B4-BE49-F238E27FC236}">
                <a16:creationId xmlns:a16="http://schemas.microsoft.com/office/drawing/2014/main" id="{FDDCB1DF-AB7E-4220-9C07-5A95CD99AED5}"/>
              </a:ext>
            </a:extLst>
          </p:cNvPr>
          <p:cNvCxnSpPr>
            <a:cxnSpLocks/>
          </p:cNvCxnSpPr>
          <p:nvPr/>
        </p:nvCxnSpPr>
        <p:spPr>
          <a:xfrm flipH="1">
            <a:off x="264252" y="4162255"/>
            <a:ext cx="712513" cy="9885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544301-48A2-4C9C-9CBF-01A720F732C0}"/>
              </a:ext>
            </a:extLst>
          </p:cNvPr>
          <p:cNvCxnSpPr>
            <a:cxnSpLocks/>
          </p:cNvCxnSpPr>
          <p:nvPr/>
        </p:nvCxnSpPr>
        <p:spPr>
          <a:xfrm flipH="1">
            <a:off x="725918" y="1"/>
            <a:ext cx="501694" cy="69604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E0D0D9FA-3DBB-4185-910C-1F200143EFAC}"/>
              </a:ext>
            </a:extLst>
          </p:cNvPr>
          <p:cNvSpPr>
            <a:spLocks noGrp="1"/>
          </p:cNvSpPr>
          <p:nvPr>
            <p:ph type="title"/>
          </p:nvPr>
        </p:nvSpPr>
        <p:spPr>
          <a:xfrm>
            <a:off x="2716719" y="2248584"/>
            <a:ext cx="6436659" cy="646331"/>
          </a:xfrm>
        </p:spPr>
        <p:txBody>
          <a:bodyPr vert="horz" wrap="square" lIns="91440" tIns="45720" rIns="91440" bIns="45720" rtlCol="0" anchor="t">
            <a:spAutoFit/>
          </a:bodyPr>
          <a:lstStyle/>
          <a:p>
            <a:pPr marL="11545" algn="l">
              <a:spcBef>
                <a:spcPts val="72"/>
              </a:spcBef>
            </a:pPr>
            <a:r>
              <a:rPr lang="en-US" sz="3600"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rPr>
              <a:t>What is TFWS &amp; EWS</a:t>
            </a:r>
          </a:p>
        </p:txBody>
      </p:sp>
      <p:sp>
        <p:nvSpPr>
          <p:cNvPr id="17" name="Rectangle 16">
            <a:extLst>
              <a:ext uri="{FF2B5EF4-FFF2-40B4-BE49-F238E27FC236}">
                <a16:creationId xmlns:a16="http://schemas.microsoft.com/office/drawing/2014/main" id="{E481DB9C-92EC-43E7-B4B1-F15D6B9CE47D}"/>
              </a:ext>
            </a:extLst>
          </p:cNvPr>
          <p:cNvSpPr/>
          <p:nvPr/>
        </p:nvSpPr>
        <p:spPr>
          <a:xfrm>
            <a:off x="2707341" y="3430160"/>
            <a:ext cx="6436659" cy="48896"/>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pic>
        <p:nvPicPr>
          <p:cNvPr id="18" name="Picture 17">
            <a:extLst>
              <a:ext uri="{FF2B5EF4-FFF2-40B4-BE49-F238E27FC236}">
                <a16:creationId xmlns:a16="http://schemas.microsoft.com/office/drawing/2014/main" id="{A353EE7D-C8F9-4979-8EC6-C4E8BF78246D}"/>
              </a:ext>
            </a:extLst>
          </p:cNvPr>
          <p:cNvPicPr>
            <a:picLocks noChangeAspect="1"/>
          </p:cNvPicPr>
          <p:nvPr/>
        </p:nvPicPr>
        <p:blipFill rotWithShape="1">
          <a:blip r:embed="rId10"/>
          <a:srcRect l="86667" b="81138"/>
          <a:stretch/>
        </p:blipFill>
        <p:spPr>
          <a:xfrm>
            <a:off x="7924800" y="-1"/>
            <a:ext cx="1219200" cy="971551"/>
          </a:xfrm>
          <a:prstGeom prst="rect">
            <a:avLst/>
          </a:prstGeom>
        </p:spPr>
      </p:pic>
    </p:spTree>
    <p:extLst>
      <p:ext uri="{BB962C8B-B14F-4D97-AF65-F5344CB8AC3E}">
        <p14:creationId xmlns:p14="http://schemas.microsoft.com/office/powerpoint/2010/main" val="2846477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450"/>
        <p:cNvGrpSpPr/>
        <p:nvPr/>
      </p:nvGrpSpPr>
      <p:grpSpPr>
        <a:xfrm>
          <a:off x="0" y="0"/>
          <a:ext cx="0" cy="0"/>
          <a:chOff x="0" y="0"/>
          <a:chExt cx="0" cy="0"/>
        </a:xfrm>
      </p:grpSpPr>
      <p:sp>
        <p:nvSpPr>
          <p:cNvPr id="23" name="Google Shape;197;p27">
            <a:extLst>
              <a:ext uri="{FF2B5EF4-FFF2-40B4-BE49-F238E27FC236}">
                <a16:creationId xmlns:a16="http://schemas.microsoft.com/office/drawing/2014/main" id="{164203C6-9CC1-4414-A5F0-F20BB7436FF4}"/>
              </a:ext>
            </a:extLst>
          </p:cNvPr>
          <p:cNvSpPr/>
          <p:nvPr/>
        </p:nvSpPr>
        <p:spPr>
          <a:xfrm>
            <a:off x="8664750" y="742950"/>
            <a:ext cx="152401" cy="4400550"/>
          </a:xfrm>
          <a:prstGeom prst="rect">
            <a:avLst/>
          </a:prstGeom>
          <a:solidFill>
            <a:srgbClr val="FF5969"/>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9" name="Google Shape;188;p26">
            <a:extLst>
              <a:ext uri="{FF2B5EF4-FFF2-40B4-BE49-F238E27FC236}">
                <a16:creationId xmlns:a16="http://schemas.microsoft.com/office/drawing/2014/main" id="{7FC98059-8F29-4E64-B256-3499F710ED9E}"/>
              </a:ext>
            </a:extLst>
          </p:cNvPr>
          <p:cNvSpPr txBox="1">
            <a:spLocks/>
          </p:cNvSpPr>
          <p:nvPr/>
        </p:nvSpPr>
        <p:spPr>
          <a:xfrm>
            <a:off x="609601" y="306454"/>
            <a:ext cx="6826138" cy="569678"/>
          </a:xfrm>
          <a:prstGeom prst="rect">
            <a:avLst/>
          </a:prstGeom>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800" kern="0" dirty="0">
                <a:solidFill>
                  <a:srgbClr val="FF5969"/>
                </a:solidFill>
                <a:latin typeface="Gotham Bold" panose="02000803030000020004" pitchFamily="2" charset="0"/>
              </a:rPr>
              <a:t>Tuition Fee Waiver Scheme: </a:t>
            </a:r>
            <a:r>
              <a:rPr lang="en-US" sz="2800" kern="0" dirty="0">
                <a:solidFill>
                  <a:srgbClr val="52CBBE"/>
                </a:solidFill>
                <a:latin typeface="Gotham Bold" panose="02000803030000020004" pitchFamily="2" charset="0"/>
              </a:rPr>
              <a:t>TFWS</a:t>
            </a:r>
          </a:p>
        </p:txBody>
      </p:sp>
      <p:sp>
        <p:nvSpPr>
          <p:cNvPr id="10" name="Google Shape;191;p26">
            <a:extLst>
              <a:ext uri="{FF2B5EF4-FFF2-40B4-BE49-F238E27FC236}">
                <a16:creationId xmlns:a16="http://schemas.microsoft.com/office/drawing/2014/main" id="{33A048E6-6447-4903-BE9C-C91D13C11271}"/>
              </a:ext>
            </a:extLst>
          </p:cNvPr>
          <p:cNvSpPr/>
          <p:nvPr/>
        </p:nvSpPr>
        <p:spPr>
          <a:xfrm>
            <a:off x="1" y="440620"/>
            <a:ext cx="609600" cy="302330"/>
          </a:xfrm>
          <a:prstGeom prst="rect">
            <a:avLst/>
          </a:prstGeom>
          <a:solidFill>
            <a:srgbClr val="52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Content Placeholder 2">
            <a:extLst>
              <a:ext uri="{FF2B5EF4-FFF2-40B4-BE49-F238E27FC236}">
                <a16:creationId xmlns:a16="http://schemas.microsoft.com/office/drawing/2014/main" id="{268B913B-8B3B-462A-B408-75195289482B}"/>
              </a:ext>
            </a:extLst>
          </p:cNvPr>
          <p:cNvSpPr txBox="1">
            <a:spLocks/>
          </p:cNvSpPr>
          <p:nvPr/>
        </p:nvSpPr>
        <p:spPr>
          <a:xfrm>
            <a:off x="410065" y="895656"/>
            <a:ext cx="8254685" cy="4198669"/>
          </a:xfrm>
          <a:prstGeom prst="rect">
            <a:avLst/>
          </a:prstGeom>
        </p:spPr>
        <p:txBody>
          <a:bodyPr vert="horz" lIns="91440" tIns="45720" rIns="91440" bIns="45720" rtlCol="0">
            <a:normAutofit fontScale="925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Font typeface="Wingdings" pitchFamily="2" charset="2"/>
              <a:buChar char="§"/>
            </a:pPr>
            <a:r>
              <a:rPr lang="en-US" sz="1800" dirty="0">
                <a:latin typeface="Gotham Medium" panose="02000603030000020004" pitchFamily="2" charset="0"/>
              </a:rPr>
              <a:t>5 % seats in each branch (03 seats for 60 intake)</a:t>
            </a:r>
          </a:p>
          <a:p>
            <a:pPr>
              <a:lnSpc>
                <a:spcPct val="150000"/>
              </a:lnSpc>
              <a:buFont typeface="Wingdings" pitchFamily="2" charset="2"/>
              <a:buChar char="§"/>
            </a:pPr>
            <a:r>
              <a:rPr lang="en-US" sz="1800" dirty="0">
                <a:latin typeface="Gotham Medium" panose="02000603030000020004" pitchFamily="2" charset="0"/>
              </a:rPr>
              <a:t>Purely on merit basis based on MHT-CET 2021 Score</a:t>
            </a:r>
          </a:p>
          <a:p>
            <a:pPr>
              <a:lnSpc>
                <a:spcPct val="150000"/>
              </a:lnSpc>
              <a:buFont typeface="Wingdings" pitchFamily="2" charset="2"/>
              <a:buChar char="§"/>
            </a:pPr>
            <a:r>
              <a:rPr lang="en-US" sz="1800" dirty="0">
                <a:solidFill>
                  <a:srgbClr val="FF0000"/>
                </a:solidFill>
                <a:latin typeface="Gotham Medium" panose="02000603030000020004" pitchFamily="2" charset="0"/>
              </a:rPr>
              <a:t>No tuition fee, all other fees to be paid</a:t>
            </a:r>
          </a:p>
          <a:p>
            <a:pPr>
              <a:lnSpc>
                <a:spcPct val="150000"/>
              </a:lnSpc>
              <a:buFont typeface="Wingdings" pitchFamily="2" charset="2"/>
              <a:buChar char="§"/>
            </a:pPr>
            <a:r>
              <a:rPr lang="en-US" sz="1800" dirty="0">
                <a:latin typeface="Gotham Medium" panose="02000603030000020004" pitchFamily="2" charset="0"/>
              </a:rPr>
              <a:t>Separate code to apply for this scheme</a:t>
            </a:r>
          </a:p>
          <a:p>
            <a:pPr>
              <a:lnSpc>
                <a:spcPct val="150000"/>
              </a:lnSpc>
              <a:buFont typeface="Wingdings" pitchFamily="2" charset="2"/>
              <a:buChar char="§"/>
            </a:pPr>
            <a:r>
              <a:rPr lang="en-US" sz="1800" dirty="0">
                <a:solidFill>
                  <a:srgbClr val="00B050"/>
                </a:solidFill>
                <a:latin typeface="Gotham Medium" panose="02000603030000020004" pitchFamily="2" charset="0"/>
              </a:rPr>
              <a:t>Eligibility – </a:t>
            </a:r>
          </a:p>
          <a:p>
            <a:pPr lvl="1">
              <a:lnSpc>
                <a:spcPct val="150000"/>
              </a:lnSpc>
              <a:buFont typeface="Wingdings" pitchFamily="2" charset="2"/>
              <a:buChar char="§"/>
            </a:pPr>
            <a:r>
              <a:rPr lang="en-US" sz="1600" dirty="0">
                <a:latin typeface="Gotham Medium" panose="02000603030000020004" pitchFamily="2" charset="0"/>
              </a:rPr>
              <a:t>Children of parents having annual income less than Rs. 8.0 Lacs</a:t>
            </a:r>
          </a:p>
          <a:p>
            <a:pPr>
              <a:lnSpc>
                <a:spcPct val="150000"/>
              </a:lnSpc>
              <a:buFont typeface="Wingdings" pitchFamily="2" charset="2"/>
              <a:buChar char="§"/>
            </a:pPr>
            <a:r>
              <a:rPr lang="en-US" sz="1800" dirty="0">
                <a:solidFill>
                  <a:srgbClr val="FF0000"/>
                </a:solidFill>
                <a:latin typeface="Gotham Medium" panose="02000603030000020004" pitchFamily="2" charset="0"/>
              </a:rPr>
              <a:t>Branch change after first year is not allowed</a:t>
            </a:r>
          </a:p>
          <a:p>
            <a:pPr>
              <a:lnSpc>
                <a:spcPct val="150000"/>
              </a:lnSpc>
              <a:buFont typeface="Wingdings" pitchFamily="2" charset="2"/>
              <a:buChar char="§"/>
            </a:pPr>
            <a:r>
              <a:rPr lang="en-US" sz="1800" dirty="0">
                <a:latin typeface="Gotham Medium" panose="02000603030000020004" pitchFamily="2" charset="0"/>
              </a:rPr>
              <a:t>Applicable to such courses where a minimum of 30% of sanctioned seats in the respective courses are filled in the respective CAP round</a:t>
            </a:r>
          </a:p>
        </p:txBody>
      </p:sp>
    </p:spTree>
    <p:extLst>
      <p:ext uri="{BB962C8B-B14F-4D97-AF65-F5344CB8AC3E}">
        <p14:creationId xmlns:p14="http://schemas.microsoft.com/office/powerpoint/2010/main" val="2182676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450"/>
        <p:cNvGrpSpPr/>
        <p:nvPr/>
      </p:nvGrpSpPr>
      <p:grpSpPr>
        <a:xfrm>
          <a:off x="0" y="0"/>
          <a:ext cx="0" cy="0"/>
          <a:chOff x="0" y="0"/>
          <a:chExt cx="0" cy="0"/>
        </a:xfrm>
      </p:grpSpPr>
      <p:sp>
        <p:nvSpPr>
          <p:cNvPr id="9" name="Google Shape;188;p26">
            <a:extLst>
              <a:ext uri="{FF2B5EF4-FFF2-40B4-BE49-F238E27FC236}">
                <a16:creationId xmlns:a16="http://schemas.microsoft.com/office/drawing/2014/main" id="{7FC98059-8F29-4E64-B256-3499F710ED9E}"/>
              </a:ext>
            </a:extLst>
          </p:cNvPr>
          <p:cNvSpPr txBox="1">
            <a:spLocks/>
          </p:cNvSpPr>
          <p:nvPr/>
        </p:nvSpPr>
        <p:spPr>
          <a:xfrm>
            <a:off x="609601" y="306454"/>
            <a:ext cx="6826138" cy="569678"/>
          </a:xfrm>
          <a:prstGeom prst="rect">
            <a:avLst/>
          </a:prstGeom>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800" kern="0" dirty="0">
                <a:solidFill>
                  <a:srgbClr val="FF5969"/>
                </a:solidFill>
                <a:latin typeface="Gotham Bold" panose="02000803030000020004" pitchFamily="2" charset="0"/>
              </a:rPr>
              <a:t>Economically Weaker Section: </a:t>
            </a:r>
            <a:r>
              <a:rPr lang="en-US" sz="2800" kern="0" dirty="0">
                <a:solidFill>
                  <a:srgbClr val="52CBBE"/>
                </a:solidFill>
                <a:latin typeface="Gotham Bold" panose="02000803030000020004" pitchFamily="2" charset="0"/>
              </a:rPr>
              <a:t>EWS</a:t>
            </a:r>
          </a:p>
        </p:txBody>
      </p:sp>
      <p:sp>
        <p:nvSpPr>
          <p:cNvPr id="10" name="Google Shape;191;p26">
            <a:extLst>
              <a:ext uri="{FF2B5EF4-FFF2-40B4-BE49-F238E27FC236}">
                <a16:creationId xmlns:a16="http://schemas.microsoft.com/office/drawing/2014/main" id="{33A048E6-6447-4903-BE9C-C91D13C11271}"/>
              </a:ext>
            </a:extLst>
          </p:cNvPr>
          <p:cNvSpPr/>
          <p:nvPr/>
        </p:nvSpPr>
        <p:spPr>
          <a:xfrm>
            <a:off x="1" y="440620"/>
            <a:ext cx="609600" cy="302330"/>
          </a:xfrm>
          <a:prstGeom prst="rect">
            <a:avLst/>
          </a:prstGeom>
          <a:solidFill>
            <a:srgbClr val="52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 name="Content Placeholder 2">
            <a:extLst>
              <a:ext uri="{FF2B5EF4-FFF2-40B4-BE49-F238E27FC236}">
                <a16:creationId xmlns:a16="http://schemas.microsoft.com/office/drawing/2014/main" id="{ADC7E51F-119B-4203-B377-53D53A559A47}"/>
              </a:ext>
            </a:extLst>
          </p:cNvPr>
          <p:cNvSpPr txBox="1">
            <a:spLocks/>
          </p:cNvSpPr>
          <p:nvPr/>
        </p:nvSpPr>
        <p:spPr>
          <a:xfrm>
            <a:off x="940067" y="1069184"/>
            <a:ext cx="7536786" cy="3661256"/>
          </a:xfrm>
          <a:prstGeom prst="rect">
            <a:avLst/>
          </a:prstGeom>
        </p:spPr>
        <p:txBody>
          <a:bodyPr vert="horz" lIns="91440" tIns="45720" rIns="91440" bIns="45720" rtlCol="0">
            <a:normAutofit fontScale="9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Font typeface="Wingdings" pitchFamily="2" charset="2"/>
              <a:buChar char="§"/>
            </a:pPr>
            <a:r>
              <a:rPr lang="en-US" sz="1800" dirty="0">
                <a:latin typeface="Gotham Medium" panose="02000603030000020004" pitchFamily="2" charset="0"/>
              </a:rPr>
              <a:t>10% seats in each branch (06 seats for 60 intake)</a:t>
            </a:r>
          </a:p>
          <a:p>
            <a:pPr>
              <a:lnSpc>
                <a:spcPct val="150000"/>
              </a:lnSpc>
              <a:buFont typeface="Wingdings" pitchFamily="2" charset="2"/>
              <a:buChar char="§"/>
            </a:pPr>
            <a:r>
              <a:rPr lang="en-US" sz="1800" dirty="0">
                <a:latin typeface="Gotham Medium" panose="02000603030000020004" pitchFamily="2" charset="0"/>
              </a:rPr>
              <a:t>Seats are over and above of sanctioned  intake</a:t>
            </a:r>
          </a:p>
          <a:p>
            <a:pPr>
              <a:lnSpc>
                <a:spcPct val="150000"/>
              </a:lnSpc>
              <a:buFont typeface="Wingdings" pitchFamily="2" charset="2"/>
              <a:buChar char="§"/>
            </a:pPr>
            <a:r>
              <a:rPr lang="en-US" sz="1800" dirty="0">
                <a:latin typeface="Gotham Medium" panose="02000603030000020004" pitchFamily="2" charset="0"/>
              </a:rPr>
              <a:t>Admission on Merit Basis through CAP</a:t>
            </a:r>
          </a:p>
          <a:p>
            <a:pPr>
              <a:lnSpc>
                <a:spcPct val="150000"/>
              </a:lnSpc>
              <a:buFont typeface="Wingdings" pitchFamily="2" charset="2"/>
              <a:buChar char="§"/>
            </a:pPr>
            <a:r>
              <a:rPr lang="en-US" sz="1800" dirty="0">
                <a:solidFill>
                  <a:srgbClr val="FF0000"/>
                </a:solidFill>
                <a:latin typeface="Gotham Medium" panose="02000603030000020004" pitchFamily="2" charset="0"/>
              </a:rPr>
              <a:t>50% Scholarship in tuition fee by Government</a:t>
            </a:r>
          </a:p>
          <a:p>
            <a:pPr>
              <a:lnSpc>
                <a:spcPct val="150000"/>
              </a:lnSpc>
              <a:buFont typeface="Wingdings" pitchFamily="2" charset="2"/>
              <a:buChar char="§"/>
            </a:pPr>
            <a:r>
              <a:rPr lang="en-US" sz="1800" dirty="0">
                <a:latin typeface="Gotham Medium" panose="02000603030000020004" pitchFamily="2" charset="0"/>
              </a:rPr>
              <a:t>Separate code to apply for this scheme</a:t>
            </a:r>
          </a:p>
          <a:p>
            <a:pPr>
              <a:lnSpc>
                <a:spcPct val="150000"/>
              </a:lnSpc>
              <a:buFont typeface="Wingdings" pitchFamily="2" charset="2"/>
              <a:buChar char="§"/>
            </a:pPr>
            <a:r>
              <a:rPr lang="en-US" sz="1800" dirty="0">
                <a:solidFill>
                  <a:srgbClr val="FF0000"/>
                </a:solidFill>
                <a:latin typeface="Gotham Medium" panose="02000603030000020004" pitchFamily="2" charset="0"/>
              </a:rPr>
              <a:t>Branch change after first year is not allowed</a:t>
            </a:r>
          </a:p>
          <a:p>
            <a:pPr>
              <a:lnSpc>
                <a:spcPct val="150000"/>
              </a:lnSpc>
              <a:buFont typeface="Wingdings" pitchFamily="2" charset="2"/>
              <a:buChar char="§"/>
            </a:pPr>
            <a:r>
              <a:rPr lang="en-US" sz="1800" dirty="0">
                <a:solidFill>
                  <a:srgbClr val="92D050"/>
                </a:solidFill>
                <a:latin typeface="Gotham Medium" panose="02000603030000020004" pitchFamily="2" charset="0"/>
              </a:rPr>
              <a:t>Eligibility – </a:t>
            </a:r>
          </a:p>
          <a:p>
            <a:pPr lvl="1">
              <a:lnSpc>
                <a:spcPct val="150000"/>
              </a:lnSpc>
              <a:buFont typeface="Wingdings" pitchFamily="2" charset="2"/>
              <a:buChar char="§"/>
            </a:pPr>
            <a:r>
              <a:rPr lang="en-US" sz="1600" dirty="0">
                <a:latin typeface="Gotham Medium" panose="02000603030000020004" pitchFamily="2" charset="0"/>
              </a:rPr>
              <a:t>Children of parents having annual income less than Rs. 8.0 Lacs.</a:t>
            </a:r>
          </a:p>
          <a:p>
            <a:pPr lvl="1">
              <a:lnSpc>
                <a:spcPct val="150000"/>
              </a:lnSpc>
              <a:buFont typeface="Wingdings" pitchFamily="2" charset="2"/>
              <a:buChar char="§"/>
            </a:pPr>
            <a:r>
              <a:rPr lang="en-US" sz="1600" dirty="0">
                <a:latin typeface="Gotham Medium" panose="02000603030000020004" pitchFamily="2" charset="0"/>
              </a:rPr>
              <a:t>Candidate should be domicile of Maharashtra before 1967</a:t>
            </a:r>
          </a:p>
        </p:txBody>
      </p:sp>
      <p:sp>
        <p:nvSpPr>
          <p:cNvPr id="7" name="Google Shape;197;p27">
            <a:extLst>
              <a:ext uri="{FF2B5EF4-FFF2-40B4-BE49-F238E27FC236}">
                <a16:creationId xmlns:a16="http://schemas.microsoft.com/office/drawing/2014/main" id="{1B5B52CE-AE12-4F40-96AE-C8B404C9D4BF}"/>
              </a:ext>
            </a:extLst>
          </p:cNvPr>
          <p:cNvSpPr/>
          <p:nvPr/>
        </p:nvSpPr>
        <p:spPr>
          <a:xfrm>
            <a:off x="8664750" y="742950"/>
            <a:ext cx="152401" cy="4400550"/>
          </a:xfrm>
          <a:prstGeom prst="rect">
            <a:avLst/>
          </a:prstGeom>
          <a:solidFill>
            <a:srgbClr val="FF5969"/>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02056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77" descr="Presentations background 3D model - TurboSquid 1163407">
            <a:extLst>
              <a:ext uri="{FF2B5EF4-FFF2-40B4-BE49-F238E27FC236}">
                <a16:creationId xmlns:a16="http://schemas.microsoft.com/office/drawing/2014/main" id="{E403F7D4-A9DE-4259-AE76-95C72CF2CFB5}"/>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0" y="-1"/>
            <a:ext cx="9142412" cy="51435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6BAE015D-47D1-4E48-8E90-3697142C75CA}"/>
              </a:ext>
            </a:extLst>
          </p:cNvPr>
          <p:cNvSpPr/>
          <p:nvPr/>
        </p:nvSpPr>
        <p:spPr>
          <a:xfrm>
            <a:off x="2057400" y="1872476"/>
            <a:ext cx="7086600" cy="1496146"/>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grpSp>
        <p:nvGrpSpPr>
          <p:cNvPr id="2" name="Group 1">
            <a:extLst>
              <a:ext uri="{FF2B5EF4-FFF2-40B4-BE49-F238E27FC236}">
                <a16:creationId xmlns:a16="http://schemas.microsoft.com/office/drawing/2014/main" id="{54EEDD90-704E-4878-AF8D-68076816A27C}"/>
              </a:ext>
            </a:extLst>
          </p:cNvPr>
          <p:cNvGrpSpPr/>
          <p:nvPr/>
        </p:nvGrpSpPr>
        <p:grpSpPr>
          <a:xfrm>
            <a:off x="268941" y="742950"/>
            <a:ext cx="2438400" cy="3496230"/>
            <a:chOff x="457200" y="590550"/>
            <a:chExt cx="2979057" cy="4182030"/>
          </a:xfrm>
        </p:grpSpPr>
        <p:sp>
          <p:nvSpPr>
            <p:cNvPr id="12" name="Freeform: Shape 11">
              <a:extLst>
                <a:ext uri="{FF2B5EF4-FFF2-40B4-BE49-F238E27FC236}">
                  <a16:creationId xmlns:a16="http://schemas.microsoft.com/office/drawing/2014/main" id="{07097967-BC15-498E-939C-AE11970C5D94}"/>
                </a:ext>
              </a:extLst>
            </p:cNvPr>
            <p:cNvSpPr>
              <a:spLocks/>
            </p:cNvSpPr>
            <p:nvPr/>
          </p:nvSpPr>
          <p:spPr bwMode="auto">
            <a:xfrm rot="410959" flipH="1">
              <a:off x="794188" y="1474662"/>
              <a:ext cx="2305082" cy="3297918"/>
            </a:xfrm>
            <a:custGeom>
              <a:avLst/>
              <a:gdLst>
                <a:gd name="connsiteX0" fmla="*/ 1696267 w 2854049"/>
                <a:gd name="connsiteY0" fmla="*/ 3431657 h 4135471"/>
                <a:gd name="connsiteX1" fmla="*/ 1344360 w 2854049"/>
                <a:gd name="connsiteY1" fmla="*/ 3783564 h 4135471"/>
                <a:gd name="connsiteX2" fmla="*/ 1696267 w 2854049"/>
                <a:gd name="connsiteY2" fmla="*/ 4135471 h 4135471"/>
                <a:gd name="connsiteX3" fmla="*/ 2048174 w 2854049"/>
                <a:gd name="connsiteY3" fmla="*/ 3783564 h 4135471"/>
                <a:gd name="connsiteX4" fmla="*/ 1696267 w 2854049"/>
                <a:gd name="connsiteY4" fmla="*/ 3431657 h 4135471"/>
                <a:gd name="connsiteX5" fmla="*/ 1470680 w 2854049"/>
                <a:gd name="connsiteY5" fmla="*/ 0 h 4135471"/>
                <a:gd name="connsiteX6" fmla="*/ 1360088 w 2854049"/>
                <a:gd name="connsiteY6" fmla="*/ 9020 h 4135471"/>
                <a:gd name="connsiteX7" fmla="*/ 1082638 w 2854049"/>
                <a:gd name="connsiteY7" fmla="*/ 72152 h 4135471"/>
                <a:gd name="connsiteX8" fmla="*/ 1000179 w 2854049"/>
                <a:gd name="connsiteY8" fmla="*/ 103217 h 4135471"/>
                <a:gd name="connsiteX9" fmla="*/ 918691 w 2854049"/>
                <a:gd name="connsiteY9" fmla="*/ 138291 h 4135471"/>
                <a:gd name="connsiteX10" fmla="*/ 839141 w 2854049"/>
                <a:gd name="connsiteY10" fmla="*/ 180379 h 4135471"/>
                <a:gd name="connsiteX11" fmla="*/ 765414 w 2854049"/>
                <a:gd name="connsiteY11" fmla="*/ 227479 h 4135471"/>
                <a:gd name="connsiteX12" fmla="*/ 694595 w 2854049"/>
                <a:gd name="connsiteY12" fmla="*/ 280591 h 4135471"/>
                <a:gd name="connsiteX13" fmla="*/ 629599 w 2854049"/>
                <a:gd name="connsiteY13" fmla="*/ 338714 h 4135471"/>
                <a:gd name="connsiteX14" fmla="*/ 569452 w 2854049"/>
                <a:gd name="connsiteY14" fmla="*/ 401847 h 4135471"/>
                <a:gd name="connsiteX15" fmla="*/ 515126 w 2854049"/>
                <a:gd name="connsiteY15" fmla="*/ 470992 h 4135471"/>
                <a:gd name="connsiteX16" fmla="*/ 467591 w 2854049"/>
                <a:gd name="connsiteY16" fmla="*/ 544147 h 4135471"/>
                <a:gd name="connsiteX17" fmla="*/ 426847 w 2854049"/>
                <a:gd name="connsiteY17" fmla="*/ 622311 h 4135471"/>
                <a:gd name="connsiteX18" fmla="*/ 392893 w 2854049"/>
                <a:gd name="connsiteY18" fmla="*/ 706488 h 4135471"/>
                <a:gd name="connsiteX19" fmla="*/ 338568 w 2854049"/>
                <a:gd name="connsiteY19" fmla="*/ 937976 h 4135471"/>
                <a:gd name="connsiteX20" fmla="*/ 333717 w 2854049"/>
                <a:gd name="connsiteY20" fmla="*/ 994094 h 4135471"/>
                <a:gd name="connsiteX21" fmla="*/ 331776 w 2854049"/>
                <a:gd name="connsiteY21" fmla="*/ 1047206 h 4135471"/>
                <a:gd name="connsiteX22" fmla="*/ 333717 w 2854049"/>
                <a:gd name="connsiteY22" fmla="*/ 1096308 h 4135471"/>
                <a:gd name="connsiteX23" fmla="*/ 334686 w 2854049"/>
                <a:gd name="connsiteY23" fmla="*/ 1145413 h 4135471"/>
                <a:gd name="connsiteX24" fmla="*/ 334686 w 2854049"/>
                <a:gd name="connsiteY24" fmla="*/ 1191509 h 4135471"/>
                <a:gd name="connsiteX25" fmla="*/ 329836 w 2854049"/>
                <a:gd name="connsiteY25" fmla="*/ 1234599 h 4135471"/>
                <a:gd name="connsiteX26" fmla="*/ 315284 w 2854049"/>
                <a:gd name="connsiteY26" fmla="*/ 1278693 h 4135471"/>
                <a:gd name="connsiteX27" fmla="*/ 289092 w 2854049"/>
                <a:gd name="connsiteY27" fmla="*/ 1331805 h 4135471"/>
                <a:gd name="connsiteX28" fmla="*/ 257078 w 2854049"/>
                <a:gd name="connsiteY28" fmla="*/ 1380908 h 4135471"/>
                <a:gd name="connsiteX29" fmla="*/ 222155 w 2854049"/>
                <a:gd name="connsiteY29" fmla="*/ 1423998 h 4135471"/>
                <a:gd name="connsiteX30" fmla="*/ 185291 w 2854049"/>
                <a:gd name="connsiteY30" fmla="*/ 1468092 h 4135471"/>
                <a:gd name="connsiteX31" fmla="*/ 146487 w 2854049"/>
                <a:gd name="connsiteY31" fmla="*/ 1508176 h 4135471"/>
                <a:gd name="connsiteX32" fmla="*/ 107683 w 2854049"/>
                <a:gd name="connsiteY32" fmla="*/ 1548261 h 4135471"/>
                <a:gd name="connsiteX33" fmla="*/ 70819 w 2854049"/>
                <a:gd name="connsiteY33" fmla="*/ 1592354 h 4135471"/>
                <a:gd name="connsiteX34" fmla="*/ 58206 w 2854049"/>
                <a:gd name="connsiteY34" fmla="*/ 1604378 h 4135471"/>
                <a:gd name="connsiteX35" fmla="*/ 42684 w 2854049"/>
                <a:gd name="connsiteY35" fmla="*/ 1619410 h 4135471"/>
                <a:gd name="connsiteX36" fmla="*/ 26193 w 2854049"/>
                <a:gd name="connsiteY36" fmla="*/ 1637448 h 4135471"/>
                <a:gd name="connsiteX37" fmla="*/ 12611 w 2854049"/>
                <a:gd name="connsiteY37" fmla="*/ 1655486 h 4135471"/>
                <a:gd name="connsiteX38" fmla="*/ 3882 w 2854049"/>
                <a:gd name="connsiteY38" fmla="*/ 1677533 h 4135471"/>
                <a:gd name="connsiteX39" fmla="*/ 0 w 2854049"/>
                <a:gd name="connsiteY39" fmla="*/ 1701583 h 4135471"/>
                <a:gd name="connsiteX40" fmla="*/ 4851 w 2854049"/>
                <a:gd name="connsiteY40" fmla="*/ 1726636 h 4135471"/>
                <a:gd name="connsiteX41" fmla="*/ 17462 w 2854049"/>
                <a:gd name="connsiteY41" fmla="*/ 1750687 h 4135471"/>
                <a:gd name="connsiteX42" fmla="*/ 38806 w 2854049"/>
                <a:gd name="connsiteY42" fmla="*/ 1770728 h 4135471"/>
                <a:gd name="connsiteX43" fmla="*/ 63057 w 2854049"/>
                <a:gd name="connsiteY43" fmla="*/ 1784759 h 4135471"/>
                <a:gd name="connsiteX44" fmla="*/ 93130 w 2854049"/>
                <a:gd name="connsiteY44" fmla="*/ 1797786 h 4135471"/>
                <a:gd name="connsiteX45" fmla="*/ 125143 w 2854049"/>
                <a:gd name="connsiteY45" fmla="*/ 1808809 h 4135471"/>
                <a:gd name="connsiteX46" fmla="*/ 157158 w 2854049"/>
                <a:gd name="connsiteY46" fmla="*/ 1819833 h 4135471"/>
                <a:gd name="connsiteX47" fmla="*/ 188201 w 2854049"/>
                <a:gd name="connsiteY47" fmla="*/ 1830855 h 4135471"/>
                <a:gd name="connsiteX48" fmla="*/ 218273 w 2854049"/>
                <a:gd name="connsiteY48" fmla="*/ 1843883 h 4135471"/>
                <a:gd name="connsiteX49" fmla="*/ 245437 w 2854049"/>
                <a:gd name="connsiteY49" fmla="*/ 1857912 h 4135471"/>
                <a:gd name="connsiteX50" fmla="*/ 264839 w 2854049"/>
                <a:gd name="connsiteY50" fmla="*/ 1875951 h 4135471"/>
                <a:gd name="connsiteX51" fmla="*/ 259018 w 2854049"/>
                <a:gd name="connsiteY51" fmla="*/ 1900001 h 4135471"/>
                <a:gd name="connsiteX52" fmla="*/ 248347 w 2854049"/>
                <a:gd name="connsiteY52" fmla="*/ 1922047 h 4135471"/>
                <a:gd name="connsiteX53" fmla="*/ 237676 w 2854049"/>
                <a:gd name="connsiteY53" fmla="*/ 1945097 h 4135471"/>
                <a:gd name="connsiteX54" fmla="*/ 226035 w 2854049"/>
                <a:gd name="connsiteY54" fmla="*/ 1967142 h 4135471"/>
                <a:gd name="connsiteX55" fmla="*/ 215364 w 2854049"/>
                <a:gd name="connsiteY55" fmla="*/ 1989189 h 4135471"/>
                <a:gd name="connsiteX56" fmla="*/ 207602 w 2854049"/>
                <a:gd name="connsiteY56" fmla="*/ 2011236 h 4135471"/>
                <a:gd name="connsiteX57" fmla="*/ 204693 w 2854049"/>
                <a:gd name="connsiteY57" fmla="*/ 2031277 h 4135471"/>
                <a:gd name="connsiteX58" fmla="*/ 206633 w 2854049"/>
                <a:gd name="connsiteY58" fmla="*/ 2053324 h 4135471"/>
                <a:gd name="connsiteX59" fmla="*/ 217304 w 2854049"/>
                <a:gd name="connsiteY59" fmla="*/ 2073366 h 4135471"/>
                <a:gd name="connsiteX60" fmla="*/ 236706 w 2854049"/>
                <a:gd name="connsiteY60" fmla="*/ 2093409 h 4135471"/>
                <a:gd name="connsiteX61" fmla="*/ 264839 w 2854049"/>
                <a:gd name="connsiteY61" fmla="*/ 2113450 h 4135471"/>
                <a:gd name="connsiteX62" fmla="*/ 259018 w 2854049"/>
                <a:gd name="connsiteY62" fmla="*/ 2129483 h 4135471"/>
                <a:gd name="connsiteX63" fmla="*/ 250288 w 2854049"/>
                <a:gd name="connsiteY63" fmla="*/ 2145517 h 4135471"/>
                <a:gd name="connsiteX64" fmla="*/ 243497 w 2854049"/>
                <a:gd name="connsiteY64" fmla="*/ 2164557 h 4135471"/>
                <a:gd name="connsiteX65" fmla="*/ 241557 w 2854049"/>
                <a:gd name="connsiteY65" fmla="*/ 2184601 h 4135471"/>
                <a:gd name="connsiteX66" fmla="*/ 245437 w 2854049"/>
                <a:gd name="connsiteY66" fmla="*/ 2204642 h 4135471"/>
                <a:gd name="connsiteX67" fmla="*/ 256109 w 2854049"/>
                <a:gd name="connsiteY67" fmla="*/ 2222680 h 4135471"/>
                <a:gd name="connsiteX68" fmla="*/ 269690 w 2854049"/>
                <a:gd name="connsiteY68" fmla="*/ 2236709 h 4135471"/>
                <a:gd name="connsiteX69" fmla="*/ 287151 w 2854049"/>
                <a:gd name="connsiteY69" fmla="*/ 2249737 h 4135471"/>
                <a:gd name="connsiteX70" fmla="*/ 304613 w 2854049"/>
                <a:gd name="connsiteY70" fmla="*/ 2258756 h 4135471"/>
                <a:gd name="connsiteX71" fmla="*/ 321105 w 2854049"/>
                <a:gd name="connsiteY71" fmla="*/ 2269780 h 4135471"/>
                <a:gd name="connsiteX72" fmla="*/ 336627 w 2854049"/>
                <a:gd name="connsiteY72" fmla="*/ 2284810 h 4135471"/>
                <a:gd name="connsiteX73" fmla="*/ 345358 w 2854049"/>
                <a:gd name="connsiteY73" fmla="*/ 2300845 h 4135471"/>
                <a:gd name="connsiteX74" fmla="*/ 354089 w 2854049"/>
                <a:gd name="connsiteY74" fmla="*/ 2329906 h 4135471"/>
                <a:gd name="connsiteX75" fmla="*/ 354089 w 2854049"/>
                <a:gd name="connsiteY75" fmla="*/ 2362976 h 4135471"/>
                <a:gd name="connsiteX76" fmla="*/ 351179 w 2854049"/>
                <a:gd name="connsiteY76" fmla="*/ 2394041 h 4135471"/>
                <a:gd name="connsiteX77" fmla="*/ 343417 w 2854049"/>
                <a:gd name="connsiteY77" fmla="*/ 2426108 h 4135471"/>
                <a:gd name="connsiteX78" fmla="*/ 336627 w 2854049"/>
                <a:gd name="connsiteY78" fmla="*/ 2457173 h 4135471"/>
                <a:gd name="connsiteX79" fmla="*/ 331776 w 2854049"/>
                <a:gd name="connsiteY79" fmla="*/ 2485233 h 4135471"/>
                <a:gd name="connsiteX80" fmla="*/ 327896 w 2854049"/>
                <a:gd name="connsiteY80" fmla="*/ 2525318 h 4135471"/>
                <a:gd name="connsiteX81" fmla="*/ 331776 w 2854049"/>
                <a:gd name="connsiteY81" fmla="*/ 2561393 h 4135471"/>
                <a:gd name="connsiteX82" fmla="*/ 342447 w 2854049"/>
                <a:gd name="connsiteY82" fmla="*/ 2594464 h 4135471"/>
                <a:gd name="connsiteX83" fmla="*/ 356029 w 2854049"/>
                <a:gd name="connsiteY83" fmla="*/ 2623524 h 4135471"/>
                <a:gd name="connsiteX84" fmla="*/ 375432 w 2854049"/>
                <a:gd name="connsiteY84" fmla="*/ 2646572 h 4135471"/>
                <a:gd name="connsiteX85" fmla="*/ 400654 w 2854049"/>
                <a:gd name="connsiteY85" fmla="*/ 2668619 h 4135471"/>
                <a:gd name="connsiteX86" fmla="*/ 424906 w 2854049"/>
                <a:gd name="connsiteY86" fmla="*/ 2686657 h 4135471"/>
                <a:gd name="connsiteX87" fmla="*/ 453040 w 2854049"/>
                <a:gd name="connsiteY87" fmla="*/ 2701688 h 4135471"/>
                <a:gd name="connsiteX88" fmla="*/ 481173 w 2854049"/>
                <a:gd name="connsiteY88" fmla="*/ 2714717 h 4135471"/>
                <a:gd name="connsiteX89" fmla="*/ 509306 w 2854049"/>
                <a:gd name="connsiteY89" fmla="*/ 2721731 h 4135471"/>
                <a:gd name="connsiteX90" fmla="*/ 560721 w 2854049"/>
                <a:gd name="connsiteY90" fmla="*/ 2730751 h 4135471"/>
                <a:gd name="connsiteX91" fmla="*/ 615047 w 2854049"/>
                <a:gd name="connsiteY91" fmla="*/ 2734758 h 4135471"/>
                <a:gd name="connsiteX92" fmla="*/ 672284 w 2854049"/>
                <a:gd name="connsiteY92" fmla="*/ 2732755 h 4135471"/>
                <a:gd name="connsiteX93" fmla="*/ 728550 w 2854049"/>
                <a:gd name="connsiteY93" fmla="*/ 2726742 h 4135471"/>
                <a:gd name="connsiteX94" fmla="*/ 784816 w 2854049"/>
                <a:gd name="connsiteY94" fmla="*/ 2719726 h 4135471"/>
                <a:gd name="connsiteX95" fmla="*/ 838171 w 2854049"/>
                <a:gd name="connsiteY95" fmla="*/ 2708704 h 4135471"/>
                <a:gd name="connsiteX96" fmla="*/ 885706 w 2854049"/>
                <a:gd name="connsiteY96" fmla="*/ 2695677 h 4135471"/>
                <a:gd name="connsiteX97" fmla="*/ 927421 w 2854049"/>
                <a:gd name="connsiteY97" fmla="*/ 2681646 h 4135471"/>
                <a:gd name="connsiteX98" fmla="*/ 944882 w 2854049"/>
                <a:gd name="connsiteY98" fmla="*/ 2675633 h 4135471"/>
                <a:gd name="connsiteX99" fmla="*/ 968165 w 2854049"/>
                <a:gd name="connsiteY99" fmla="*/ 2668619 h 4135471"/>
                <a:gd name="connsiteX100" fmla="*/ 993388 w 2854049"/>
                <a:gd name="connsiteY100" fmla="*/ 2661605 h 4135471"/>
                <a:gd name="connsiteX101" fmla="*/ 1019581 w 2854049"/>
                <a:gd name="connsiteY101" fmla="*/ 2654590 h 4135471"/>
                <a:gd name="connsiteX102" fmla="*/ 1047714 w 2854049"/>
                <a:gd name="connsiteY102" fmla="*/ 2650582 h 4135471"/>
                <a:gd name="connsiteX103" fmla="*/ 1075847 w 2854049"/>
                <a:gd name="connsiteY103" fmla="*/ 2648577 h 4135471"/>
                <a:gd name="connsiteX104" fmla="*/ 1100100 w 2854049"/>
                <a:gd name="connsiteY104" fmla="*/ 2652585 h 4135471"/>
                <a:gd name="connsiteX105" fmla="*/ 1121442 w 2854049"/>
                <a:gd name="connsiteY105" fmla="*/ 2661605 h 4135471"/>
                <a:gd name="connsiteX106" fmla="*/ 1140844 w 2854049"/>
                <a:gd name="connsiteY106" fmla="*/ 2679643 h 4135471"/>
                <a:gd name="connsiteX107" fmla="*/ 1158306 w 2854049"/>
                <a:gd name="connsiteY107" fmla="*/ 2708704 h 4135471"/>
                <a:gd name="connsiteX108" fmla="*/ 1174797 w 2854049"/>
                <a:gd name="connsiteY108" fmla="*/ 2745782 h 4135471"/>
                <a:gd name="connsiteX109" fmla="*/ 1190319 w 2854049"/>
                <a:gd name="connsiteY109" fmla="*/ 2788872 h 4135471"/>
                <a:gd name="connsiteX110" fmla="*/ 1202931 w 2854049"/>
                <a:gd name="connsiteY110" fmla="*/ 2837975 h 4135471"/>
                <a:gd name="connsiteX111" fmla="*/ 1215541 w 2854049"/>
                <a:gd name="connsiteY111" fmla="*/ 2889083 h 4135471"/>
                <a:gd name="connsiteX112" fmla="*/ 1226212 w 2854049"/>
                <a:gd name="connsiteY112" fmla="*/ 2942195 h 4135471"/>
                <a:gd name="connsiteX113" fmla="*/ 1235914 w 2854049"/>
                <a:gd name="connsiteY113" fmla="*/ 2996309 h 4135471"/>
                <a:gd name="connsiteX114" fmla="*/ 1245616 w 2854049"/>
                <a:gd name="connsiteY114" fmla="*/ 3049421 h 4135471"/>
                <a:gd name="connsiteX115" fmla="*/ 1252407 w 2854049"/>
                <a:gd name="connsiteY115" fmla="*/ 3098524 h 4135471"/>
                <a:gd name="connsiteX116" fmla="*/ 1261138 w 2854049"/>
                <a:gd name="connsiteY116" fmla="*/ 3144621 h 4135471"/>
                <a:gd name="connsiteX117" fmla="*/ 1267927 w 2854049"/>
                <a:gd name="connsiteY117" fmla="*/ 3182701 h 4135471"/>
                <a:gd name="connsiteX118" fmla="*/ 1273749 w 2854049"/>
                <a:gd name="connsiteY118" fmla="*/ 3215771 h 4135471"/>
                <a:gd name="connsiteX119" fmla="*/ 1405683 w 2854049"/>
                <a:gd name="connsiteY119" fmla="*/ 3238820 h 4135471"/>
                <a:gd name="connsiteX120" fmla="*/ 1539558 w 2854049"/>
                <a:gd name="connsiteY120" fmla="*/ 3251847 h 4135471"/>
                <a:gd name="connsiteX121" fmla="*/ 1677312 w 2854049"/>
                <a:gd name="connsiteY121" fmla="*/ 3253851 h 4135471"/>
                <a:gd name="connsiteX122" fmla="*/ 1817977 w 2854049"/>
                <a:gd name="connsiteY122" fmla="*/ 3246837 h 4135471"/>
                <a:gd name="connsiteX123" fmla="*/ 1963493 w 2854049"/>
                <a:gd name="connsiteY123" fmla="*/ 3226793 h 4135471"/>
                <a:gd name="connsiteX124" fmla="*/ 1998071 w 2854049"/>
                <a:gd name="connsiteY124" fmla="*/ 3220300 h 4135471"/>
                <a:gd name="connsiteX125" fmla="*/ 1972544 w 2854049"/>
                <a:gd name="connsiteY125" fmla="*/ 2990832 h 4135471"/>
                <a:gd name="connsiteX126" fmla="*/ 1866104 w 2854049"/>
                <a:gd name="connsiteY126" fmla="*/ 2529483 h 4135471"/>
                <a:gd name="connsiteX127" fmla="*/ 1085631 w 2854049"/>
                <a:gd name="connsiteY127" fmla="*/ 1773024 h 4135471"/>
                <a:gd name="connsiteX128" fmla="*/ 1277747 w 2854049"/>
                <a:gd name="connsiteY128" fmla="*/ 968535 h 4135471"/>
                <a:gd name="connsiteX129" fmla="*/ 1914134 w 2854049"/>
                <a:gd name="connsiteY129" fmla="*/ 872477 h 4135471"/>
                <a:gd name="connsiteX130" fmla="*/ 2334389 w 2854049"/>
                <a:gd name="connsiteY130" fmla="*/ 1316747 h 4135471"/>
                <a:gd name="connsiteX131" fmla="*/ 2850702 w 2854049"/>
                <a:gd name="connsiteY131" fmla="*/ 1256710 h 4135471"/>
                <a:gd name="connsiteX132" fmla="*/ 2851858 w 2854049"/>
                <a:gd name="connsiteY132" fmla="*/ 1288484 h 4135471"/>
                <a:gd name="connsiteX133" fmla="*/ 2854049 w 2854049"/>
                <a:gd name="connsiteY133" fmla="*/ 1252639 h 4135471"/>
                <a:gd name="connsiteX134" fmla="*/ 2852109 w 2854049"/>
                <a:gd name="connsiteY134" fmla="*/ 1156435 h 4135471"/>
                <a:gd name="connsiteX135" fmla="*/ 2845318 w 2854049"/>
                <a:gd name="connsiteY135" fmla="*/ 1062236 h 4135471"/>
                <a:gd name="connsiteX136" fmla="*/ 2830767 w 2854049"/>
                <a:gd name="connsiteY136" fmla="*/ 971045 h 4135471"/>
                <a:gd name="connsiteX137" fmla="*/ 2811365 w 2854049"/>
                <a:gd name="connsiteY137" fmla="*/ 881857 h 4135471"/>
                <a:gd name="connsiteX138" fmla="*/ 2787112 w 2854049"/>
                <a:gd name="connsiteY138" fmla="*/ 799684 h 4135471"/>
                <a:gd name="connsiteX139" fmla="*/ 2759950 w 2854049"/>
                <a:gd name="connsiteY139" fmla="*/ 724526 h 4135471"/>
                <a:gd name="connsiteX140" fmla="*/ 2728906 w 2854049"/>
                <a:gd name="connsiteY140" fmla="*/ 657385 h 4135471"/>
                <a:gd name="connsiteX141" fmla="*/ 2682340 w 2854049"/>
                <a:gd name="connsiteY141" fmla="*/ 577215 h 4135471"/>
                <a:gd name="connsiteX142" fmla="*/ 2631895 w 2854049"/>
                <a:gd name="connsiteY142" fmla="*/ 501055 h 4135471"/>
                <a:gd name="connsiteX143" fmla="*/ 2574659 w 2854049"/>
                <a:gd name="connsiteY143" fmla="*/ 429907 h 4135471"/>
                <a:gd name="connsiteX144" fmla="*/ 2513543 w 2854049"/>
                <a:gd name="connsiteY144" fmla="*/ 361762 h 4135471"/>
                <a:gd name="connsiteX145" fmla="*/ 2446606 w 2854049"/>
                <a:gd name="connsiteY145" fmla="*/ 300634 h 4135471"/>
                <a:gd name="connsiteX146" fmla="*/ 2371907 w 2854049"/>
                <a:gd name="connsiteY146" fmla="*/ 243513 h 4135471"/>
                <a:gd name="connsiteX147" fmla="*/ 2294299 w 2854049"/>
                <a:gd name="connsiteY147" fmla="*/ 192406 h 4135471"/>
                <a:gd name="connsiteX148" fmla="*/ 2211840 w 2854049"/>
                <a:gd name="connsiteY148" fmla="*/ 147311 h 4135471"/>
                <a:gd name="connsiteX149" fmla="*/ 2121620 w 2854049"/>
                <a:gd name="connsiteY149" fmla="*/ 109230 h 4135471"/>
                <a:gd name="connsiteX150" fmla="*/ 2028490 w 2854049"/>
                <a:gd name="connsiteY150" fmla="*/ 74157 h 4135471"/>
                <a:gd name="connsiteX151" fmla="*/ 1927599 w 2854049"/>
                <a:gd name="connsiteY151" fmla="*/ 47099 h 4135471"/>
                <a:gd name="connsiteX152" fmla="*/ 1821858 w 2854049"/>
                <a:gd name="connsiteY152" fmla="*/ 25053 h 4135471"/>
                <a:gd name="connsiteX153" fmla="*/ 1711265 w 2854049"/>
                <a:gd name="connsiteY153" fmla="*/ 10021 h 4135471"/>
                <a:gd name="connsiteX154" fmla="*/ 1594853 w 2854049"/>
                <a:gd name="connsiteY154" fmla="*/ 1002 h 413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854049" h="4135471">
                  <a:moveTo>
                    <a:pt x="1696267" y="3431657"/>
                  </a:moveTo>
                  <a:cubicBezTo>
                    <a:pt x="1501914" y="3431657"/>
                    <a:pt x="1344360" y="3589211"/>
                    <a:pt x="1344360" y="3783564"/>
                  </a:cubicBezTo>
                  <a:cubicBezTo>
                    <a:pt x="1344360" y="3977917"/>
                    <a:pt x="1501914" y="4135471"/>
                    <a:pt x="1696267" y="4135471"/>
                  </a:cubicBezTo>
                  <a:cubicBezTo>
                    <a:pt x="1890620" y="4135471"/>
                    <a:pt x="2048174" y="3977917"/>
                    <a:pt x="2048174" y="3783564"/>
                  </a:cubicBezTo>
                  <a:cubicBezTo>
                    <a:pt x="2048174" y="3589211"/>
                    <a:pt x="1890620" y="3431657"/>
                    <a:pt x="1696267" y="3431657"/>
                  </a:cubicBezTo>
                  <a:close/>
                  <a:moveTo>
                    <a:pt x="1470680" y="0"/>
                  </a:moveTo>
                  <a:lnTo>
                    <a:pt x="1360088" y="9020"/>
                  </a:lnTo>
                  <a:lnTo>
                    <a:pt x="1082638" y="72152"/>
                  </a:lnTo>
                  <a:lnTo>
                    <a:pt x="1000179" y="103217"/>
                  </a:lnTo>
                  <a:lnTo>
                    <a:pt x="918691" y="138291"/>
                  </a:lnTo>
                  <a:lnTo>
                    <a:pt x="839141" y="180379"/>
                  </a:lnTo>
                  <a:lnTo>
                    <a:pt x="765414" y="227479"/>
                  </a:lnTo>
                  <a:lnTo>
                    <a:pt x="694595" y="280591"/>
                  </a:lnTo>
                  <a:lnTo>
                    <a:pt x="629599" y="338714"/>
                  </a:lnTo>
                  <a:lnTo>
                    <a:pt x="569452" y="401847"/>
                  </a:lnTo>
                  <a:lnTo>
                    <a:pt x="515126" y="470992"/>
                  </a:lnTo>
                  <a:lnTo>
                    <a:pt x="467591" y="544147"/>
                  </a:lnTo>
                  <a:lnTo>
                    <a:pt x="426847" y="622311"/>
                  </a:lnTo>
                  <a:lnTo>
                    <a:pt x="392893" y="706488"/>
                  </a:lnTo>
                  <a:lnTo>
                    <a:pt x="338568" y="937976"/>
                  </a:lnTo>
                  <a:lnTo>
                    <a:pt x="333717" y="994094"/>
                  </a:lnTo>
                  <a:lnTo>
                    <a:pt x="331776" y="1047206"/>
                  </a:lnTo>
                  <a:lnTo>
                    <a:pt x="333717" y="1096308"/>
                  </a:lnTo>
                  <a:lnTo>
                    <a:pt x="334686" y="1145413"/>
                  </a:lnTo>
                  <a:lnTo>
                    <a:pt x="334686" y="1191509"/>
                  </a:lnTo>
                  <a:lnTo>
                    <a:pt x="329836" y="1234599"/>
                  </a:lnTo>
                  <a:lnTo>
                    <a:pt x="315284" y="1278693"/>
                  </a:lnTo>
                  <a:lnTo>
                    <a:pt x="289092" y="1331805"/>
                  </a:lnTo>
                  <a:lnTo>
                    <a:pt x="257078" y="1380908"/>
                  </a:lnTo>
                  <a:lnTo>
                    <a:pt x="222155" y="1423998"/>
                  </a:lnTo>
                  <a:lnTo>
                    <a:pt x="185291" y="1468092"/>
                  </a:lnTo>
                  <a:lnTo>
                    <a:pt x="146487" y="1508176"/>
                  </a:lnTo>
                  <a:lnTo>
                    <a:pt x="107683" y="1548261"/>
                  </a:lnTo>
                  <a:lnTo>
                    <a:pt x="70819" y="1592354"/>
                  </a:lnTo>
                  <a:lnTo>
                    <a:pt x="58206" y="1604378"/>
                  </a:lnTo>
                  <a:lnTo>
                    <a:pt x="42684" y="1619410"/>
                  </a:lnTo>
                  <a:lnTo>
                    <a:pt x="26193" y="1637448"/>
                  </a:lnTo>
                  <a:lnTo>
                    <a:pt x="12611" y="1655486"/>
                  </a:lnTo>
                  <a:lnTo>
                    <a:pt x="3882" y="1677533"/>
                  </a:lnTo>
                  <a:lnTo>
                    <a:pt x="0" y="1701583"/>
                  </a:lnTo>
                  <a:lnTo>
                    <a:pt x="4851" y="1726636"/>
                  </a:lnTo>
                  <a:lnTo>
                    <a:pt x="17462" y="1750687"/>
                  </a:lnTo>
                  <a:lnTo>
                    <a:pt x="38806" y="1770728"/>
                  </a:lnTo>
                  <a:lnTo>
                    <a:pt x="63057" y="1784759"/>
                  </a:lnTo>
                  <a:lnTo>
                    <a:pt x="93130" y="1797786"/>
                  </a:lnTo>
                  <a:lnTo>
                    <a:pt x="125143" y="1808809"/>
                  </a:lnTo>
                  <a:lnTo>
                    <a:pt x="157158" y="1819833"/>
                  </a:lnTo>
                  <a:lnTo>
                    <a:pt x="188201" y="1830855"/>
                  </a:lnTo>
                  <a:lnTo>
                    <a:pt x="218273" y="1843883"/>
                  </a:lnTo>
                  <a:lnTo>
                    <a:pt x="245437" y="1857912"/>
                  </a:lnTo>
                  <a:lnTo>
                    <a:pt x="264839" y="1875951"/>
                  </a:lnTo>
                  <a:lnTo>
                    <a:pt x="259018" y="1900001"/>
                  </a:lnTo>
                  <a:lnTo>
                    <a:pt x="248347" y="1922047"/>
                  </a:lnTo>
                  <a:lnTo>
                    <a:pt x="237676" y="1945097"/>
                  </a:lnTo>
                  <a:lnTo>
                    <a:pt x="226035" y="1967142"/>
                  </a:lnTo>
                  <a:lnTo>
                    <a:pt x="215364" y="1989189"/>
                  </a:lnTo>
                  <a:lnTo>
                    <a:pt x="207602" y="2011236"/>
                  </a:lnTo>
                  <a:lnTo>
                    <a:pt x="204693" y="2031277"/>
                  </a:lnTo>
                  <a:lnTo>
                    <a:pt x="206633" y="2053324"/>
                  </a:lnTo>
                  <a:lnTo>
                    <a:pt x="217304" y="2073366"/>
                  </a:lnTo>
                  <a:lnTo>
                    <a:pt x="236706" y="2093409"/>
                  </a:lnTo>
                  <a:lnTo>
                    <a:pt x="264839" y="2113450"/>
                  </a:lnTo>
                  <a:lnTo>
                    <a:pt x="259018" y="2129483"/>
                  </a:lnTo>
                  <a:lnTo>
                    <a:pt x="250288" y="2145517"/>
                  </a:lnTo>
                  <a:lnTo>
                    <a:pt x="243497" y="2164557"/>
                  </a:lnTo>
                  <a:lnTo>
                    <a:pt x="241557" y="2184601"/>
                  </a:lnTo>
                  <a:lnTo>
                    <a:pt x="245437" y="2204642"/>
                  </a:lnTo>
                  <a:lnTo>
                    <a:pt x="256109" y="2222680"/>
                  </a:lnTo>
                  <a:lnTo>
                    <a:pt x="269690" y="2236709"/>
                  </a:lnTo>
                  <a:lnTo>
                    <a:pt x="287151" y="2249737"/>
                  </a:lnTo>
                  <a:lnTo>
                    <a:pt x="304613" y="2258756"/>
                  </a:lnTo>
                  <a:lnTo>
                    <a:pt x="321105" y="2269780"/>
                  </a:lnTo>
                  <a:lnTo>
                    <a:pt x="336627" y="2284810"/>
                  </a:lnTo>
                  <a:lnTo>
                    <a:pt x="345358" y="2300845"/>
                  </a:lnTo>
                  <a:lnTo>
                    <a:pt x="354089" y="2329906"/>
                  </a:lnTo>
                  <a:lnTo>
                    <a:pt x="354089" y="2362976"/>
                  </a:lnTo>
                  <a:lnTo>
                    <a:pt x="351179" y="2394041"/>
                  </a:lnTo>
                  <a:lnTo>
                    <a:pt x="343417" y="2426108"/>
                  </a:lnTo>
                  <a:lnTo>
                    <a:pt x="336627" y="2457173"/>
                  </a:lnTo>
                  <a:lnTo>
                    <a:pt x="331776" y="2485233"/>
                  </a:lnTo>
                  <a:lnTo>
                    <a:pt x="327896" y="2525318"/>
                  </a:lnTo>
                  <a:lnTo>
                    <a:pt x="331776" y="2561393"/>
                  </a:lnTo>
                  <a:lnTo>
                    <a:pt x="342447" y="2594464"/>
                  </a:lnTo>
                  <a:lnTo>
                    <a:pt x="356029" y="2623524"/>
                  </a:lnTo>
                  <a:lnTo>
                    <a:pt x="375432" y="2646572"/>
                  </a:lnTo>
                  <a:lnTo>
                    <a:pt x="400654" y="2668619"/>
                  </a:lnTo>
                  <a:lnTo>
                    <a:pt x="424906" y="2686657"/>
                  </a:lnTo>
                  <a:lnTo>
                    <a:pt x="453040" y="2701688"/>
                  </a:lnTo>
                  <a:lnTo>
                    <a:pt x="481173" y="2714717"/>
                  </a:lnTo>
                  <a:lnTo>
                    <a:pt x="509306" y="2721731"/>
                  </a:lnTo>
                  <a:lnTo>
                    <a:pt x="560721" y="2730751"/>
                  </a:lnTo>
                  <a:lnTo>
                    <a:pt x="615047" y="2734758"/>
                  </a:lnTo>
                  <a:lnTo>
                    <a:pt x="672284" y="2732755"/>
                  </a:lnTo>
                  <a:lnTo>
                    <a:pt x="728550" y="2726742"/>
                  </a:lnTo>
                  <a:lnTo>
                    <a:pt x="784816" y="2719726"/>
                  </a:lnTo>
                  <a:lnTo>
                    <a:pt x="838171" y="2708704"/>
                  </a:lnTo>
                  <a:lnTo>
                    <a:pt x="885706" y="2695677"/>
                  </a:lnTo>
                  <a:lnTo>
                    <a:pt x="927421" y="2681646"/>
                  </a:lnTo>
                  <a:lnTo>
                    <a:pt x="944882" y="2675633"/>
                  </a:lnTo>
                  <a:lnTo>
                    <a:pt x="968165" y="2668619"/>
                  </a:lnTo>
                  <a:lnTo>
                    <a:pt x="993388" y="2661605"/>
                  </a:lnTo>
                  <a:lnTo>
                    <a:pt x="1019581" y="2654590"/>
                  </a:lnTo>
                  <a:lnTo>
                    <a:pt x="1047714" y="2650582"/>
                  </a:lnTo>
                  <a:lnTo>
                    <a:pt x="1075847" y="2648577"/>
                  </a:lnTo>
                  <a:lnTo>
                    <a:pt x="1100100" y="2652585"/>
                  </a:lnTo>
                  <a:lnTo>
                    <a:pt x="1121442" y="2661605"/>
                  </a:lnTo>
                  <a:lnTo>
                    <a:pt x="1140844" y="2679643"/>
                  </a:lnTo>
                  <a:lnTo>
                    <a:pt x="1158306" y="2708704"/>
                  </a:lnTo>
                  <a:lnTo>
                    <a:pt x="1174797" y="2745782"/>
                  </a:lnTo>
                  <a:lnTo>
                    <a:pt x="1190319" y="2788872"/>
                  </a:lnTo>
                  <a:lnTo>
                    <a:pt x="1202931" y="2837975"/>
                  </a:lnTo>
                  <a:lnTo>
                    <a:pt x="1215541" y="2889083"/>
                  </a:lnTo>
                  <a:lnTo>
                    <a:pt x="1226212" y="2942195"/>
                  </a:lnTo>
                  <a:lnTo>
                    <a:pt x="1235914" y="2996309"/>
                  </a:lnTo>
                  <a:lnTo>
                    <a:pt x="1245616" y="3049421"/>
                  </a:lnTo>
                  <a:lnTo>
                    <a:pt x="1252407" y="3098524"/>
                  </a:lnTo>
                  <a:lnTo>
                    <a:pt x="1261138" y="3144621"/>
                  </a:lnTo>
                  <a:lnTo>
                    <a:pt x="1267927" y="3182701"/>
                  </a:lnTo>
                  <a:lnTo>
                    <a:pt x="1273749" y="3215771"/>
                  </a:lnTo>
                  <a:lnTo>
                    <a:pt x="1405683" y="3238820"/>
                  </a:lnTo>
                  <a:lnTo>
                    <a:pt x="1539558" y="3251847"/>
                  </a:lnTo>
                  <a:lnTo>
                    <a:pt x="1677312" y="3253851"/>
                  </a:lnTo>
                  <a:lnTo>
                    <a:pt x="1817977" y="3246837"/>
                  </a:lnTo>
                  <a:lnTo>
                    <a:pt x="1963493" y="3226793"/>
                  </a:lnTo>
                  <a:lnTo>
                    <a:pt x="1998071" y="3220300"/>
                  </a:lnTo>
                  <a:lnTo>
                    <a:pt x="1972544" y="2990832"/>
                  </a:lnTo>
                  <a:cubicBezTo>
                    <a:pt x="1951990" y="2824419"/>
                    <a:pt x="1923973" y="2664322"/>
                    <a:pt x="1866104" y="2529483"/>
                  </a:cubicBezTo>
                  <a:cubicBezTo>
                    <a:pt x="1798827" y="2378364"/>
                    <a:pt x="1318234" y="2057324"/>
                    <a:pt x="1085631" y="1773024"/>
                  </a:cubicBezTo>
                  <a:cubicBezTo>
                    <a:pt x="1039452" y="1683967"/>
                    <a:pt x="924385" y="1218329"/>
                    <a:pt x="1277747" y="968535"/>
                  </a:cubicBezTo>
                  <a:cubicBezTo>
                    <a:pt x="1430175" y="835482"/>
                    <a:pt x="1702005" y="831017"/>
                    <a:pt x="1914134" y="872477"/>
                  </a:cubicBezTo>
                  <a:cubicBezTo>
                    <a:pt x="2031257" y="905756"/>
                    <a:pt x="2240228" y="1053847"/>
                    <a:pt x="2334389" y="1316747"/>
                  </a:cubicBezTo>
                  <a:lnTo>
                    <a:pt x="2850702" y="1256710"/>
                  </a:lnTo>
                  <a:lnTo>
                    <a:pt x="2851858" y="1288484"/>
                  </a:lnTo>
                  <a:lnTo>
                    <a:pt x="2854049" y="1252639"/>
                  </a:lnTo>
                  <a:lnTo>
                    <a:pt x="2852109" y="1156435"/>
                  </a:lnTo>
                  <a:lnTo>
                    <a:pt x="2845318" y="1062236"/>
                  </a:lnTo>
                  <a:lnTo>
                    <a:pt x="2830767" y="971045"/>
                  </a:lnTo>
                  <a:lnTo>
                    <a:pt x="2811365" y="881857"/>
                  </a:lnTo>
                  <a:lnTo>
                    <a:pt x="2787112" y="799684"/>
                  </a:lnTo>
                  <a:lnTo>
                    <a:pt x="2759950" y="724526"/>
                  </a:lnTo>
                  <a:lnTo>
                    <a:pt x="2728906" y="657385"/>
                  </a:lnTo>
                  <a:lnTo>
                    <a:pt x="2682340" y="577215"/>
                  </a:lnTo>
                  <a:lnTo>
                    <a:pt x="2631895" y="501055"/>
                  </a:lnTo>
                  <a:lnTo>
                    <a:pt x="2574659" y="429907"/>
                  </a:lnTo>
                  <a:lnTo>
                    <a:pt x="2513543" y="361762"/>
                  </a:lnTo>
                  <a:lnTo>
                    <a:pt x="2446606" y="300634"/>
                  </a:lnTo>
                  <a:lnTo>
                    <a:pt x="2371907" y="243513"/>
                  </a:lnTo>
                  <a:lnTo>
                    <a:pt x="2294299" y="192406"/>
                  </a:lnTo>
                  <a:lnTo>
                    <a:pt x="2211840" y="147311"/>
                  </a:lnTo>
                  <a:lnTo>
                    <a:pt x="2121620" y="109230"/>
                  </a:lnTo>
                  <a:lnTo>
                    <a:pt x="2028490" y="74157"/>
                  </a:lnTo>
                  <a:lnTo>
                    <a:pt x="1927599" y="47099"/>
                  </a:lnTo>
                  <a:lnTo>
                    <a:pt x="1821858" y="25053"/>
                  </a:lnTo>
                  <a:lnTo>
                    <a:pt x="1711265" y="10021"/>
                  </a:lnTo>
                  <a:lnTo>
                    <a:pt x="1594853" y="1002"/>
                  </a:lnTo>
                  <a:close/>
                </a:path>
              </a:pathLst>
            </a:custGeom>
            <a:solidFill>
              <a:schemeClr val="tx1">
                <a:lumMod val="75000"/>
                <a:lumOff val="25000"/>
              </a:schemeClr>
            </a:solidFill>
            <a:ln>
              <a:solidFill>
                <a:srgbClr val="163F74"/>
              </a:solid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anchor="t" anchorCtr="0" compatLnSpc="1">
              <a:prstTxWarp prst="textNoShape">
                <a:avLst/>
              </a:prstTxWarp>
              <a:noAutofit/>
            </a:bodyPr>
            <a:lstStyle/>
            <a:p>
              <a:endParaRPr lang="ko-KR" altLang="en-US" sz="2026" dirty="0"/>
            </a:p>
          </p:txBody>
        </p:sp>
        <p:sp>
          <p:nvSpPr>
            <p:cNvPr id="16" name="Freeform: Shape 15">
              <a:extLst>
                <a:ext uri="{FF2B5EF4-FFF2-40B4-BE49-F238E27FC236}">
                  <a16:creationId xmlns:a16="http://schemas.microsoft.com/office/drawing/2014/main" id="{68C7E696-0B18-41D8-BADC-63197E0C7B5D}"/>
                </a:ext>
              </a:extLst>
            </p:cNvPr>
            <p:cNvSpPr/>
            <p:nvPr/>
          </p:nvSpPr>
          <p:spPr>
            <a:xfrm flipH="1">
              <a:off x="457200" y="590550"/>
              <a:ext cx="2979057" cy="1921717"/>
            </a:xfrm>
            <a:custGeom>
              <a:avLst/>
              <a:gdLst>
                <a:gd name="connsiteX0" fmla="*/ 1547519 w 3095038"/>
                <a:gd name="connsiteY0" fmla="*/ 0 h 2022026"/>
                <a:gd name="connsiteX1" fmla="*/ 3095038 w 3095038"/>
                <a:gd name="connsiteY1" fmla="*/ 627509 h 2022026"/>
                <a:gd name="connsiteX2" fmla="*/ 2825277 w 3095038"/>
                <a:gd name="connsiteY2" fmla="*/ 736897 h 2022026"/>
                <a:gd name="connsiteX3" fmla="*/ 2825277 w 3095038"/>
                <a:gd name="connsiteY3" fmla="*/ 1583608 h 2022026"/>
                <a:gd name="connsiteX4" fmla="*/ 2829142 w 3095038"/>
                <a:gd name="connsiteY4" fmla="*/ 1585209 h 2022026"/>
                <a:gd name="connsiteX5" fmla="*/ 2841509 w 3095038"/>
                <a:gd name="connsiteY5" fmla="*/ 1615067 h 2022026"/>
                <a:gd name="connsiteX6" fmla="*/ 2829142 w 3095038"/>
                <a:gd name="connsiteY6" fmla="*/ 1644926 h 2022026"/>
                <a:gd name="connsiteX7" fmla="*/ 2826092 w 3095038"/>
                <a:gd name="connsiteY7" fmla="*/ 1646189 h 2022026"/>
                <a:gd name="connsiteX8" fmla="*/ 2876626 w 3095038"/>
                <a:gd name="connsiteY8" fmla="*/ 2022026 h 2022026"/>
                <a:gd name="connsiteX9" fmla="*/ 2721940 w 3095038"/>
                <a:gd name="connsiteY9" fmla="*/ 2022026 h 2022026"/>
                <a:gd name="connsiteX10" fmla="*/ 2772475 w 3095038"/>
                <a:gd name="connsiteY10" fmla="*/ 1646189 h 2022026"/>
                <a:gd name="connsiteX11" fmla="*/ 2769425 w 3095038"/>
                <a:gd name="connsiteY11" fmla="*/ 1644926 h 2022026"/>
                <a:gd name="connsiteX12" fmla="*/ 2757057 w 3095038"/>
                <a:gd name="connsiteY12" fmla="*/ 1615067 h 2022026"/>
                <a:gd name="connsiteX13" fmla="*/ 2769425 w 3095038"/>
                <a:gd name="connsiteY13" fmla="*/ 1585209 h 2022026"/>
                <a:gd name="connsiteX14" fmla="*/ 2773289 w 3095038"/>
                <a:gd name="connsiteY14" fmla="*/ 1583608 h 2022026"/>
                <a:gd name="connsiteX15" fmla="*/ 2773289 w 3095038"/>
                <a:gd name="connsiteY15" fmla="*/ 757978 h 2022026"/>
                <a:gd name="connsiteX16" fmla="*/ 2747752 w 3095038"/>
                <a:gd name="connsiteY16" fmla="*/ 768333 h 2022026"/>
                <a:gd name="connsiteX17" fmla="*/ 2473970 w 3095038"/>
                <a:gd name="connsiteY17" fmla="*/ 981499 h 2022026"/>
                <a:gd name="connsiteX18" fmla="*/ 2473970 w 3095038"/>
                <a:gd name="connsiteY18" fmla="*/ 1333096 h 2022026"/>
                <a:gd name="connsiteX19" fmla="*/ 1442377 w 3095038"/>
                <a:gd name="connsiteY19" fmla="*/ 1553521 h 2022026"/>
                <a:gd name="connsiteX20" fmla="*/ 628675 w 3095038"/>
                <a:gd name="connsiteY20" fmla="*/ 1422110 h 2022026"/>
                <a:gd name="connsiteX21" fmla="*/ 635755 w 3095038"/>
                <a:gd name="connsiteY21" fmla="*/ 1406334 h 2022026"/>
                <a:gd name="connsiteX22" fmla="*/ 621068 w 3095038"/>
                <a:gd name="connsiteY22" fmla="*/ 1402746 h 2022026"/>
                <a:gd name="connsiteX23" fmla="*/ 621068 w 3095038"/>
                <a:gd name="connsiteY23" fmla="*/ 981499 h 2022026"/>
                <a:gd name="connsiteX24" fmla="*/ 0 w 3095038"/>
                <a:gd name="connsiteY24" fmla="*/ 627509 h 202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95038" h="2022026">
                  <a:moveTo>
                    <a:pt x="1547519" y="0"/>
                  </a:moveTo>
                  <a:lnTo>
                    <a:pt x="3095038" y="627509"/>
                  </a:lnTo>
                  <a:lnTo>
                    <a:pt x="2825277" y="736897"/>
                  </a:lnTo>
                  <a:lnTo>
                    <a:pt x="2825277" y="1583608"/>
                  </a:lnTo>
                  <a:lnTo>
                    <a:pt x="2829142" y="1585209"/>
                  </a:lnTo>
                  <a:cubicBezTo>
                    <a:pt x="2836783" y="1592850"/>
                    <a:pt x="2841509" y="1603406"/>
                    <a:pt x="2841509" y="1615067"/>
                  </a:cubicBezTo>
                  <a:cubicBezTo>
                    <a:pt x="2841509" y="1626728"/>
                    <a:pt x="2836783" y="1637284"/>
                    <a:pt x="2829142" y="1644926"/>
                  </a:cubicBezTo>
                  <a:lnTo>
                    <a:pt x="2826092" y="1646189"/>
                  </a:lnTo>
                  <a:lnTo>
                    <a:pt x="2876626" y="2022026"/>
                  </a:lnTo>
                  <a:lnTo>
                    <a:pt x="2721940" y="2022026"/>
                  </a:lnTo>
                  <a:lnTo>
                    <a:pt x="2772475" y="1646189"/>
                  </a:lnTo>
                  <a:lnTo>
                    <a:pt x="2769425" y="1644926"/>
                  </a:lnTo>
                  <a:cubicBezTo>
                    <a:pt x="2761784" y="1637284"/>
                    <a:pt x="2757057" y="1626728"/>
                    <a:pt x="2757057" y="1615067"/>
                  </a:cubicBezTo>
                  <a:cubicBezTo>
                    <a:pt x="2757057" y="1603406"/>
                    <a:pt x="2761784" y="1592850"/>
                    <a:pt x="2769425" y="1585209"/>
                  </a:cubicBezTo>
                  <a:lnTo>
                    <a:pt x="2773289" y="1583608"/>
                  </a:lnTo>
                  <a:lnTo>
                    <a:pt x="2773289" y="757978"/>
                  </a:lnTo>
                  <a:lnTo>
                    <a:pt x="2747752" y="768333"/>
                  </a:lnTo>
                  <a:lnTo>
                    <a:pt x="2473970" y="981499"/>
                  </a:lnTo>
                  <a:lnTo>
                    <a:pt x="2473970" y="1333096"/>
                  </a:lnTo>
                  <a:cubicBezTo>
                    <a:pt x="2176456" y="1474039"/>
                    <a:pt x="1822001" y="1553521"/>
                    <a:pt x="1442377" y="1553521"/>
                  </a:cubicBezTo>
                  <a:cubicBezTo>
                    <a:pt x="1151810" y="1553521"/>
                    <a:pt x="875988" y="1506956"/>
                    <a:pt x="628675" y="1422110"/>
                  </a:cubicBezTo>
                  <a:cubicBezTo>
                    <a:pt x="630298" y="1416654"/>
                    <a:pt x="632987" y="1411486"/>
                    <a:pt x="635755" y="1406334"/>
                  </a:cubicBezTo>
                  <a:cubicBezTo>
                    <a:pt x="631035" y="1404608"/>
                    <a:pt x="626049" y="1403669"/>
                    <a:pt x="621068" y="1402746"/>
                  </a:cubicBezTo>
                  <a:lnTo>
                    <a:pt x="621068" y="981499"/>
                  </a:lnTo>
                  <a:lnTo>
                    <a:pt x="0" y="62750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sz="2026" dirty="0"/>
            </a:p>
          </p:txBody>
        </p:sp>
      </p:grpSp>
      <p:graphicFrame>
        <p:nvGraphicFramePr>
          <p:cNvPr id="5" name="Object 4" hidden="1">
            <a:extLst>
              <a:ext uri="{FF2B5EF4-FFF2-40B4-BE49-F238E27FC236}">
                <a16:creationId xmlns:a16="http://schemas.microsoft.com/office/drawing/2014/main" id="{A9E43DCD-F115-4EC7-90AE-5F5E6C473889}"/>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9868" name="think-cell Slide" r:id="rId8" imgW="383" imgH="384" progId="TCLayout.ActiveDocument.1">
                  <p:embed/>
                </p:oleObj>
              </mc:Choice>
              <mc:Fallback>
                <p:oleObj name="think-cell Slide" r:id="rId8" imgW="383" imgH="384" progId="TCLayout.ActiveDocument.1">
                  <p:embed/>
                  <p:pic>
                    <p:nvPicPr>
                      <p:cNvPr id="5" name="Object 4" hidden="1">
                        <a:extLst>
                          <a:ext uri="{FF2B5EF4-FFF2-40B4-BE49-F238E27FC236}">
                            <a16:creationId xmlns:a16="http://schemas.microsoft.com/office/drawing/2014/main" id="{A9E43DCD-F115-4EC7-90AE-5F5E6C473889}"/>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140B3F-4BDA-4FDA-A9EE-3C673CDF2373}"/>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b="1" dirty="0">
              <a:latin typeface="Segoe UI" panose="020B0502040204020203" pitchFamily="34" charset="0"/>
              <a:ea typeface="+mj-ea"/>
              <a:cs typeface="Segoe UI" panose="020B0502040204020203" pitchFamily="34" charset="0"/>
              <a:sym typeface="Segoe UI" panose="020B0502040204020203" pitchFamily="34" charset="0"/>
            </a:endParaRPr>
          </a:p>
        </p:txBody>
      </p:sp>
      <p:cxnSp>
        <p:nvCxnSpPr>
          <p:cNvPr id="8" name="Straight Connector 7">
            <a:extLst>
              <a:ext uri="{FF2B5EF4-FFF2-40B4-BE49-F238E27FC236}">
                <a16:creationId xmlns:a16="http://schemas.microsoft.com/office/drawing/2014/main" id="{FDDCB1DF-AB7E-4220-9C07-5A95CD99AED5}"/>
              </a:ext>
            </a:extLst>
          </p:cNvPr>
          <p:cNvCxnSpPr>
            <a:cxnSpLocks/>
          </p:cNvCxnSpPr>
          <p:nvPr/>
        </p:nvCxnSpPr>
        <p:spPr>
          <a:xfrm flipH="1">
            <a:off x="264252" y="4162255"/>
            <a:ext cx="712513" cy="9885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544301-48A2-4C9C-9CBF-01A720F732C0}"/>
              </a:ext>
            </a:extLst>
          </p:cNvPr>
          <p:cNvCxnSpPr>
            <a:cxnSpLocks/>
          </p:cNvCxnSpPr>
          <p:nvPr/>
        </p:nvCxnSpPr>
        <p:spPr>
          <a:xfrm flipH="1">
            <a:off x="725918" y="1"/>
            <a:ext cx="501694" cy="69604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E0D0D9FA-3DBB-4185-910C-1F200143EFAC}"/>
              </a:ext>
            </a:extLst>
          </p:cNvPr>
          <p:cNvSpPr>
            <a:spLocks noGrp="1"/>
          </p:cNvSpPr>
          <p:nvPr>
            <p:ph type="title"/>
          </p:nvPr>
        </p:nvSpPr>
        <p:spPr>
          <a:xfrm>
            <a:off x="2509684" y="1971585"/>
            <a:ext cx="6710516" cy="1200329"/>
          </a:xfrm>
        </p:spPr>
        <p:txBody>
          <a:bodyPr vert="horz" wrap="square" lIns="91440" tIns="45720" rIns="91440" bIns="45720" rtlCol="0" anchor="t">
            <a:spAutoFit/>
          </a:bodyPr>
          <a:lstStyle/>
          <a:p>
            <a:pPr marL="11545" algn="l">
              <a:spcBef>
                <a:spcPts val="72"/>
              </a:spcBef>
            </a:pPr>
            <a:r>
              <a:rPr lang="en-US" sz="3600"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rPr>
              <a:t>Various Scholarships Available from Government</a:t>
            </a:r>
          </a:p>
        </p:txBody>
      </p:sp>
      <p:sp>
        <p:nvSpPr>
          <p:cNvPr id="17" name="Rectangle 16">
            <a:extLst>
              <a:ext uri="{FF2B5EF4-FFF2-40B4-BE49-F238E27FC236}">
                <a16:creationId xmlns:a16="http://schemas.microsoft.com/office/drawing/2014/main" id="{E481DB9C-92EC-43E7-B4B1-F15D6B9CE47D}"/>
              </a:ext>
            </a:extLst>
          </p:cNvPr>
          <p:cNvSpPr/>
          <p:nvPr/>
        </p:nvSpPr>
        <p:spPr>
          <a:xfrm>
            <a:off x="2707341" y="3430160"/>
            <a:ext cx="6436659" cy="48896"/>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pic>
        <p:nvPicPr>
          <p:cNvPr id="18" name="Picture 17">
            <a:extLst>
              <a:ext uri="{FF2B5EF4-FFF2-40B4-BE49-F238E27FC236}">
                <a16:creationId xmlns:a16="http://schemas.microsoft.com/office/drawing/2014/main" id="{EEF28AFB-FDDC-47C6-8B09-25E25D3AF6F9}"/>
              </a:ext>
            </a:extLst>
          </p:cNvPr>
          <p:cNvPicPr>
            <a:picLocks noChangeAspect="1"/>
          </p:cNvPicPr>
          <p:nvPr/>
        </p:nvPicPr>
        <p:blipFill rotWithShape="1">
          <a:blip r:embed="rId10"/>
          <a:srcRect l="86667" b="81138"/>
          <a:stretch/>
        </p:blipFill>
        <p:spPr>
          <a:xfrm>
            <a:off x="7924800" y="-1"/>
            <a:ext cx="1219200" cy="971551"/>
          </a:xfrm>
          <a:prstGeom prst="rect">
            <a:avLst/>
          </a:prstGeom>
        </p:spPr>
      </p:pic>
    </p:spTree>
    <p:extLst>
      <p:ext uri="{BB962C8B-B14F-4D97-AF65-F5344CB8AC3E}">
        <p14:creationId xmlns:p14="http://schemas.microsoft.com/office/powerpoint/2010/main" val="2587158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55726F5-E115-4999-B719-54A4ED037444}"/>
              </a:ext>
            </a:extLst>
          </p:cNvPr>
          <p:cNvSpPr txBox="1">
            <a:spLocks/>
          </p:cNvSpPr>
          <p:nvPr/>
        </p:nvSpPr>
        <p:spPr>
          <a:xfrm>
            <a:off x="228600" y="282034"/>
            <a:ext cx="8839200" cy="521748"/>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 Government Scholarship</a:t>
            </a:r>
            <a:endParaRPr lang="en-IN" sz="2800" dirty="0">
              <a:solidFill>
                <a:srgbClr val="FF5969"/>
              </a:solidFill>
              <a:latin typeface="Gotham Bold" panose="02000803030000020004" pitchFamily="2" charset="0"/>
            </a:endParaRPr>
          </a:p>
        </p:txBody>
      </p:sp>
      <p:sp>
        <p:nvSpPr>
          <p:cNvPr id="6" name="Rectangle 5">
            <a:extLst>
              <a:ext uri="{FF2B5EF4-FFF2-40B4-BE49-F238E27FC236}">
                <a16:creationId xmlns:a16="http://schemas.microsoft.com/office/drawing/2014/main" id="{F358DCB7-2107-4AF9-92C8-E09988C0D2C4}"/>
              </a:ext>
            </a:extLst>
          </p:cNvPr>
          <p:cNvSpPr/>
          <p:nvPr/>
        </p:nvSpPr>
        <p:spPr>
          <a:xfrm>
            <a:off x="0" y="146539"/>
            <a:ext cx="228600" cy="792738"/>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109302467"/>
              </p:ext>
            </p:extLst>
          </p:nvPr>
        </p:nvGraphicFramePr>
        <p:xfrm>
          <a:off x="390524" y="983200"/>
          <a:ext cx="8515351" cy="3878266"/>
        </p:xfrm>
        <a:graphic>
          <a:graphicData uri="http://schemas.openxmlformats.org/drawingml/2006/table">
            <a:tbl>
              <a:tblPr firstRow="1" bandRow="1">
                <a:tableStyleId>{5940675A-B579-460E-94D1-54222C63F5DA}</a:tableStyleId>
              </a:tblPr>
              <a:tblGrid>
                <a:gridCol w="666751">
                  <a:extLst>
                    <a:ext uri="{9D8B030D-6E8A-4147-A177-3AD203B41FA5}">
                      <a16:colId xmlns:a16="http://schemas.microsoft.com/office/drawing/2014/main" val="20000"/>
                    </a:ext>
                  </a:extLst>
                </a:gridCol>
                <a:gridCol w="2295525">
                  <a:extLst>
                    <a:ext uri="{9D8B030D-6E8A-4147-A177-3AD203B41FA5}">
                      <a16:colId xmlns:a16="http://schemas.microsoft.com/office/drawing/2014/main" val="20001"/>
                    </a:ext>
                  </a:extLst>
                </a:gridCol>
                <a:gridCol w="5553075">
                  <a:extLst>
                    <a:ext uri="{9D8B030D-6E8A-4147-A177-3AD203B41FA5}">
                      <a16:colId xmlns:a16="http://schemas.microsoft.com/office/drawing/2014/main" val="20002"/>
                    </a:ext>
                  </a:extLst>
                </a:gridCol>
              </a:tblGrid>
              <a:tr h="514573">
                <a:tc>
                  <a:txBody>
                    <a:bodyPr/>
                    <a:lstStyle/>
                    <a:p>
                      <a:pPr algn="ctr">
                        <a:lnSpc>
                          <a:spcPct val="100000"/>
                        </a:lnSpc>
                      </a:pPr>
                      <a:r>
                        <a:rPr lang="en-US" sz="1600" dirty="0">
                          <a:solidFill>
                            <a:schemeClr val="bg1"/>
                          </a:solidFill>
                          <a:effectLst/>
                          <a:latin typeface="Gotham Medium" panose="02000603030000020004" pitchFamily="2" charset="0"/>
                        </a:rPr>
                        <a:t>Sr. No. </a:t>
                      </a:r>
                      <a:endParaRPr lang="en-US" sz="1600" b="1" dirty="0">
                        <a:solidFill>
                          <a:schemeClr val="bg1"/>
                        </a:solidFill>
                        <a:effectLst/>
                        <a:latin typeface="Gotham Medium" panose="02000603030000020004" pitchFamily="2" charset="0"/>
                        <a:cs typeface="Times New Roman" pitchFamily="18" charset="0"/>
                      </a:endParaRPr>
                    </a:p>
                  </a:txBody>
                  <a:tcPr marT="45722" marB="45722" anchor="ctr">
                    <a:solidFill>
                      <a:schemeClr val="tx1">
                        <a:lumMod val="50000"/>
                        <a:lumOff val="50000"/>
                      </a:schemeClr>
                    </a:solidFill>
                  </a:tcPr>
                </a:tc>
                <a:tc>
                  <a:txBody>
                    <a:bodyPr/>
                    <a:lstStyle/>
                    <a:p>
                      <a:pPr algn="ctr">
                        <a:lnSpc>
                          <a:spcPct val="100000"/>
                        </a:lnSpc>
                      </a:pPr>
                      <a:r>
                        <a:rPr lang="en-US" sz="1600" dirty="0">
                          <a:solidFill>
                            <a:schemeClr val="bg1"/>
                          </a:solidFill>
                          <a:effectLst/>
                          <a:latin typeface="Gotham Medium" panose="02000603030000020004" pitchFamily="2" charset="0"/>
                        </a:rPr>
                        <a:t>Category</a:t>
                      </a:r>
                      <a:endParaRPr lang="en-US" sz="1600" b="1" dirty="0">
                        <a:solidFill>
                          <a:schemeClr val="bg1"/>
                        </a:solidFill>
                        <a:effectLst/>
                        <a:latin typeface="Gotham Medium" panose="02000603030000020004" pitchFamily="2" charset="0"/>
                        <a:cs typeface="Times New Roman" pitchFamily="18" charset="0"/>
                      </a:endParaRPr>
                    </a:p>
                  </a:txBody>
                  <a:tcPr marT="45722" marB="45722" anchor="ctr">
                    <a:solidFill>
                      <a:schemeClr val="tx1">
                        <a:lumMod val="50000"/>
                        <a:lumOff val="50000"/>
                      </a:schemeClr>
                    </a:solidFill>
                  </a:tcPr>
                </a:tc>
                <a:tc>
                  <a:txBody>
                    <a:bodyPr/>
                    <a:lstStyle/>
                    <a:p>
                      <a:pPr algn="ctr">
                        <a:lnSpc>
                          <a:spcPct val="100000"/>
                        </a:lnSpc>
                      </a:pPr>
                      <a:r>
                        <a:rPr lang="en-US" sz="1600" dirty="0">
                          <a:solidFill>
                            <a:schemeClr val="bg1"/>
                          </a:solidFill>
                          <a:effectLst/>
                          <a:latin typeface="Gotham Medium" panose="02000603030000020004" pitchFamily="2" charset="0"/>
                        </a:rPr>
                        <a:t>Details of Scholarship</a:t>
                      </a:r>
                      <a:endParaRPr lang="en-US" sz="1600" b="1" dirty="0">
                        <a:solidFill>
                          <a:schemeClr val="bg1"/>
                        </a:solidFill>
                        <a:effectLst/>
                        <a:latin typeface="Gotham Medium" panose="02000603030000020004" pitchFamily="2" charset="0"/>
                        <a:cs typeface="Times New Roman" pitchFamily="18" charset="0"/>
                      </a:endParaRPr>
                    </a:p>
                  </a:txBody>
                  <a:tcPr marT="45722" marB="45722" anchor="ctr">
                    <a:solidFill>
                      <a:schemeClr val="tx1">
                        <a:lumMod val="50000"/>
                        <a:lumOff val="50000"/>
                      </a:schemeClr>
                    </a:solidFill>
                  </a:tcPr>
                </a:tc>
                <a:extLst>
                  <a:ext uri="{0D108BD9-81ED-4DB2-BD59-A6C34878D82A}">
                    <a16:rowId xmlns:a16="http://schemas.microsoft.com/office/drawing/2014/main" val="10000"/>
                  </a:ext>
                </a:extLst>
              </a:tr>
              <a:tr h="549857">
                <a:tc>
                  <a:txBody>
                    <a:bodyPr/>
                    <a:lstStyle/>
                    <a:p>
                      <a:pPr algn="ctr">
                        <a:lnSpc>
                          <a:spcPct val="100000"/>
                        </a:lnSpc>
                      </a:pPr>
                      <a:r>
                        <a:rPr lang="en-US" sz="1400" dirty="0">
                          <a:solidFill>
                            <a:schemeClr val="bg1"/>
                          </a:solidFill>
                          <a:effectLst/>
                          <a:latin typeface="Gotham Medium" panose="02000603030000020004" pitchFamily="2" charset="0"/>
                        </a:rPr>
                        <a:t>01</a:t>
                      </a:r>
                      <a:endParaRPr lang="en-US" sz="1400" b="1" dirty="0">
                        <a:solidFill>
                          <a:schemeClr val="bg1"/>
                        </a:solidFill>
                        <a:effectLst/>
                        <a:latin typeface="Gotham Medium" panose="02000603030000020004" pitchFamily="2" charset="0"/>
                        <a:cs typeface="Times New Roman" pitchFamily="18" charset="0"/>
                      </a:endParaRPr>
                    </a:p>
                  </a:txBody>
                  <a:tcPr marT="45722" marB="45722" anchor="ctr">
                    <a:solidFill>
                      <a:schemeClr val="tx1">
                        <a:lumMod val="50000"/>
                        <a:lumOff val="50000"/>
                      </a:schemeClr>
                    </a:solidFill>
                  </a:tcPr>
                </a:tc>
                <a:tc>
                  <a:txBody>
                    <a:bodyPr/>
                    <a:lstStyle/>
                    <a:p>
                      <a:pPr algn="ctr">
                        <a:lnSpc>
                          <a:spcPct val="100000"/>
                        </a:lnSpc>
                      </a:pPr>
                      <a:r>
                        <a:rPr lang="en-US" sz="1400" kern="1200" dirty="0">
                          <a:effectLst/>
                          <a:latin typeface="Gotham Medium" panose="02000603030000020004" pitchFamily="2" charset="0"/>
                        </a:rPr>
                        <a:t>SC/ST</a:t>
                      </a:r>
                      <a:endParaRPr lang="en-US" sz="1400" b="1" kern="1200" dirty="0">
                        <a:solidFill>
                          <a:srgbClr val="002060"/>
                        </a:solidFill>
                        <a:effectLst/>
                        <a:latin typeface="Gotham Medium" panose="02000603030000020004" pitchFamily="2" charset="0"/>
                        <a:ea typeface="+mn-ea"/>
                        <a:cs typeface="Times New Roman" pitchFamily="18" charset="0"/>
                      </a:endParaRPr>
                    </a:p>
                  </a:txBody>
                  <a:tcPr marT="45722" marB="45722" anchor="ctr"/>
                </a:tc>
                <a:tc>
                  <a:txBody>
                    <a:bodyPr/>
                    <a:lstStyle/>
                    <a:p>
                      <a:pPr algn="l">
                        <a:lnSpc>
                          <a:spcPct val="100000"/>
                        </a:lnSpc>
                      </a:pPr>
                      <a:r>
                        <a:rPr lang="en-US" sz="1400" dirty="0">
                          <a:solidFill>
                            <a:srgbClr val="FF0000"/>
                          </a:solidFill>
                          <a:effectLst/>
                          <a:latin typeface="Gotham Medium" panose="02000603030000020004" pitchFamily="2" charset="0"/>
                        </a:rPr>
                        <a:t>100% </a:t>
                      </a:r>
                      <a:r>
                        <a:rPr lang="en-US" sz="1400" dirty="0">
                          <a:effectLst/>
                          <a:latin typeface="Gotham Medium" panose="02000603030000020004" pitchFamily="2" charset="0"/>
                        </a:rPr>
                        <a:t>Scholarship in Tuition Fee &amp; Development Fee</a:t>
                      </a:r>
                      <a:endParaRPr lang="en-US" sz="1400" b="1" dirty="0">
                        <a:solidFill>
                          <a:srgbClr val="002060"/>
                        </a:solidFill>
                        <a:effectLst/>
                        <a:latin typeface="Gotham Medium" panose="02000603030000020004" pitchFamily="2" charset="0"/>
                        <a:cs typeface="Times New Roman" pitchFamily="18" charset="0"/>
                      </a:endParaRPr>
                    </a:p>
                  </a:txBody>
                  <a:tcPr marT="45722" marB="45722" anchor="ctr"/>
                </a:tc>
                <a:extLst>
                  <a:ext uri="{0D108BD9-81ED-4DB2-BD59-A6C34878D82A}">
                    <a16:rowId xmlns:a16="http://schemas.microsoft.com/office/drawing/2014/main" val="10001"/>
                  </a:ext>
                </a:extLst>
              </a:tr>
              <a:tr h="549857">
                <a:tc>
                  <a:txBody>
                    <a:bodyPr/>
                    <a:lstStyle/>
                    <a:p>
                      <a:pPr algn="ctr">
                        <a:lnSpc>
                          <a:spcPct val="100000"/>
                        </a:lnSpc>
                      </a:pPr>
                      <a:r>
                        <a:rPr lang="en-US" sz="1400" b="1" dirty="0">
                          <a:solidFill>
                            <a:schemeClr val="bg1"/>
                          </a:solidFill>
                          <a:effectLst/>
                          <a:latin typeface="Gotham Medium" panose="02000603030000020004" pitchFamily="2" charset="0"/>
                          <a:cs typeface="Times New Roman" pitchFamily="18" charset="0"/>
                        </a:rPr>
                        <a:t>02</a:t>
                      </a:r>
                    </a:p>
                  </a:txBody>
                  <a:tcPr marT="45722" marB="45722" anchor="ctr">
                    <a:solidFill>
                      <a:schemeClr val="tx1">
                        <a:lumMod val="50000"/>
                        <a:lumOff val="50000"/>
                      </a:schemeClr>
                    </a:solidFill>
                  </a:tcPr>
                </a:tc>
                <a:tc>
                  <a:txBody>
                    <a:bodyPr/>
                    <a:lstStyle/>
                    <a:p>
                      <a:pPr algn="ctr">
                        <a:lnSpc>
                          <a:spcPct val="100000"/>
                        </a:lnSpc>
                      </a:pPr>
                      <a:r>
                        <a:rPr lang="en-US" sz="1400" kern="1200" dirty="0">
                          <a:effectLst/>
                          <a:latin typeface="Gotham Medium" panose="02000603030000020004" pitchFamily="2" charset="0"/>
                        </a:rPr>
                        <a:t>VJ/DT/NT/SBC/TFWS</a:t>
                      </a:r>
                      <a:endParaRPr lang="en-US" sz="1400" b="1" kern="1200" dirty="0">
                        <a:solidFill>
                          <a:srgbClr val="002060"/>
                        </a:solidFill>
                        <a:effectLst/>
                        <a:latin typeface="Gotham Medium" panose="02000603030000020004" pitchFamily="2" charset="0"/>
                        <a:ea typeface="+mn-ea"/>
                        <a:cs typeface="Times New Roman" pitchFamily="18" charset="0"/>
                      </a:endParaRPr>
                    </a:p>
                  </a:txBody>
                  <a:tcPr marT="45722" marB="45722"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FF0000"/>
                          </a:solidFill>
                          <a:effectLst/>
                          <a:latin typeface="Gotham Medium" panose="02000603030000020004" pitchFamily="2" charset="0"/>
                        </a:rPr>
                        <a:t>100% </a:t>
                      </a:r>
                      <a:r>
                        <a:rPr lang="en-US" sz="1400" dirty="0">
                          <a:effectLst/>
                          <a:latin typeface="Gotham Medium" panose="02000603030000020004" pitchFamily="2" charset="0"/>
                        </a:rPr>
                        <a:t>Scholarship in Tuition Fe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latin typeface="Gotham Medium" panose="02000603030000020004" pitchFamily="2" charset="0"/>
                        </a:rPr>
                        <a:t>(Parent </a:t>
                      </a:r>
                      <a:r>
                        <a:rPr lang="en-US" sz="1400" dirty="0">
                          <a:solidFill>
                            <a:srgbClr val="FF5969"/>
                          </a:solidFill>
                          <a:effectLst/>
                          <a:latin typeface="Gotham Medium" panose="02000603030000020004" pitchFamily="2" charset="0"/>
                        </a:rPr>
                        <a:t>Income below </a:t>
                      </a:r>
                      <a:r>
                        <a:rPr lang="en-US" sz="1400" baseline="0" dirty="0">
                          <a:solidFill>
                            <a:srgbClr val="FF5969"/>
                          </a:solidFill>
                          <a:effectLst/>
                          <a:latin typeface="Gotham Medium" panose="02000603030000020004" pitchFamily="2" charset="0"/>
                        </a:rPr>
                        <a:t>8 lakhs </a:t>
                      </a:r>
                      <a:r>
                        <a:rPr lang="en-US" sz="1400" baseline="0" dirty="0">
                          <a:effectLst/>
                          <a:latin typeface="Gotham Medium" panose="02000603030000020004" pitchFamily="2" charset="0"/>
                        </a:rPr>
                        <a:t>in Previous Financial Year)</a:t>
                      </a:r>
                      <a:endParaRPr lang="en-US" sz="1400" b="1" dirty="0">
                        <a:solidFill>
                          <a:srgbClr val="002060"/>
                        </a:solidFill>
                        <a:effectLst/>
                        <a:latin typeface="Gotham Medium" panose="02000603030000020004" pitchFamily="2" charset="0"/>
                        <a:cs typeface="Times New Roman" pitchFamily="18" charset="0"/>
                      </a:endParaRPr>
                    </a:p>
                  </a:txBody>
                  <a:tcPr marT="45722" marB="45722" anchor="ctr"/>
                </a:tc>
                <a:extLst>
                  <a:ext uri="{0D108BD9-81ED-4DB2-BD59-A6C34878D82A}">
                    <a16:rowId xmlns:a16="http://schemas.microsoft.com/office/drawing/2014/main" val="4146940400"/>
                  </a:ext>
                </a:extLst>
              </a:tr>
              <a:tr h="549857">
                <a:tc>
                  <a:txBody>
                    <a:bodyPr/>
                    <a:lstStyle/>
                    <a:p>
                      <a:pPr algn="ctr">
                        <a:lnSpc>
                          <a:spcPct val="100000"/>
                        </a:lnSpc>
                      </a:pPr>
                      <a:r>
                        <a:rPr lang="en-US" sz="1400" dirty="0">
                          <a:solidFill>
                            <a:schemeClr val="bg1"/>
                          </a:solidFill>
                          <a:effectLst/>
                          <a:latin typeface="Gotham Medium" panose="02000603030000020004" pitchFamily="2" charset="0"/>
                        </a:rPr>
                        <a:t>03</a:t>
                      </a:r>
                      <a:endParaRPr lang="en-US" sz="1400" b="1" dirty="0">
                        <a:solidFill>
                          <a:schemeClr val="bg1"/>
                        </a:solidFill>
                        <a:effectLst/>
                        <a:latin typeface="Gotham Medium" panose="02000603030000020004" pitchFamily="2" charset="0"/>
                        <a:cs typeface="Times New Roman" pitchFamily="18" charset="0"/>
                      </a:endParaRPr>
                    </a:p>
                  </a:txBody>
                  <a:tcPr marT="45722" marB="45722" anchor="ctr">
                    <a:solidFill>
                      <a:schemeClr val="tx1">
                        <a:lumMod val="50000"/>
                        <a:lumOff val="50000"/>
                      </a:schemeClr>
                    </a:solidFill>
                  </a:tcPr>
                </a:tc>
                <a:tc>
                  <a:txBody>
                    <a:bodyPr/>
                    <a:lstStyle/>
                    <a:p>
                      <a:pPr algn="ctr">
                        <a:lnSpc>
                          <a:spcPct val="100000"/>
                        </a:lnSpc>
                      </a:pPr>
                      <a:r>
                        <a:rPr lang="en-US" sz="1400" kern="1200" dirty="0">
                          <a:effectLst/>
                          <a:latin typeface="Gotham Medium" panose="02000603030000020004" pitchFamily="2" charset="0"/>
                        </a:rPr>
                        <a:t>OBC</a:t>
                      </a:r>
                      <a:endParaRPr lang="en-US" sz="1400" b="1" kern="1200" dirty="0">
                        <a:solidFill>
                          <a:srgbClr val="002060"/>
                        </a:solidFill>
                        <a:effectLst/>
                        <a:latin typeface="Gotham Medium" panose="02000603030000020004" pitchFamily="2" charset="0"/>
                        <a:ea typeface="+mn-ea"/>
                        <a:cs typeface="Times New Roman" pitchFamily="18" charset="0"/>
                      </a:endParaRPr>
                    </a:p>
                  </a:txBody>
                  <a:tcPr marT="45722" marB="45722"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FF0000"/>
                          </a:solidFill>
                          <a:effectLst/>
                          <a:latin typeface="Gotham Medium" panose="02000603030000020004" pitchFamily="2" charset="0"/>
                        </a:rPr>
                        <a:t>50% </a:t>
                      </a:r>
                      <a:r>
                        <a:rPr lang="en-US" sz="1400" dirty="0">
                          <a:effectLst/>
                          <a:latin typeface="Gotham Medium" panose="02000603030000020004" pitchFamily="2" charset="0"/>
                        </a:rPr>
                        <a:t>Scholarship in Tuition Fee</a:t>
                      </a:r>
                      <a:endParaRPr lang="en-US" sz="1400" b="1" dirty="0">
                        <a:solidFill>
                          <a:srgbClr val="002060"/>
                        </a:solidFill>
                        <a:effectLst/>
                        <a:latin typeface="Gotham Medium" panose="02000603030000020004" pitchFamily="2" charset="0"/>
                        <a:cs typeface="Times New Roman" pitchFamily="18" charset="0"/>
                      </a:endParaRPr>
                    </a:p>
                  </a:txBody>
                  <a:tcPr marT="45722" marB="45722" anchor="ctr"/>
                </a:tc>
                <a:extLst>
                  <a:ext uri="{0D108BD9-81ED-4DB2-BD59-A6C34878D82A}">
                    <a16:rowId xmlns:a16="http://schemas.microsoft.com/office/drawing/2014/main" val="10002"/>
                  </a:ext>
                </a:extLst>
              </a:tr>
              <a:tr h="549857">
                <a:tc>
                  <a:txBody>
                    <a:bodyPr/>
                    <a:lstStyle/>
                    <a:p>
                      <a:pPr algn="ctr">
                        <a:lnSpc>
                          <a:spcPct val="100000"/>
                        </a:lnSpc>
                      </a:pPr>
                      <a:r>
                        <a:rPr lang="en-US" sz="1400" dirty="0">
                          <a:solidFill>
                            <a:schemeClr val="bg1"/>
                          </a:solidFill>
                          <a:effectLst/>
                          <a:latin typeface="Gotham Medium" panose="02000603030000020004" pitchFamily="2" charset="0"/>
                        </a:rPr>
                        <a:t>04</a:t>
                      </a:r>
                      <a:endParaRPr lang="en-US" sz="1400" b="1" dirty="0">
                        <a:solidFill>
                          <a:schemeClr val="bg1"/>
                        </a:solidFill>
                        <a:effectLst/>
                        <a:latin typeface="Gotham Medium" panose="02000603030000020004" pitchFamily="2" charset="0"/>
                        <a:cs typeface="Times New Roman" pitchFamily="18" charset="0"/>
                      </a:endParaRPr>
                    </a:p>
                  </a:txBody>
                  <a:tcPr marT="45722" marB="45722" anchor="ctr">
                    <a:solidFill>
                      <a:schemeClr val="tx1">
                        <a:lumMod val="50000"/>
                        <a:lumOff val="50000"/>
                      </a:schemeClr>
                    </a:solidFill>
                  </a:tcPr>
                </a:tc>
                <a:tc>
                  <a:txBody>
                    <a:bodyPr/>
                    <a:lstStyle/>
                    <a:p>
                      <a:pPr algn="ctr">
                        <a:lnSpc>
                          <a:spcPct val="100000"/>
                        </a:lnSpc>
                      </a:pPr>
                      <a:r>
                        <a:rPr lang="en-US" sz="1400" kern="1200" dirty="0">
                          <a:effectLst/>
                          <a:latin typeface="Gotham Medium" panose="02000603030000020004" pitchFamily="2" charset="0"/>
                        </a:rPr>
                        <a:t>EBC/EWS</a:t>
                      </a:r>
                      <a:endParaRPr lang="en-US" sz="1400" b="1" kern="1200" dirty="0">
                        <a:solidFill>
                          <a:srgbClr val="002060"/>
                        </a:solidFill>
                        <a:effectLst/>
                        <a:latin typeface="Gotham Medium" panose="02000603030000020004" pitchFamily="2" charset="0"/>
                        <a:ea typeface="+mn-ea"/>
                        <a:cs typeface="Times New Roman" pitchFamily="18" charset="0"/>
                      </a:endParaRPr>
                    </a:p>
                  </a:txBody>
                  <a:tcPr marT="45722" marB="45722"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FF0000"/>
                          </a:solidFill>
                          <a:effectLst/>
                          <a:latin typeface="Gotham Medium" panose="02000603030000020004" pitchFamily="2" charset="0"/>
                        </a:rPr>
                        <a:t>50% </a:t>
                      </a:r>
                      <a:r>
                        <a:rPr lang="en-US" sz="1400" dirty="0">
                          <a:effectLst/>
                          <a:latin typeface="Gotham Medium" panose="02000603030000020004" pitchFamily="2" charset="0"/>
                        </a:rPr>
                        <a:t>Scholarship in Tuition Fee</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effectLst/>
                          <a:latin typeface="Gotham Medium" panose="02000603030000020004" pitchFamily="2" charset="0"/>
                        </a:rPr>
                        <a:t>(Parent </a:t>
                      </a:r>
                      <a:r>
                        <a:rPr lang="en-US" sz="1400" dirty="0">
                          <a:solidFill>
                            <a:srgbClr val="FF5969"/>
                          </a:solidFill>
                          <a:effectLst/>
                          <a:latin typeface="Gotham Medium" panose="02000603030000020004" pitchFamily="2" charset="0"/>
                        </a:rPr>
                        <a:t>Income below </a:t>
                      </a:r>
                      <a:r>
                        <a:rPr lang="en-US" sz="1400" baseline="0" dirty="0">
                          <a:solidFill>
                            <a:srgbClr val="FF5969"/>
                          </a:solidFill>
                          <a:effectLst/>
                          <a:latin typeface="Gotham Medium" panose="02000603030000020004" pitchFamily="2" charset="0"/>
                        </a:rPr>
                        <a:t>8 lakhs </a:t>
                      </a:r>
                      <a:r>
                        <a:rPr lang="en-US" sz="1400" baseline="0" dirty="0">
                          <a:effectLst/>
                          <a:latin typeface="Gotham Medium" panose="02000603030000020004" pitchFamily="2" charset="0"/>
                        </a:rPr>
                        <a:t>in Previous Financial Year)</a:t>
                      </a:r>
                      <a:endParaRPr lang="en-US" sz="1400" b="1" dirty="0">
                        <a:solidFill>
                          <a:srgbClr val="002060"/>
                        </a:solidFill>
                        <a:effectLst/>
                        <a:latin typeface="Gotham Medium" panose="02000603030000020004" pitchFamily="2" charset="0"/>
                        <a:cs typeface="Times New Roman" pitchFamily="18" charset="0"/>
                      </a:endParaRPr>
                    </a:p>
                  </a:txBody>
                  <a:tcPr marT="45722" marB="45722" anchor="ctr"/>
                </a:tc>
                <a:extLst>
                  <a:ext uri="{0D108BD9-81ED-4DB2-BD59-A6C34878D82A}">
                    <a16:rowId xmlns:a16="http://schemas.microsoft.com/office/drawing/2014/main" val="10003"/>
                  </a:ext>
                </a:extLst>
              </a:tr>
              <a:tr h="549857">
                <a:tc>
                  <a:txBody>
                    <a:bodyPr/>
                    <a:lstStyle/>
                    <a:p>
                      <a:pPr algn="ctr">
                        <a:lnSpc>
                          <a:spcPct val="100000"/>
                        </a:lnSpc>
                      </a:pPr>
                      <a:r>
                        <a:rPr lang="en-US" sz="1400" dirty="0">
                          <a:solidFill>
                            <a:schemeClr val="bg1"/>
                          </a:solidFill>
                          <a:effectLst/>
                          <a:latin typeface="Gotham Medium" panose="02000603030000020004" pitchFamily="2" charset="0"/>
                        </a:rPr>
                        <a:t>05</a:t>
                      </a:r>
                      <a:endParaRPr lang="en-US" sz="1400" b="1" dirty="0">
                        <a:solidFill>
                          <a:schemeClr val="bg1"/>
                        </a:solidFill>
                        <a:effectLst/>
                        <a:latin typeface="Gotham Medium" panose="02000603030000020004" pitchFamily="2" charset="0"/>
                        <a:cs typeface="Times New Roman" pitchFamily="18" charset="0"/>
                      </a:endParaRPr>
                    </a:p>
                  </a:txBody>
                  <a:tcPr marT="45722" marB="45722" anchor="ctr">
                    <a:solidFill>
                      <a:schemeClr val="tx1">
                        <a:lumMod val="50000"/>
                        <a:lumOff val="50000"/>
                      </a:schemeClr>
                    </a:solidFill>
                  </a:tcPr>
                </a:tc>
                <a:tc>
                  <a:txBody>
                    <a:bodyPr/>
                    <a:lstStyle/>
                    <a:p>
                      <a:pPr algn="ctr">
                        <a:lnSpc>
                          <a:spcPct val="100000"/>
                        </a:lnSpc>
                      </a:pPr>
                      <a:r>
                        <a:rPr lang="en-US" sz="1400" kern="1200" dirty="0">
                          <a:effectLst/>
                          <a:latin typeface="Gotham Medium" panose="02000603030000020004" pitchFamily="2" charset="0"/>
                        </a:rPr>
                        <a:t>Minority</a:t>
                      </a:r>
                      <a:endParaRPr lang="en-US" sz="1400" b="1" kern="1200" dirty="0">
                        <a:solidFill>
                          <a:srgbClr val="002060"/>
                        </a:solidFill>
                        <a:effectLst/>
                        <a:latin typeface="Gotham Medium" panose="02000603030000020004" pitchFamily="2" charset="0"/>
                        <a:ea typeface="+mn-ea"/>
                        <a:cs typeface="Times New Roman" pitchFamily="18" charset="0"/>
                      </a:endParaRPr>
                    </a:p>
                  </a:txBody>
                  <a:tcPr marT="45722" marB="45722"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FF0000"/>
                          </a:solidFill>
                          <a:effectLst/>
                          <a:latin typeface="Gotham Medium" panose="02000603030000020004" pitchFamily="2" charset="0"/>
                        </a:rPr>
                        <a:t>50% </a:t>
                      </a:r>
                      <a:r>
                        <a:rPr lang="en-US" sz="1400" dirty="0">
                          <a:effectLst/>
                          <a:latin typeface="Gotham Medium" panose="02000603030000020004" pitchFamily="2" charset="0"/>
                        </a:rPr>
                        <a:t>Scholarship in Tuition Fee or Rs. 25000/- whichever is maximum</a:t>
                      </a:r>
                      <a:endParaRPr lang="en-US" sz="1400" b="1" dirty="0">
                        <a:solidFill>
                          <a:srgbClr val="002060"/>
                        </a:solidFill>
                        <a:effectLst/>
                        <a:latin typeface="Gotham Medium" panose="02000603030000020004" pitchFamily="2" charset="0"/>
                        <a:cs typeface="Times New Roman" pitchFamily="18" charset="0"/>
                      </a:endParaRPr>
                    </a:p>
                  </a:txBody>
                  <a:tcPr marT="45722" marB="45722" anchor="ctr"/>
                </a:tc>
                <a:extLst>
                  <a:ext uri="{0D108BD9-81ED-4DB2-BD59-A6C34878D82A}">
                    <a16:rowId xmlns:a16="http://schemas.microsoft.com/office/drawing/2014/main" val="10004"/>
                  </a:ext>
                </a:extLst>
              </a:tr>
              <a:tr h="549857">
                <a:tc>
                  <a:txBody>
                    <a:bodyPr/>
                    <a:lstStyle/>
                    <a:p>
                      <a:pPr algn="ctr">
                        <a:lnSpc>
                          <a:spcPct val="100000"/>
                        </a:lnSpc>
                      </a:pPr>
                      <a:r>
                        <a:rPr lang="en-US" sz="1400" dirty="0">
                          <a:solidFill>
                            <a:schemeClr val="bg1"/>
                          </a:solidFill>
                          <a:effectLst/>
                          <a:latin typeface="Gotham Medium" panose="02000603030000020004" pitchFamily="2" charset="0"/>
                        </a:rPr>
                        <a:t>06</a:t>
                      </a:r>
                      <a:endParaRPr lang="en-US" sz="1400" b="1" dirty="0">
                        <a:solidFill>
                          <a:schemeClr val="bg1"/>
                        </a:solidFill>
                        <a:effectLst/>
                        <a:latin typeface="Gotham Medium" panose="02000603030000020004" pitchFamily="2" charset="0"/>
                        <a:cs typeface="Times New Roman" pitchFamily="18" charset="0"/>
                      </a:endParaRPr>
                    </a:p>
                  </a:txBody>
                  <a:tcPr marT="45722" marB="45722" anchor="ctr">
                    <a:solidFill>
                      <a:schemeClr val="tx1">
                        <a:lumMod val="50000"/>
                        <a:lumOff val="50000"/>
                      </a:schemeClr>
                    </a:solidFill>
                  </a:tcPr>
                </a:tc>
                <a:tc>
                  <a:txBody>
                    <a:bodyPr/>
                    <a:lstStyle/>
                    <a:p>
                      <a:pPr algn="ctr">
                        <a:lnSpc>
                          <a:spcPct val="100000"/>
                        </a:lnSpc>
                      </a:pPr>
                      <a:r>
                        <a:rPr lang="en-US" sz="1400" kern="1200" dirty="0">
                          <a:effectLst/>
                          <a:latin typeface="Gotham Medium" panose="02000603030000020004" pitchFamily="2" charset="0"/>
                        </a:rPr>
                        <a:t>Primary &amp; Secondary Teachers</a:t>
                      </a:r>
                      <a:endParaRPr lang="en-US" sz="1400" b="1" kern="1200" dirty="0">
                        <a:solidFill>
                          <a:srgbClr val="002060"/>
                        </a:solidFill>
                        <a:effectLst/>
                        <a:latin typeface="Gotham Medium" panose="02000603030000020004" pitchFamily="2" charset="0"/>
                        <a:ea typeface="+mn-ea"/>
                        <a:cs typeface="Times New Roman" pitchFamily="18" charset="0"/>
                      </a:endParaRPr>
                    </a:p>
                  </a:txBody>
                  <a:tcPr marT="45722" marB="45722" anchor="ctr"/>
                </a:tc>
                <a:tc>
                  <a:txBody>
                    <a:bodyPr/>
                    <a:lstStyle/>
                    <a:p>
                      <a:pPr algn="l">
                        <a:lnSpc>
                          <a:spcPct val="100000"/>
                        </a:lnSpc>
                      </a:pPr>
                      <a:r>
                        <a:rPr lang="en-US" sz="1400" dirty="0">
                          <a:effectLst/>
                          <a:latin typeface="Gotham Medium" panose="02000603030000020004" pitchFamily="2" charset="0"/>
                        </a:rPr>
                        <a:t>Rs. 4000/- per year</a:t>
                      </a:r>
                      <a:endParaRPr lang="en-US" sz="1400" b="1" dirty="0">
                        <a:solidFill>
                          <a:srgbClr val="002060"/>
                        </a:solidFill>
                        <a:effectLst/>
                        <a:latin typeface="Gotham Medium" panose="02000603030000020004" pitchFamily="2" charset="0"/>
                        <a:cs typeface="Times New Roman" pitchFamily="18" charset="0"/>
                      </a:endParaRPr>
                    </a:p>
                  </a:txBody>
                  <a:tcPr marT="45722" marB="45722"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05534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4">
            <a:extLst>
              <a:ext uri="{FF2B5EF4-FFF2-40B4-BE49-F238E27FC236}">
                <a16:creationId xmlns:a16="http://schemas.microsoft.com/office/drawing/2014/main" id="{9FE40986-ED07-4A38-A20F-457D91556A3E}"/>
              </a:ext>
            </a:extLst>
          </p:cNvPr>
          <p:cNvSpPr/>
          <p:nvPr/>
        </p:nvSpPr>
        <p:spPr>
          <a:xfrm>
            <a:off x="381000" y="956709"/>
            <a:ext cx="7760777" cy="3828991"/>
          </a:xfrm>
          <a:custGeom>
            <a:avLst/>
            <a:gdLst>
              <a:gd name="connsiteX0" fmla="*/ 0 w 3744416"/>
              <a:gd name="connsiteY0" fmla="*/ 0 h 1008112"/>
              <a:gd name="connsiteX1" fmla="*/ 3744416 w 3744416"/>
              <a:gd name="connsiteY1" fmla="*/ 0 h 1008112"/>
              <a:gd name="connsiteX2" fmla="*/ 3744416 w 3744416"/>
              <a:gd name="connsiteY2" fmla="*/ 1008112 h 1008112"/>
              <a:gd name="connsiteX3" fmla="*/ 0 w 3744416"/>
              <a:gd name="connsiteY3" fmla="*/ 1008112 h 1008112"/>
              <a:gd name="connsiteX4" fmla="*/ 0 w 3744416"/>
              <a:gd name="connsiteY4" fmla="*/ 0 h 1008112"/>
              <a:gd name="connsiteX0" fmla="*/ 3744416 w 3835856"/>
              <a:gd name="connsiteY0" fmla="*/ 0 h 1008112"/>
              <a:gd name="connsiteX1" fmla="*/ 3744416 w 3835856"/>
              <a:gd name="connsiteY1" fmla="*/ 1008112 h 1008112"/>
              <a:gd name="connsiteX2" fmla="*/ 0 w 3835856"/>
              <a:gd name="connsiteY2" fmla="*/ 1008112 h 1008112"/>
              <a:gd name="connsiteX3" fmla="*/ 0 w 3835856"/>
              <a:gd name="connsiteY3" fmla="*/ 0 h 1008112"/>
              <a:gd name="connsiteX4" fmla="*/ 3835856 w 3835856"/>
              <a:gd name="connsiteY4" fmla="*/ 91440 h 1008112"/>
              <a:gd name="connsiteX0" fmla="*/ 3744416 w 3835856"/>
              <a:gd name="connsiteY0" fmla="*/ 1008112 h 1008112"/>
              <a:gd name="connsiteX1" fmla="*/ 0 w 3835856"/>
              <a:gd name="connsiteY1" fmla="*/ 1008112 h 1008112"/>
              <a:gd name="connsiteX2" fmla="*/ 0 w 3835856"/>
              <a:gd name="connsiteY2" fmla="*/ 0 h 1008112"/>
              <a:gd name="connsiteX3" fmla="*/ 3835856 w 3835856"/>
              <a:gd name="connsiteY3" fmla="*/ 91440 h 1008112"/>
              <a:gd name="connsiteX0" fmla="*/ 3744416 w 3825223"/>
              <a:gd name="connsiteY0" fmla="*/ 1008112 h 1008112"/>
              <a:gd name="connsiteX1" fmla="*/ 0 w 3825223"/>
              <a:gd name="connsiteY1" fmla="*/ 1008112 h 1008112"/>
              <a:gd name="connsiteX2" fmla="*/ 0 w 3825223"/>
              <a:gd name="connsiteY2" fmla="*/ 0 h 1008112"/>
              <a:gd name="connsiteX3" fmla="*/ 3825223 w 3825223"/>
              <a:gd name="connsiteY3" fmla="*/ 17013 h 1008112"/>
              <a:gd name="connsiteX0" fmla="*/ 3744416 w 3761428"/>
              <a:gd name="connsiteY0" fmla="*/ 1008112 h 1008112"/>
              <a:gd name="connsiteX1" fmla="*/ 0 w 3761428"/>
              <a:gd name="connsiteY1" fmla="*/ 1008112 h 1008112"/>
              <a:gd name="connsiteX2" fmla="*/ 0 w 3761428"/>
              <a:gd name="connsiteY2" fmla="*/ 0 h 1008112"/>
              <a:gd name="connsiteX3" fmla="*/ 3761428 w 3761428"/>
              <a:gd name="connsiteY3" fmla="*/ 6381 h 1008112"/>
              <a:gd name="connsiteX0" fmla="*/ 3744416 w 3747714"/>
              <a:gd name="connsiteY0" fmla="*/ 1012372 h 1012372"/>
              <a:gd name="connsiteX1" fmla="*/ 0 w 3747714"/>
              <a:gd name="connsiteY1" fmla="*/ 1012372 h 1012372"/>
              <a:gd name="connsiteX2" fmla="*/ 0 w 3747714"/>
              <a:gd name="connsiteY2" fmla="*/ 4260 h 1012372"/>
              <a:gd name="connsiteX3" fmla="*/ 3747714 w 3747714"/>
              <a:gd name="connsiteY3" fmla="*/ 0 h 1012372"/>
              <a:gd name="connsiteX0" fmla="*/ 1874042 w 3747714"/>
              <a:gd name="connsiteY0" fmla="*/ 1010243 h 1012372"/>
              <a:gd name="connsiteX1" fmla="*/ 0 w 3747714"/>
              <a:gd name="connsiteY1" fmla="*/ 1012372 h 1012372"/>
              <a:gd name="connsiteX2" fmla="*/ 0 w 3747714"/>
              <a:gd name="connsiteY2" fmla="*/ 4260 h 1012372"/>
              <a:gd name="connsiteX3" fmla="*/ 3747714 w 3747714"/>
              <a:gd name="connsiteY3" fmla="*/ 0 h 1012372"/>
              <a:gd name="connsiteX0" fmla="*/ 1767261 w 3747714"/>
              <a:gd name="connsiteY0" fmla="*/ 1012372 h 1012372"/>
              <a:gd name="connsiteX1" fmla="*/ 0 w 3747714"/>
              <a:gd name="connsiteY1" fmla="*/ 1012372 h 1012372"/>
              <a:gd name="connsiteX2" fmla="*/ 0 w 3747714"/>
              <a:gd name="connsiteY2" fmla="*/ 4260 h 1012372"/>
              <a:gd name="connsiteX3" fmla="*/ 3747714 w 3747714"/>
              <a:gd name="connsiteY3" fmla="*/ 0 h 1012372"/>
              <a:gd name="connsiteX0" fmla="*/ 1770943 w 3747714"/>
              <a:gd name="connsiteY0" fmla="*/ 1005984 h 1012372"/>
              <a:gd name="connsiteX1" fmla="*/ 0 w 3747714"/>
              <a:gd name="connsiteY1" fmla="*/ 1012372 h 1012372"/>
              <a:gd name="connsiteX2" fmla="*/ 0 w 3747714"/>
              <a:gd name="connsiteY2" fmla="*/ 4260 h 1012372"/>
              <a:gd name="connsiteX3" fmla="*/ 3747714 w 3747714"/>
              <a:gd name="connsiteY3" fmla="*/ 0 h 1012372"/>
            </a:gdLst>
            <a:ahLst/>
            <a:cxnLst>
              <a:cxn ang="0">
                <a:pos x="connsiteX0" y="connsiteY0"/>
              </a:cxn>
              <a:cxn ang="0">
                <a:pos x="connsiteX1" y="connsiteY1"/>
              </a:cxn>
              <a:cxn ang="0">
                <a:pos x="connsiteX2" y="connsiteY2"/>
              </a:cxn>
              <a:cxn ang="0">
                <a:pos x="connsiteX3" y="connsiteY3"/>
              </a:cxn>
            </a:cxnLst>
            <a:rect l="l" t="t" r="r" b="b"/>
            <a:pathLst>
              <a:path w="3747714" h="1012372">
                <a:moveTo>
                  <a:pt x="1770943" y="1005984"/>
                </a:moveTo>
                <a:lnTo>
                  <a:pt x="0" y="1012372"/>
                </a:lnTo>
                <a:lnTo>
                  <a:pt x="0" y="4260"/>
                </a:lnTo>
                <a:lnTo>
                  <a:pt x="3747714" y="0"/>
                </a:lnTo>
              </a:path>
            </a:pathLst>
          </a:custGeom>
          <a:noFill/>
          <a:ln w="47625">
            <a:solidFill>
              <a:srgbClr val="52CB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25" dirty="0"/>
          </a:p>
        </p:txBody>
      </p:sp>
      <p:sp>
        <p:nvSpPr>
          <p:cNvPr id="14" name="Content Placeholder 2"/>
          <p:cNvSpPr txBox="1">
            <a:spLocks/>
          </p:cNvSpPr>
          <p:nvPr/>
        </p:nvSpPr>
        <p:spPr>
          <a:xfrm>
            <a:off x="838200" y="976144"/>
            <a:ext cx="6092954" cy="3809556"/>
          </a:xfrm>
          <a:prstGeom prst="rect">
            <a:avLst/>
          </a:prstGeom>
        </p:spPr>
        <p:txBody>
          <a:bodyPr>
            <a:noAutofit/>
          </a:bodyPr>
          <a:lstStyle>
            <a:lvl1pPr marL="342892" indent="-342892" algn="l" defTabSz="91437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31" indent="-285743" algn="l" defTabSz="91437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72" indent="-228594" algn="l" defTabSz="91437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60"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48"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200000"/>
              </a:lnSpc>
              <a:buFont typeface="Wingdings" pitchFamily="2" charset="2"/>
              <a:buChar char="§"/>
            </a:pPr>
            <a:r>
              <a:rPr lang="en-US" sz="1800" dirty="0">
                <a:latin typeface="Gotham Medium" panose="02000603030000020004" pitchFamily="2" charset="0"/>
              </a:rPr>
              <a:t>Too many engineers in the market.</a:t>
            </a:r>
          </a:p>
          <a:p>
            <a:pPr>
              <a:lnSpc>
                <a:spcPct val="200000"/>
              </a:lnSpc>
              <a:buFont typeface="Wingdings" pitchFamily="2" charset="2"/>
              <a:buChar char="§"/>
            </a:pPr>
            <a:r>
              <a:rPr lang="en-US" sz="1800" dirty="0">
                <a:latin typeface="Gotham Medium" panose="02000603030000020004" pitchFamily="2" charset="0"/>
              </a:rPr>
              <a:t>There are </a:t>
            </a:r>
            <a:r>
              <a:rPr lang="en-US" sz="1800" dirty="0">
                <a:solidFill>
                  <a:srgbClr val="FF0000"/>
                </a:solidFill>
                <a:latin typeface="Gotham Medium" panose="02000603030000020004" pitchFamily="2" charset="0"/>
              </a:rPr>
              <a:t>NO JOBS </a:t>
            </a:r>
            <a:r>
              <a:rPr lang="en-US" sz="1800" dirty="0">
                <a:latin typeface="Gotham Medium" panose="02000603030000020004" pitchFamily="2" charset="0"/>
              </a:rPr>
              <a:t>for engineers.</a:t>
            </a:r>
          </a:p>
          <a:p>
            <a:pPr>
              <a:lnSpc>
                <a:spcPct val="200000"/>
              </a:lnSpc>
              <a:buFont typeface="Wingdings" pitchFamily="2" charset="2"/>
              <a:buChar char="§"/>
            </a:pPr>
            <a:r>
              <a:rPr lang="en-US" sz="1800" dirty="0">
                <a:latin typeface="Gotham Medium" panose="02000603030000020004" pitchFamily="2" charset="0"/>
              </a:rPr>
              <a:t>Engineering means only ‘Computer Science’.</a:t>
            </a:r>
          </a:p>
          <a:p>
            <a:pPr>
              <a:lnSpc>
                <a:spcPct val="200000"/>
              </a:lnSpc>
              <a:buFont typeface="Wingdings" pitchFamily="2" charset="2"/>
              <a:buChar char="§"/>
            </a:pPr>
            <a:r>
              <a:rPr lang="en-US" sz="1800" dirty="0">
                <a:latin typeface="Gotham Medium" panose="02000603030000020004" pitchFamily="2" charset="0"/>
              </a:rPr>
              <a:t>Jobs for engineers are only in IT sector.</a:t>
            </a:r>
          </a:p>
          <a:p>
            <a:pPr>
              <a:lnSpc>
                <a:spcPct val="200000"/>
              </a:lnSpc>
              <a:buFont typeface="Wingdings" pitchFamily="2" charset="2"/>
              <a:buChar char="§"/>
            </a:pPr>
            <a:r>
              <a:rPr lang="en-US" sz="1800" dirty="0">
                <a:latin typeface="Gotham Medium" panose="02000603030000020004" pitchFamily="2" charset="0"/>
              </a:rPr>
              <a:t>Engineering is men’s field.</a:t>
            </a:r>
          </a:p>
          <a:p>
            <a:pPr>
              <a:lnSpc>
                <a:spcPct val="200000"/>
              </a:lnSpc>
              <a:buFont typeface="Wingdings" pitchFamily="2" charset="2"/>
              <a:buChar char="§"/>
            </a:pPr>
            <a:r>
              <a:rPr lang="en-US" sz="1800" dirty="0">
                <a:latin typeface="Gotham Medium" panose="02000603030000020004" pitchFamily="2" charset="0"/>
              </a:rPr>
              <a:t>Engineering is very costly.</a:t>
            </a:r>
          </a:p>
        </p:txBody>
      </p:sp>
      <p:sp>
        <p:nvSpPr>
          <p:cNvPr id="16" name="Text Placeholder 1"/>
          <p:cNvSpPr txBox="1">
            <a:spLocks/>
          </p:cNvSpPr>
          <p:nvPr/>
        </p:nvSpPr>
        <p:spPr>
          <a:xfrm>
            <a:off x="559383" y="430390"/>
            <a:ext cx="8153400" cy="526319"/>
          </a:xfrm>
          <a:prstGeom prst="rect">
            <a:avLst/>
          </a:prstGeom>
        </p:spPr>
        <p:txBody>
          <a:bodyPr/>
          <a:lstStyle>
            <a:lvl1pPr marL="342892" indent="-342892" algn="l" defTabSz="91437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31" indent="-285743" algn="l" defTabSz="91437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72" indent="-228594" algn="l" defTabSz="91437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60"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48"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dirty="0">
                <a:solidFill>
                  <a:srgbClr val="FF5969"/>
                </a:solidFill>
                <a:latin typeface="Gotham Bold" panose="02000803030000020004" pitchFamily="2" charset="0"/>
              </a:rPr>
              <a:t>Misconceptions / Myths about Engineering</a:t>
            </a:r>
            <a:endParaRPr lang="en-US" sz="2800" dirty="0">
              <a:solidFill>
                <a:srgbClr val="FF5969"/>
              </a:solidFill>
              <a:latin typeface="Gotham Bold" panose="02000803030000020004" pitchFamily="2" charset="0"/>
            </a:endParaRPr>
          </a:p>
        </p:txBody>
      </p:sp>
      <p:pic>
        <p:nvPicPr>
          <p:cNvPr id="7170" name="Picture 2" descr="Hand with marker writing the word Facts Myths">
            <a:extLst>
              <a:ext uri="{FF2B5EF4-FFF2-40B4-BE49-F238E27FC236}">
                <a16:creationId xmlns:a16="http://schemas.microsoft.com/office/drawing/2014/main" id="{02015909-9B3E-47D3-9CC8-F243865C6DBF}"/>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9786" b="99083" l="10000" r="90000">
                        <a14:foregroundMark x1="39567" y1="25985" x2="38000" y2="31804"/>
                        <a14:foregroundMark x1="42200" y1="16208" x2="41799" y2="17696"/>
                        <a14:foregroundMark x1="38000" y1="31804" x2="37600" y2="37615"/>
                        <a14:foregroundMark x1="50979" y1="29052" x2="51800" y2="33333"/>
                        <a14:foregroundMark x1="48400" y1="15596" x2="50511" y2="26606"/>
                        <a14:foregroundMark x1="55387" y1="22516" x2="55000" y2="22936"/>
                        <a14:foregroundMark x1="59800" y1="17737" x2="58477" y2="19170"/>
                        <a14:foregroundMark x1="63200" y1="15596" x2="69000" y2="15596"/>
                        <a14:foregroundMark x1="77600" y1="17431" x2="71600" y2="16514"/>
                        <a14:foregroundMark x1="25200" y1="92661" x2="27600" y2="99083"/>
                        <a14:backgroundMark x1="40000" y1="20795" x2="40600" y2="20489"/>
                        <a14:backgroundMark x1="41200" y1="19878" x2="42200" y2="19878"/>
                        <a14:backgroundMark x1="39600" y1="24465" x2="40200" y2="24465"/>
                        <a14:backgroundMark x1="41400" y1="18654" x2="42200" y2="18654"/>
                        <a14:backgroundMark x1="57800" y1="19878" x2="57800" y2="19266"/>
                        <a14:backgroundMark x1="57000" y1="20795" x2="57800" y2="20795"/>
                        <a14:backgroundMark x1="48400" y1="26606" x2="48400" y2="29052"/>
                        <a14:backgroundMark x1="56800" y1="21101" x2="56800" y2="22018"/>
                        <a14:backgroundMark x1="53000" y1="55046" x2="54200" y2="55046"/>
                        <a14:backgroundMark x1="62400" y1="53823" x2="63600" y2="53823"/>
                        <a14:backgroundMark x1="67600" y1="52294" x2="68600" y2="51988"/>
                        <a14:backgroundMark x1="27200" y1="45260" x2="27200" y2="45260"/>
                        <a14:backgroundMark x1="56200" y1="21101" x2="56400" y2="22018"/>
                      </a14:backgroundRemoval>
                    </a14:imgEffect>
                  </a14:imgLayer>
                </a14:imgProps>
              </a:ext>
              <a:ext uri="{28A0092B-C50C-407E-A947-70E740481C1C}">
                <a14:useLocalDpi xmlns:a14="http://schemas.microsoft.com/office/drawing/2010/main" val="0"/>
              </a:ext>
            </a:extLst>
          </a:blip>
          <a:srcRect l="10917" t="11128" r="12668"/>
          <a:stretch/>
        </p:blipFill>
        <p:spPr bwMode="auto">
          <a:xfrm>
            <a:off x="5817183" y="2941083"/>
            <a:ext cx="2895600" cy="22024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069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xEl>
                                              <p:pRg st="0" end="0"/>
                                            </p:txEl>
                                          </p:spTgt>
                                        </p:tgtEl>
                                        <p:attrNameLst>
                                          <p:attrName>style.visibility</p:attrName>
                                        </p:attrNameLst>
                                      </p:cBhvr>
                                      <p:to>
                                        <p:strVal val="visible"/>
                                      </p:to>
                                    </p:set>
                                    <p:animEffect transition="in" filter="fade">
                                      <p:cBhvr>
                                        <p:cTn id="12" dur="500"/>
                                        <p:tgtEl>
                                          <p:spTgt spid="14">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xEl>
                                              <p:pRg st="1" end="1"/>
                                            </p:txEl>
                                          </p:spTgt>
                                        </p:tgtEl>
                                        <p:attrNameLst>
                                          <p:attrName>style.visibility</p:attrName>
                                        </p:attrNameLst>
                                      </p:cBhvr>
                                      <p:to>
                                        <p:strVal val="visible"/>
                                      </p:to>
                                    </p:set>
                                    <p:animEffect transition="in" filter="fade">
                                      <p:cBhvr>
                                        <p:cTn id="17" dur="500"/>
                                        <p:tgtEl>
                                          <p:spTgt spid="14">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xEl>
                                              <p:pRg st="2" end="2"/>
                                            </p:txEl>
                                          </p:spTgt>
                                        </p:tgtEl>
                                        <p:attrNameLst>
                                          <p:attrName>style.visibility</p:attrName>
                                        </p:attrNameLst>
                                      </p:cBhvr>
                                      <p:to>
                                        <p:strVal val="visible"/>
                                      </p:to>
                                    </p:set>
                                    <p:animEffect transition="in" filter="fade">
                                      <p:cBhvr>
                                        <p:cTn id="22" dur="500"/>
                                        <p:tgtEl>
                                          <p:spTgt spid="14">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xEl>
                                              <p:pRg st="3" end="3"/>
                                            </p:txEl>
                                          </p:spTgt>
                                        </p:tgtEl>
                                        <p:attrNameLst>
                                          <p:attrName>style.visibility</p:attrName>
                                        </p:attrNameLst>
                                      </p:cBhvr>
                                      <p:to>
                                        <p:strVal val="visible"/>
                                      </p:to>
                                    </p:set>
                                    <p:animEffect transition="in" filter="fade">
                                      <p:cBhvr>
                                        <p:cTn id="27" dur="500"/>
                                        <p:tgtEl>
                                          <p:spTgt spid="14">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4">
                                            <p:txEl>
                                              <p:pRg st="4" end="4"/>
                                            </p:txEl>
                                          </p:spTgt>
                                        </p:tgtEl>
                                        <p:attrNameLst>
                                          <p:attrName>style.visibility</p:attrName>
                                        </p:attrNameLst>
                                      </p:cBhvr>
                                      <p:to>
                                        <p:strVal val="visible"/>
                                      </p:to>
                                    </p:set>
                                    <p:animEffect transition="in" filter="fade">
                                      <p:cBhvr>
                                        <p:cTn id="32" dur="500"/>
                                        <p:tgtEl>
                                          <p:spTgt spid="14">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4">
                                            <p:txEl>
                                              <p:pRg st="5" end="5"/>
                                            </p:txEl>
                                          </p:spTgt>
                                        </p:tgtEl>
                                        <p:attrNameLst>
                                          <p:attrName>style.visibility</p:attrName>
                                        </p:attrNameLst>
                                      </p:cBhvr>
                                      <p:to>
                                        <p:strVal val="visible"/>
                                      </p:to>
                                    </p:set>
                                    <p:animEffect transition="in" filter="fade">
                                      <p:cBhvr>
                                        <p:cTn id="37" dur="500"/>
                                        <p:tgtEl>
                                          <p:spTgt spid="1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77" descr="Presentations background 3D model - TurboSquid 1163407">
            <a:extLst>
              <a:ext uri="{FF2B5EF4-FFF2-40B4-BE49-F238E27FC236}">
                <a16:creationId xmlns:a16="http://schemas.microsoft.com/office/drawing/2014/main" id="{B58A3B66-E6D9-4F3D-8A61-EBCE1B4C1911}"/>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0" y="-1"/>
            <a:ext cx="9142412" cy="51435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6BAE015D-47D1-4E48-8E90-3697142C75CA}"/>
              </a:ext>
            </a:extLst>
          </p:cNvPr>
          <p:cNvSpPr/>
          <p:nvPr/>
        </p:nvSpPr>
        <p:spPr>
          <a:xfrm>
            <a:off x="2057400" y="1872476"/>
            <a:ext cx="7086600" cy="1496146"/>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grpSp>
        <p:nvGrpSpPr>
          <p:cNvPr id="2" name="Group 1">
            <a:extLst>
              <a:ext uri="{FF2B5EF4-FFF2-40B4-BE49-F238E27FC236}">
                <a16:creationId xmlns:a16="http://schemas.microsoft.com/office/drawing/2014/main" id="{54EEDD90-704E-4878-AF8D-68076816A27C}"/>
              </a:ext>
            </a:extLst>
          </p:cNvPr>
          <p:cNvGrpSpPr/>
          <p:nvPr/>
        </p:nvGrpSpPr>
        <p:grpSpPr>
          <a:xfrm>
            <a:off x="268941" y="742950"/>
            <a:ext cx="2438400" cy="3496230"/>
            <a:chOff x="457200" y="590550"/>
            <a:chExt cx="2979057" cy="4182030"/>
          </a:xfrm>
        </p:grpSpPr>
        <p:sp>
          <p:nvSpPr>
            <p:cNvPr id="12" name="Freeform: Shape 11">
              <a:extLst>
                <a:ext uri="{FF2B5EF4-FFF2-40B4-BE49-F238E27FC236}">
                  <a16:creationId xmlns:a16="http://schemas.microsoft.com/office/drawing/2014/main" id="{07097967-BC15-498E-939C-AE11970C5D94}"/>
                </a:ext>
              </a:extLst>
            </p:cNvPr>
            <p:cNvSpPr>
              <a:spLocks/>
            </p:cNvSpPr>
            <p:nvPr/>
          </p:nvSpPr>
          <p:spPr bwMode="auto">
            <a:xfrm rot="410959" flipH="1">
              <a:off x="794188" y="1474662"/>
              <a:ext cx="2305082" cy="3297918"/>
            </a:xfrm>
            <a:custGeom>
              <a:avLst/>
              <a:gdLst>
                <a:gd name="connsiteX0" fmla="*/ 1696267 w 2854049"/>
                <a:gd name="connsiteY0" fmla="*/ 3431657 h 4135471"/>
                <a:gd name="connsiteX1" fmla="*/ 1344360 w 2854049"/>
                <a:gd name="connsiteY1" fmla="*/ 3783564 h 4135471"/>
                <a:gd name="connsiteX2" fmla="*/ 1696267 w 2854049"/>
                <a:gd name="connsiteY2" fmla="*/ 4135471 h 4135471"/>
                <a:gd name="connsiteX3" fmla="*/ 2048174 w 2854049"/>
                <a:gd name="connsiteY3" fmla="*/ 3783564 h 4135471"/>
                <a:gd name="connsiteX4" fmla="*/ 1696267 w 2854049"/>
                <a:gd name="connsiteY4" fmla="*/ 3431657 h 4135471"/>
                <a:gd name="connsiteX5" fmla="*/ 1470680 w 2854049"/>
                <a:gd name="connsiteY5" fmla="*/ 0 h 4135471"/>
                <a:gd name="connsiteX6" fmla="*/ 1360088 w 2854049"/>
                <a:gd name="connsiteY6" fmla="*/ 9020 h 4135471"/>
                <a:gd name="connsiteX7" fmla="*/ 1082638 w 2854049"/>
                <a:gd name="connsiteY7" fmla="*/ 72152 h 4135471"/>
                <a:gd name="connsiteX8" fmla="*/ 1000179 w 2854049"/>
                <a:gd name="connsiteY8" fmla="*/ 103217 h 4135471"/>
                <a:gd name="connsiteX9" fmla="*/ 918691 w 2854049"/>
                <a:gd name="connsiteY9" fmla="*/ 138291 h 4135471"/>
                <a:gd name="connsiteX10" fmla="*/ 839141 w 2854049"/>
                <a:gd name="connsiteY10" fmla="*/ 180379 h 4135471"/>
                <a:gd name="connsiteX11" fmla="*/ 765414 w 2854049"/>
                <a:gd name="connsiteY11" fmla="*/ 227479 h 4135471"/>
                <a:gd name="connsiteX12" fmla="*/ 694595 w 2854049"/>
                <a:gd name="connsiteY12" fmla="*/ 280591 h 4135471"/>
                <a:gd name="connsiteX13" fmla="*/ 629599 w 2854049"/>
                <a:gd name="connsiteY13" fmla="*/ 338714 h 4135471"/>
                <a:gd name="connsiteX14" fmla="*/ 569452 w 2854049"/>
                <a:gd name="connsiteY14" fmla="*/ 401847 h 4135471"/>
                <a:gd name="connsiteX15" fmla="*/ 515126 w 2854049"/>
                <a:gd name="connsiteY15" fmla="*/ 470992 h 4135471"/>
                <a:gd name="connsiteX16" fmla="*/ 467591 w 2854049"/>
                <a:gd name="connsiteY16" fmla="*/ 544147 h 4135471"/>
                <a:gd name="connsiteX17" fmla="*/ 426847 w 2854049"/>
                <a:gd name="connsiteY17" fmla="*/ 622311 h 4135471"/>
                <a:gd name="connsiteX18" fmla="*/ 392893 w 2854049"/>
                <a:gd name="connsiteY18" fmla="*/ 706488 h 4135471"/>
                <a:gd name="connsiteX19" fmla="*/ 338568 w 2854049"/>
                <a:gd name="connsiteY19" fmla="*/ 937976 h 4135471"/>
                <a:gd name="connsiteX20" fmla="*/ 333717 w 2854049"/>
                <a:gd name="connsiteY20" fmla="*/ 994094 h 4135471"/>
                <a:gd name="connsiteX21" fmla="*/ 331776 w 2854049"/>
                <a:gd name="connsiteY21" fmla="*/ 1047206 h 4135471"/>
                <a:gd name="connsiteX22" fmla="*/ 333717 w 2854049"/>
                <a:gd name="connsiteY22" fmla="*/ 1096308 h 4135471"/>
                <a:gd name="connsiteX23" fmla="*/ 334686 w 2854049"/>
                <a:gd name="connsiteY23" fmla="*/ 1145413 h 4135471"/>
                <a:gd name="connsiteX24" fmla="*/ 334686 w 2854049"/>
                <a:gd name="connsiteY24" fmla="*/ 1191509 h 4135471"/>
                <a:gd name="connsiteX25" fmla="*/ 329836 w 2854049"/>
                <a:gd name="connsiteY25" fmla="*/ 1234599 h 4135471"/>
                <a:gd name="connsiteX26" fmla="*/ 315284 w 2854049"/>
                <a:gd name="connsiteY26" fmla="*/ 1278693 h 4135471"/>
                <a:gd name="connsiteX27" fmla="*/ 289092 w 2854049"/>
                <a:gd name="connsiteY27" fmla="*/ 1331805 h 4135471"/>
                <a:gd name="connsiteX28" fmla="*/ 257078 w 2854049"/>
                <a:gd name="connsiteY28" fmla="*/ 1380908 h 4135471"/>
                <a:gd name="connsiteX29" fmla="*/ 222155 w 2854049"/>
                <a:gd name="connsiteY29" fmla="*/ 1423998 h 4135471"/>
                <a:gd name="connsiteX30" fmla="*/ 185291 w 2854049"/>
                <a:gd name="connsiteY30" fmla="*/ 1468092 h 4135471"/>
                <a:gd name="connsiteX31" fmla="*/ 146487 w 2854049"/>
                <a:gd name="connsiteY31" fmla="*/ 1508176 h 4135471"/>
                <a:gd name="connsiteX32" fmla="*/ 107683 w 2854049"/>
                <a:gd name="connsiteY32" fmla="*/ 1548261 h 4135471"/>
                <a:gd name="connsiteX33" fmla="*/ 70819 w 2854049"/>
                <a:gd name="connsiteY33" fmla="*/ 1592354 h 4135471"/>
                <a:gd name="connsiteX34" fmla="*/ 58206 w 2854049"/>
                <a:gd name="connsiteY34" fmla="*/ 1604378 h 4135471"/>
                <a:gd name="connsiteX35" fmla="*/ 42684 w 2854049"/>
                <a:gd name="connsiteY35" fmla="*/ 1619410 h 4135471"/>
                <a:gd name="connsiteX36" fmla="*/ 26193 w 2854049"/>
                <a:gd name="connsiteY36" fmla="*/ 1637448 h 4135471"/>
                <a:gd name="connsiteX37" fmla="*/ 12611 w 2854049"/>
                <a:gd name="connsiteY37" fmla="*/ 1655486 h 4135471"/>
                <a:gd name="connsiteX38" fmla="*/ 3882 w 2854049"/>
                <a:gd name="connsiteY38" fmla="*/ 1677533 h 4135471"/>
                <a:gd name="connsiteX39" fmla="*/ 0 w 2854049"/>
                <a:gd name="connsiteY39" fmla="*/ 1701583 h 4135471"/>
                <a:gd name="connsiteX40" fmla="*/ 4851 w 2854049"/>
                <a:gd name="connsiteY40" fmla="*/ 1726636 h 4135471"/>
                <a:gd name="connsiteX41" fmla="*/ 17462 w 2854049"/>
                <a:gd name="connsiteY41" fmla="*/ 1750687 h 4135471"/>
                <a:gd name="connsiteX42" fmla="*/ 38806 w 2854049"/>
                <a:gd name="connsiteY42" fmla="*/ 1770728 h 4135471"/>
                <a:gd name="connsiteX43" fmla="*/ 63057 w 2854049"/>
                <a:gd name="connsiteY43" fmla="*/ 1784759 h 4135471"/>
                <a:gd name="connsiteX44" fmla="*/ 93130 w 2854049"/>
                <a:gd name="connsiteY44" fmla="*/ 1797786 h 4135471"/>
                <a:gd name="connsiteX45" fmla="*/ 125143 w 2854049"/>
                <a:gd name="connsiteY45" fmla="*/ 1808809 h 4135471"/>
                <a:gd name="connsiteX46" fmla="*/ 157158 w 2854049"/>
                <a:gd name="connsiteY46" fmla="*/ 1819833 h 4135471"/>
                <a:gd name="connsiteX47" fmla="*/ 188201 w 2854049"/>
                <a:gd name="connsiteY47" fmla="*/ 1830855 h 4135471"/>
                <a:gd name="connsiteX48" fmla="*/ 218273 w 2854049"/>
                <a:gd name="connsiteY48" fmla="*/ 1843883 h 4135471"/>
                <a:gd name="connsiteX49" fmla="*/ 245437 w 2854049"/>
                <a:gd name="connsiteY49" fmla="*/ 1857912 h 4135471"/>
                <a:gd name="connsiteX50" fmla="*/ 264839 w 2854049"/>
                <a:gd name="connsiteY50" fmla="*/ 1875951 h 4135471"/>
                <a:gd name="connsiteX51" fmla="*/ 259018 w 2854049"/>
                <a:gd name="connsiteY51" fmla="*/ 1900001 h 4135471"/>
                <a:gd name="connsiteX52" fmla="*/ 248347 w 2854049"/>
                <a:gd name="connsiteY52" fmla="*/ 1922047 h 4135471"/>
                <a:gd name="connsiteX53" fmla="*/ 237676 w 2854049"/>
                <a:gd name="connsiteY53" fmla="*/ 1945097 h 4135471"/>
                <a:gd name="connsiteX54" fmla="*/ 226035 w 2854049"/>
                <a:gd name="connsiteY54" fmla="*/ 1967142 h 4135471"/>
                <a:gd name="connsiteX55" fmla="*/ 215364 w 2854049"/>
                <a:gd name="connsiteY55" fmla="*/ 1989189 h 4135471"/>
                <a:gd name="connsiteX56" fmla="*/ 207602 w 2854049"/>
                <a:gd name="connsiteY56" fmla="*/ 2011236 h 4135471"/>
                <a:gd name="connsiteX57" fmla="*/ 204693 w 2854049"/>
                <a:gd name="connsiteY57" fmla="*/ 2031277 h 4135471"/>
                <a:gd name="connsiteX58" fmla="*/ 206633 w 2854049"/>
                <a:gd name="connsiteY58" fmla="*/ 2053324 h 4135471"/>
                <a:gd name="connsiteX59" fmla="*/ 217304 w 2854049"/>
                <a:gd name="connsiteY59" fmla="*/ 2073366 h 4135471"/>
                <a:gd name="connsiteX60" fmla="*/ 236706 w 2854049"/>
                <a:gd name="connsiteY60" fmla="*/ 2093409 h 4135471"/>
                <a:gd name="connsiteX61" fmla="*/ 264839 w 2854049"/>
                <a:gd name="connsiteY61" fmla="*/ 2113450 h 4135471"/>
                <a:gd name="connsiteX62" fmla="*/ 259018 w 2854049"/>
                <a:gd name="connsiteY62" fmla="*/ 2129483 h 4135471"/>
                <a:gd name="connsiteX63" fmla="*/ 250288 w 2854049"/>
                <a:gd name="connsiteY63" fmla="*/ 2145517 h 4135471"/>
                <a:gd name="connsiteX64" fmla="*/ 243497 w 2854049"/>
                <a:gd name="connsiteY64" fmla="*/ 2164557 h 4135471"/>
                <a:gd name="connsiteX65" fmla="*/ 241557 w 2854049"/>
                <a:gd name="connsiteY65" fmla="*/ 2184601 h 4135471"/>
                <a:gd name="connsiteX66" fmla="*/ 245437 w 2854049"/>
                <a:gd name="connsiteY66" fmla="*/ 2204642 h 4135471"/>
                <a:gd name="connsiteX67" fmla="*/ 256109 w 2854049"/>
                <a:gd name="connsiteY67" fmla="*/ 2222680 h 4135471"/>
                <a:gd name="connsiteX68" fmla="*/ 269690 w 2854049"/>
                <a:gd name="connsiteY68" fmla="*/ 2236709 h 4135471"/>
                <a:gd name="connsiteX69" fmla="*/ 287151 w 2854049"/>
                <a:gd name="connsiteY69" fmla="*/ 2249737 h 4135471"/>
                <a:gd name="connsiteX70" fmla="*/ 304613 w 2854049"/>
                <a:gd name="connsiteY70" fmla="*/ 2258756 h 4135471"/>
                <a:gd name="connsiteX71" fmla="*/ 321105 w 2854049"/>
                <a:gd name="connsiteY71" fmla="*/ 2269780 h 4135471"/>
                <a:gd name="connsiteX72" fmla="*/ 336627 w 2854049"/>
                <a:gd name="connsiteY72" fmla="*/ 2284810 h 4135471"/>
                <a:gd name="connsiteX73" fmla="*/ 345358 w 2854049"/>
                <a:gd name="connsiteY73" fmla="*/ 2300845 h 4135471"/>
                <a:gd name="connsiteX74" fmla="*/ 354089 w 2854049"/>
                <a:gd name="connsiteY74" fmla="*/ 2329906 h 4135471"/>
                <a:gd name="connsiteX75" fmla="*/ 354089 w 2854049"/>
                <a:gd name="connsiteY75" fmla="*/ 2362976 h 4135471"/>
                <a:gd name="connsiteX76" fmla="*/ 351179 w 2854049"/>
                <a:gd name="connsiteY76" fmla="*/ 2394041 h 4135471"/>
                <a:gd name="connsiteX77" fmla="*/ 343417 w 2854049"/>
                <a:gd name="connsiteY77" fmla="*/ 2426108 h 4135471"/>
                <a:gd name="connsiteX78" fmla="*/ 336627 w 2854049"/>
                <a:gd name="connsiteY78" fmla="*/ 2457173 h 4135471"/>
                <a:gd name="connsiteX79" fmla="*/ 331776 w 2854049"/>
                <a:gd name="connsiteY79" fmla="*/ 2485233 h 4135471"/>
                <a:gd name="connsiteX80" fmla="*/ 327896 w 2854049"/>
                <a:gd name="connsiteY80" fmla="*/ 2525318 h 4135471"/>
                <a:gd name="connsiteX81" fmla="*/ 331776 w 2854049"/>
                <a:gd name="connsiteY81" fmla="*/ 2561393 h 4135471"/>
                <a:gd name="connsiteX82" fmla="*/ 342447 w 2854049"/>
                <a:gd name="connsiteY82" fmla="*/ 2594464 h 4135471"/>
                <a:gd name="connsiteX83" fmla="*/ 356029 w 2854049"/>
                <a:gd name="connsiteY83" fmla="*/ 2623524 h 4135471"/>
                <a:gd name="connsiteX84" fmla="*/ 375432 w 2854049"/>
                <a:gd name="connsiteY84" fmla="*/ 2646572 h 4135471"/>
                <a:gd name="connsiteX85" fmla="*/ 400654 w 2854049"/>
                <a:gd name="connsiteY85" fmla="*/ 2668619 h 4135471"/>
                <a:gd name="connsiteX86" fmla="*/ 424906 w 2854049"/>
                <a:gd name="connsiteY86" fmla="*/ 2686657 h 4135471"/>
                <a:gd name="connsiteX87" fmla="*/ 453040 w 2854049"/>
                <a:gd name="connsiteY87" fmla="*/ 2701688 h 4135471"/>
                <a:gd name="connsiteX88" fmla="*/ 481173 w 2854049"/>
                <a:gd name="connsiteY88" fmla="*/ 2714717 h 4135471"/>
                <a:gd name="connsiteX89" fmla="*/ 509306 w 2854049"/>
                <a:gd name="connsiteY89" fmla="*/ 2721731 h 4135471"/>
                <a:gd name="connsiteX90" fmla="*/ 560721 w 2854049"/>
                <a:gd name="connsiteY90" fmla="*/ 2730751 h 4135471"/>
                <a:gd name="connsiteX91" fmla="*/ 615047 w 2854049"/>
                <a:gd name="connsiteY91" fmla="*/ 2734758 h 4135471"/>
                <a:gd name="connsiteX92" fmla="*/ 672284 w 2854049"/>
                <a:gd name="connsiteY92" fmla="*/ 2732755 h 4135471"/>
                <a:gd name="connsiteX93" fmla="*/ 728550 w 2854049"/>
                <a:gd name="connsiteY93" fmla="*/ 2726742 h 4135471"/>
                <a:gd name="connsiteX94" fmla="*/ 784816 w 2854049"/>
                <a:gd name="connsiteY94" fmla="*/ 2719726 h 4135471"/>
                <a:gd name="connsiteX95" fmla="*/ 838171 w 2854049"/>
                <a:gd name="connsiteY95" fmla="*/ 2708704 h 4135471"/>
                <a:gd name="connsiteX96" fmla="*/ 885706 w 2854049"/>
                <a:gd name="connsiteY96" fmla="*/ 2695677 h 4135471"/>
                <a:gd name="connsiteX97" fmla="*/ 927421 w 2854049"/>
                <a:gd name="connsiteY97" fmla="*/ 2681646 h 4135471"/>
                <a:gd name="connsiteX98" fmla="*/ 944882 w 2854049"/>
                <a:gd name="connsiteY98" fmla="*/ 2675633 h 4135471"/>
                <a:gd name="connsiteX99" fmla="*/ 968165 w 2854049"/>
                <a:gd name="connsiteY99" fmla="*/ 2668619 h 4135471"/>
                <a:gd name="connsiteX100" fmla="*/ 993388 w 2854049"/>
                <a:gd name="connsiteY100" fmla="*/ 2661605 h 4135471"/>
                <a:gd name="connsiteX101" fmla="*/ 1019581 w 2854049"/>
                <a:gd name="connsiteY101" fmla="*/ 2654590 h 4135471"/>
                <a:gd name="connsiteX102" fmla="*/ 1047714 w 2854049"/>
                <a:gd name="connsiteY102" fmla="*/ 2650582 h 4135471"/>
                <a:gd name="connsiteX103" fmla="*/ 1075847 w 2854049"/>
                <a:gd name="connsiteY103" fmla="*/ 2648577 h 4135471"/>
                <a:gd name="connsiteX104" fmla="*/ 1100100 w 2854049"/>
                <a:gd name="connsiteY104" fmla="*/ 2652585 h 4135471"/>
                <a:gd name="connsiteX105" fmla="*/ 1121442 w 2854049"/>
                <a:gd name="connsiteY105" fmla="*/ 2661605 h 4135471"/>
                <a:gd name="connsiteX106" fmla="*/ 1140844 w 2854049"/>
                <a:gd name="connsiteY106" fmla="*/ 2679643 h 4135471"/>
                <a:gd name="connsiteX107" fmla="*/ 1158306 w 2854049"/>
                <a:gd name="connsiteY107" fmla="*/ 2708704 h 4135471"/>
                <a:gd name="connsiteX108" fmla="*/ 1174797 w 2854049"/>
                <a:gd name="connsiteY108" fmla="*/ 2745782 h 4135471"/>
                <a:gd name="connsiteX109" fmla="*/ 1190319 w 2854049"/>
                <a:gd name="connsiteY109" fmla="*/ 2788872 h 4135471"/>
                <a:gd name="connsiteX110" fmla="*/ 1202931 w 2854049"/>
                <a:gd name="connsiteY110" fmla="*/ 2837975 h 4135471"/>
                <a:gd name="connsiteX111" fmla="*/ 1215541 w 2854049"/>
                <a:gd name="connsiteY111" fmla="*/ 2889083 h 4135471"/>
                <a:gd name="connsiteX112" fmla="*/ 1226212 w 2854049"/>
                <a:gd name="connsiteY112" fmla="*/ 2942195 h 4135471"/>
                <a:gd name="connsiteX113" fmla="*/ 1235914 w 2854049"/>
                <a:gd name="connsiteY113" fmla="*/ 2996309 h 4135471"/>
                <a:gd name="connsiteX114" fmla="*/ 1245616 w 2854049"/>
                <a:gd name="connsiteY114" fmla="*/ 3049421 h 4135471"/>
                <a:gd name="connsiteX115" fmla="*/ 1252407 w 2854049"/>
                <a:gd name="connsiteY115" fmla="*/ 3098524 h 4135471"/>
                <a:gd name="connsiteX116" fmla="*/ 1261138 w 2854049"/>
                <a:gd name="connsiteY116" fmla="*/ 3144621 h 4135471"/>
                <a:gd name="connsiteX117" fmla="*/ 1267927 w 2854049"/>
                <a:gd name="connsiteY117" fmla="*/ 3182701 h 4135471"/>
                <a:gd name="connsiteX118" fmla="*/ 1273749 w 2854049"/>
                <a:gd name="connsiteY118" fmla="*/ 3215771 h 4135471"/>
                <a:gd name="connsiteX119" fmla="*/ 1405683 w 2854049"/>
                <a:gd name="connsiteY119" fmla="*/ 3238820 h 4135471"/>
                <a:gd name="connsiteX120" fmla="*/ 1539558 w 2854049"/>
                <a:gd name="connsiteY120" fmla="*/ 3251847 h 4135471"/>
                <a:gd name="connsiteX121" fmla="*/ 1677312 w 2854049"/>
                <a:gd name="connsiteY121" fmla="*/ 3253851 h 4135471"/>
                <a:gd name="connsiteX122" fmla="*/ 1817977 w 2854049"/>
                <a:gd name="connsiteY122" fmla="*/ 3246837 h 4135471"/>
                <a:gd name="connsiteX123" fmla="*/ 1963493 w 2854049"/>
                <a:gd name="connsiteY123" fmla="*/ 3226793 h 4135471"/>
                <a:gd name="connsiteX124" fmla="*/ 1998071 w 2854049"/>
                <a:gd name="connsiteY124" fmla="*/ 3220300 h 4135471"/>
                <a:gd name="connsiteX125" fmla="*/ 1972544 w 2854049"/>
                <a:gd name="connsiteY125" fmla="*/ 2990832 h 4135471"/>
                <a:gd name="connsiteX126" fmla="*/ 1866104 w 2854049"/>
                <a:gd name="connsiteY126" fmla="*/ 2529483 h 4135471"/>
                <a:gd name="connsiteX127" fmla="*/ 1085631 w 2854049"/>
                <a:gd name="connsiteY127" fmla="*/ 1773024 h 4135471"/>
                <a:gd name="connsiteX128" fmla="*/ 1277747 w 2854049"/>
                <a:gd name="connsiteY128" fmla="*/ 968535 h 4135471"/>
                <a:gd name="connsiteX129" fmla="*/ 1914134 w 2854049"/>
                <a:gd name="connsiteY129" fmla="*/ 872477 h 4135471"/>
                <a:gd name="connsiteX130" fmla="*/ 2334389 w 2854049"/>
                <a:gd name="connsiteY130" fmla="*/ 1316747 h 4135471"/>
                <a:gd name="connsiteX131" fmla="*/ 2850702 w 2854049"/>
                <a:gd name="connsiteY131" fmla="*/ 1256710 h 4135471"/>
                <a:gd name="connsiteX132" fmla="*/ 2851858 w 2854049"/>
                <a:gd name="connsiteY132" fmla="*/ 1288484 h 4135471"/>
                <a:gd name="connsiteX133" fmla="*/ 2854049 w 2854049"/>
                <a:gd name="connsiteY133" fmla="*/ 1252639 h 4135471"/>
                <a:gd name="connsiteX134" fmla="*/ 2852109 w 2854049"/>
                <a:gd name="connsiteY134" fmla="*/ 1156435 h 4135471"/>
                <a:gd name="connsiteX135" fmla="*/ 2845318 w 2854049"/>
                <a:gd name="connsiteY135" fmla="*/ 1062236 h 4135471"/>
                <a:gd name="connsiteX136" fmla="*/ 2830767 w 2854049"/>
                <a:gd name="connsiteY136" fmla="*/ 971045 h 4135471"/>
                <a:gd name="connsiteX137" fmla="*/ 2811365 w 2854049"/>
                <a:gd name="connsiteY137" fmla="*/ 881857 h 4135471"/>
                <a:gd name="connsiteX138" fmla="*/ 2787112 w 2854049"/>
                <a:gd name="connsiteY138" fmla="*/ 799684 h 4135471"/>
                <a:gd name="connsiteX139" fmla="*/ 2759950 w 2854049"/>
                <a:gd name="connsiteY139" fmla="*/ 724526 h 4135471"/>
                <a:gd name="connsiteX140" fmla="*/ 2728906 w 2854049"/>
                <a:gd name="connsiteY140" fmla="*/ 657385 h 4135471"/>
                <a:gd name="connsiteX141" fmla="*/ 2682340 w 2854049"/>
                <a:gd name="connsiteY141" fmla="*/ 577215 h 4135471"/>
                <a:gd name="connsiteX142" fmla="*/ 2631895 w 2854049"/>
                <a:gd name="connsiteY142" fmla="*/ 501055 h 4135471"/>
                <a:gd name="connsiteX143" fmla="*/ 2574659 w 2854049"/>
                <a:gd name="connsiteY143" fmla="*/ 429907 h 4135471"/>
                <a:gd name="connsiteX144" fmla="*/ 2513543 w 2854049"/>
                <a:gd name="connsiteY144" fmla="*/ 361762 h 4135471"/>
                <a:gd name="connsiteX145" fmla="*/ 2446606 w 2854049"/>
                <a:gd name="connsiteY145" fmla="*/ 300634 h 4135471"/>
                <a:gd name="connsiteX146" fmla="*/ 2371907 w 2854049"/>
                <a:gd name="connsiteY146" fmla="*/ 243513 h 4135471"/>
                <a:gd name="connsiteX147" fmla="*/ 2294299 w 2854049"/>
                <a:gd name="connsiteY147" fmla="*/ 192406 h 4135471"/>
                <a:gd name="connsiteX148" fmla="*/ 2211840 w 2854049"/>
                <a:gd name="connsiteY148" fmla="*/ 147311 h 4135471"/>
                <a:gd name="connsiteX149" fmla="*/ 2121620 w 2854049"/>
                <a:gd name="connsiteY149" fmla="*/ 109230 h 4135471"/>
                <a:gd name="connsiteX150" fmla="*/ 2028490 w 2854049"/>
                <a:gd name="connsiteY150" fmla="*/ 74157 h 4135471"/>
                <a:gd name="connsiteX151" fmla="*/ 1927599 w 2854049"/>
                <a:gd name="connsiteY151" fmla="*/ 47099 h 4135471"/>
                <a:gd name="connsiteX152" fmla="*/ 1821858 w 2854049"/>
                <a:gd name="connsiteY152" fmla="*/ 25053 h 4135471"/>
                <a:gd name="connsiteX153" fmla="*/ 1711265 w 2854049"/>
                <a:gd name="connsiteY153" fmla="*/ 10021 h 4135471"/>
                <a:gd name="connsiteX154" fmla="*/ 1594853 w 2854049"/>
                <a:gd name="connsiteY154" fmla="*/ 1002 h 413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854049" h="4135471">
                  <a:moveTo>
                    <a:pt x="1696267" y="3431657"/>
                  </a:moveTo>
                  <a:cubicBezTo>
                    <a:pt x="1501914" y="3431657"/>
                    <a:pt x="1344360" y="3589211"/>
                    <a:pt x="1344360" y="3783564"/>
                  </a:cubicBezTo>
                  <a:cubicBezTo>
                    <a:pt x="1344360" y="3977917"/>
                    <a:pt x="1501914" y="4135471"/>
                    <a:pt x="1696267" y="4135471"/>
                  </a:cubicBezTo>
                  <a:cubicBezTo>
                    <a:pt x="1890620" y="4135471"/>
                    <a:pt x="2048174" y="3977917"/>
                    <a:pt x="2048174" y="3783564"/>
                  </a:cubicBezTo>
                  <a:cubicBezTo>
                    <a:pt x="2048174" y="3589211"/>
                    <a:pt x="1890620" y="3431657"/>
                    <a:pt x="1696267" y="3431657"/>
                  </a:cubicBezTo>
                  <a:close/>
                  <a:moveTo>
                    <a:pt x="1470680" y="0"/>
                  </a:moveTo>
                  <a:lnTo>
                    <a:pt x="1360088" y="9020"/>
                  </a:lnTo>
                  <a:lnTo>
                    <a:pt x="1082638" y="72152"/>
                  </a:lnTo>
                  <a:lnTo>
                    <a:pt x="1000179" y="103217"/>
                  </a:lnTo>
                  <a:lnTo>
                    <a:pt x="918691" y="138291"/>
                  </a:lnTo>
                  <a:lnTo>
                    <a:pt x="839141" y="180379"/>
                  </a:lnTo>
                  <a:lnTo>
                    <a:pt x="765414" y="227479"/>
                  </a:lnTo>
                  <a:lnTo>
                    <a:pt x="694595" y="280591"/>
                  </a:lnTo>
                  <a:lnTo>
                    <a:pt x="629599" y="338714"/>
                  </a:lnTo>
                  <a:lnTo>
                    <a:pt x="569452" y="401847"/>
                  </a:lnTo>
                  <a:lnTo>
                    <a:pt x="515126" y="470992"/>
                  </a:lnTo>
                  <a:lnTo>
                    <a:pt x="467591" y="544147"/>
                  </a:lnTo>
                  <a:lnTo>
                    <a:pt x="426847" y="622311"/>
                  </a:lnTo>
                  <a:lnTo>
                    <a:pt x="392893" y="706488"/>
                  </a:lnTo>
                  <a:lnTo>
                    <a:pt x="338568" y="937976"/>
                  </a:lnTo>
                  <a:lnTo>
                    <a:pt x="333717" y="994094"/>
                  </a:lnTo>
                  <a:lnTo>
                    <a:pt x="331776" y="1047206"/>
                  </a:lnTo>
                  <a:lnTo>
                    <a:pt x="333717" y="1096308"/>
                  </a:lnTo>
                  <a:lnTo>
                    <a:pt x="334686" y="1145413"/>
                  </a:lnTo>
                  <a:lnTo>
                    <a:pt x="334686" y="1191509"/>
                  </a:lnTo>
                  <a:lnTo>
                    <a:pt x="329836" y="1234599"/>
                  </a:lnTo>
                  <a:lnTo>
                    <a:pt x="315284" y="1278693"/>
                  </a:lnTo>
                  <a:lnTo>
                    <a:pt x="289092" y="1331805"/>
                  </a:lnTo>
                  <a:lnTo>
                    <a:pt x="257078" y="1380908"/>
                  </a:lnTo>
                  <a:lnTo>
                    <a:pt x="222155" y="1423998"/>
                  </a:lnTo>
                  <a:lnTo>
                    <a:pt x="185291" y="1468092"/>
                  </a:lnTo>
                  <a:lnTo>
                    <a:pt x="146487" y="1508176"/>
                  </a:lnTo>
                  <a:lnTo>
                    <a:pt x="107683" y="1548261"/>
                  </a:lnTo>
                  <a:lnTo>
                    <a:pt x="70819" y="1592354"/>
                  </a:lnTo>
                  <a:lnTo>
                    <a:pt x="58206" y="1604378"/>
                  </a:lnTo>
                  <a:lnTo>
                    <a:pt x="42684" y="1619410"/>
                  </a:lnTo>
                  <a:lnTo>
                    <a:pt x="26193" y="1637448"/>
                  </a:lnTo>
                  <a:lnTo>
                    <a:pt x="12611" y="1655486"/>
                  </a:lnTo>
                  <a:lnTo>
                    <a:pt x="3882" y="1677533"/>
                  </a:lnTo>
                  <a:lnTo>
                    <a:pt x="0" y="1701583"/>
                  </a:lnTo>
                  <a:lnTo>
                    <a:pt x="4851" y="1726636"/>
                  </a:lnTo>
                  <a:lnTo>
                    <a:pt x="17462" y="1750687"/>
                  </a:lnTo>
                  <a:lnTo>
                    <a:pt x="38806" y="1770728"/>
                  </a:lnTo>
                  <a:lnTo>
                    <a:pt x="63057" y="1784759"/>
                  </a:lnTo>
                  <a:lnTo>
                    <a:pt x="93130" y="1797786"/>
                  </a:lnTo>
                  <a:lnTo>
                    <a:pt x="125143" y="1808809"/>
                  </a:lnTo>
                  <a:lnTo>
                    <a:pt x="157158" y="1819833"/>
                  </a:lnTo>
                  <a:lnTo>
                    <a:pt x="188201" y="1830855"/>
                  </a:lnTo>
                  <a:lnTo>
                    <a:pt x="218273" y="1843883"/>
                  </a:lnTo>
                  <a:lnTo>
                    <a:pt x="245437" y="1857912"/>
                  </a:lnTo>
                  <a:lnTo>
                    <a:pt x="264839" y="1875951"/>
                  </a:lnTo>
                  <a:lnTo>
                    <a:pt x="259018" y="1900001"/>
                  </a:lnTo>
                  <a:lnTo>
                    <a:pt x="248347" y="1922047"/>
                  </a:lnTo>
                  <a:lnTo>
                    <a:pt x="237676" y="1945097"/>
                  </a:lnTo>
                  <a:lnTo>
                    <a:pt x="226035" y="1967142"/>
                  </a:lnTo>
                  <a:lnTo>
                    <a:pt x="215364" y="1989189"/>
                  </a:lnTo>
                  <a:lnTo>
                    <a:pt x="207602" y="2011236"/>
                  </a:lnTo>
                  <a:lnTo>
                    <a:pt x="204693" y="2031277"/>
                  </a:lnTo>
                  <a:lnTo>
                    <a:pt x="206633" y="2053324"/>
                  </a:lnTo>
                  <a:lnTo>
                    <a:pt x="217304" y="2073366"/>
                  </a:lnTo>
                  <a:lnTo>
                    <a:pt x="236706" y="2093409"/>
                  </a:lnTo>
                  <a:lnTo>
                    <a:pt x="264839" y="2113450"/>
                  </a:lnTo>
                  <a:lnTo>
                    <a:pt x="259018" y="2129483"/>
                  </a:lnTo>
                  <a:lnTo>
                    <a:pt x="250288" y="2145517"/>
                  </a:lnTo>
                  <a:lnTo>
                    <a:pt x="243497" y="2164557"/>
                  </a:lnTo>
                  <a:lnTo>
                    <a:pt x="241557" y="2184601"/>
                  </a:lnTo>
                  <a:lnTo>
                    <a:pt x="245437" y="2204642"/>
                  </a:lnTo>
                  <a:lnTo>
                    <a:pt x="256109" y="2222680"/>
                  </a:lnTo>
                  <a:lnTo>
                    <a:pt x="269690" y="2236709"/>
                  </a:lnTo>
                  <a:lnTo>
                    <a:pt x="287151" y="2249737"/>
                  </a:lnTo>
                  <a:lnTo>
                    <a:pt x="304613" y="2258756"/>
                  </a:lnTo>
                  <a:lnTo>
                    <a:pt x="321105" y="2269780"/>
                  </a:lnTo>
                  <a:lnTo>
                    <a:pt x="336627" y="2284810"/>
                  </a:lnTo>
                  <a:lnTo>
                    <a:pt x="345358" y="2300845"/>
                  </a:lnTo>
                  <a:lnTo>
                    <a:pt x="354089" y="2329906"/>
                  </a:lnTo>
                  <a:lnTo>
                    <a:pt x="354089" y="2362976"/>
                  </a:lnTo>
                  <a:lnTo>
                    <a:pt x="351179" y="2394041"/>
                  </a:lnTo>
                  <a:lnTo>
                    <a:pt x="343417" y="2426108"/>
                  </a:lnTo>
                  <a:lnTo>
                    <a:pt x="336627" y="2457173"/>
                  </a:lnTo>
                  <a:lnTo>
                    <a:pt x="331776" y="2485233"/>
                  </a:lnTo>
                  <a:lnTo>
                    <a:pt x="327896" y="2525318"/>
                  </a:lnTo>
                  <a:lnTo>
                    <a:pt x="331776" y="2561393"/>
                  </a:lnTo>
                  <a:lnTo>
                    <a:pt x="342447" y="2594464"/>
                  </a:lnTo>
                  <a:lnTo>
                    <a:pt x="356029" y="2623524"/>
                  </a:lnTo>
                  <a:lnTo>
                    <a:pt x="375432" y="2646572"/>
                  </a:lnTo>
                  <a:lnTo>
                    <a:pt x="400654" y="2668619"/>
                  </a:lnTo>
                  <a:lnTo>
                    <a:pt x="424906" y="2686657"/>
                  </a:lnTo>
                  <a:lnTo>
                    <a:pt x="453040" y="2701688"/>
                  </a:lnTo>
                  <a:lnTo>
                    <a:pt x="481173" y="2714717"/>
                  </a:lnTo>
                  <a:lnTo>
                    <a:pt x="509306" y="2721731"/>
                  </a:lnTo>
                  <a:lnTo>
                    <a:pt x="560721" y="2730751"/>
                  </a:lnTo>
                  <a:lnTo>
                    <a:pt x="615047" y="2734758"/>
                  </a:lnTo>
                  <a:lnTo>
                    <a:pt x="672284" y="2732755"/>
                  </a:lnTo>
                  <a:lnTo>
                    <a:pt x="728550" y="2726742"/>
                  </a:lnTo>
                  <a:lnTo>
                    <a:pt x="784816" y="2719726"/>
                  </a:lnTo>
                  <a:lnTo>
                    <a:pt x="838171" y="2708704"/>
                  </a:lnTo>
                  <a:lnTo>
                    <a:pt x="885706" y="2695677"/>
                  </a:lnTo>
                  <a:lnTo>
                    <a:pt x="927421" y="2681646"/>
                  </a:lnTo>
                  <a:lnTo>
                    <a:pt x="944882" y="2675633"/>
                  </a:lnTo>
                  <a:lnTo>
                    <a:pt x="968165" y="2668619"/>
                  </a:lnTo>
                  <a:lnTo>
                    <a:pt x="993388" y="2661605"/>
                  </a:lnTo>
                  <a:lnTo>
                    <a:pt x="1019581" y="2654590"/>
                  </a:lnTo>
                  <a:lnTo>
                    <a:pt x="1047714" y="2650582"/>
                  </a:lnTo>
                  <a:lnTo>
                    <a:pt x="1075847" y="2648577"/>
                  </a:lnTo>
                  <a:lnTo>
                    <a:pt x="1100100" y="2652585"/>
                  </a:lnTo>
                  <a:lnTo>
                    <a:pt x="1121442" y="2661605"/>
                  </a:lnTo>
                  <a:lnTo>
                    <a:pt x="1140844" y="2679643"/>
                  </a:lnTo>
                  <a:lnTo>
                    <a:pt x="1158306" y="2708704"/>
                  </a:lnTo>
                  <a:lnTo>
                    <a:pt x="1174797" y="2745782"/>
                  </a:lnTo>
                  <a:lnTo>
                    <a:pt x="1190319" y="2788872"/>
                  </a:lnTo>
                  <a:lnTo>
                    <a:pt x="1202931" y="2837975"/>
                  </a:lnTo>
                  <a:lnTo>
                    <a:pt x="1215541" y="2889083"/>
                  </a:lnTo>
                  <a:lnTo>
                    <a:pt x="1226212" y="2942195"/>
                  </a:lnTo>
                  <a:lnTo>
                    <a:pt x="1235914" y="2996309"/>
                  </a:lnTo>
                  <a:lnTo>
                    <a:pt x="1245616" y="3049421"/>
                  </a:lnTo>
                  <a:lnTo>
                    <a:pt x="1252407" y="3098524"/>
                  </a:lnTo>
                  <a:lnTo>
                    <a:pt x="1261138" y="3144621"/>
                  </a:lnTo>
                  <a:lnTo>
                    <a:pt x="1267927" y="3182701"/>
                  </a:lnTo>
                  <a:lnTo>
                    <a:pt x="1273749" y="3215771"/>
                  </a:lnTo>
                  <a:lnTo>
                    <a:pt x="1405683" y="3238820"/>
                  </a:lnTo>
                  <a:lnTo>
                    <a:pt x="1539558" y="3251847"/>
                  </a:lnTo>
                  <a:lnTo>
                    <a:pt x="1677312" y="3253851"/>
                  </a:lnTo>
                  <a:lnTo>
                    <a:pt x="1817977" y="3246837"/>
                  </a:lnTo>
                  <a:lnTo>
                    <a:pt x="1963493" y="3226793"/>
                  </a:lnTo>
                  <a:lnTo>
                    <a:pt x="1998071" y="3220300"/>
                  </a:lnTo>
                  <a:lnTo>
                    <a:pt x="1972544" y="2990832"/>
                  </a:lnTo>
                  <a:cubicBezTo>
                    <a:pt x="1951990" y="2824419"/>
                    <a:pt x="1923973" y="2664322"/>
                    <a:pt x="1866104" y="2529483"/>
                  </a:cubicBezTo>
                  <a:cubicBezTo>
                    <a:pt x="1798827" y="2378364"/>
                    <a:pt x="1318234" y="2057324"/>
                    <a:pt x="1085631" y="1773024"/>
                  </a:cubicBezTo>
                  <a:cubicBezTo>
                    <a:pt x="1039452" y="1683967"/>
                    <a:pt x="924385" y="1218329"/>
                    <a:pt x="1277747" y="968535"/>
                  </a:cubicBezTo>
                  <a:cubicBezTo>
                    <a:pt x="1430175" y="835482"/>
                    <a:pt x="1702005" y="831017"/>
                    <a:pt x="1914134" y="872477"/>
                  </a:cubicBezTo>
                  <a:cubicBezTo>
                    <a:pt x="2031257" y="905756"/>
                    <a:pt x="2240228" y="1053847"/>
                    <a:pt x="2334389" y="1316747"/>
                  </a:cubicBezTo>
                  <a:lnTo>
                    <a:pt x="2850702" y="1256710"/>
                  </a:lnTo>
                  <a:lnTo>
                    <a:pt x="2851858" y="1288484"/>
                  </a:lnTo>
                  <a:lnTo>
                    <a:pt x="2854049" y="1252639"/>
                  </a:lnTo>
                  <a:lnTo>
                    <a:pt x="2852109" y="1156435"/>
                  </a:lnTo>
                  <a:lnTo>
                    <a:pt x="2845318" y="1062236"/>
                  </a:lnTo>
                  <a:lnTo>
                    <a:pt x="2830767" y="971045"/>
                  </a:lnTo>
                  <a:lnTo>
                    <a:pt x="2811365" y="881857"/>
                  </a:lnTo>
                  <a:lnTo>
                    <a:pt x="2787112" y="799684"/>
                  </a:lnTo>
                  <a:lnTo>
                    <a:pt x="2759950" y="724526"/>
                  </a:lnTo>
                  <a:lnTo>
                    <a:pt x="2728906" y="657385"/>
                  </a:lnTo>
                  <a:lnTo>
                    <a:pt x="2682340" y="577215"/>
                  </a:lnTo>
                  <a:lnTo>
                    <a:pt x="2631895" y="501055"/>
                  </a:lnTo>
                  <a:lnTo>
                    <a:pt x="2574659" y="429907"/>
                  </a:lnTo>
                  <a:lnTo>
                    <a:pt x="2513543" y="361762"/>
                  </a:lnTo>
                  <a:lnTo>
                    <a:pt x="2446606" y="300634"/>
                  </a:lnTo>
                  <a:lnTo>
                    <a:pt x="2371907" y="243513"/>
                  </a:lnTo>
                  <a:lnTo>
                    <a:pt x="2294299" y="192406"/>
                  </a:lnTo>
                  <a:lnTo>
                    <a:pt x="2211840" y="147311"/>
                  </a:lnTo>
                  <a:lnTo>
                    <a:pt x="2121620" y="109230"/>
                  </a:lnTo>
                  <a:lnTo>
                    <a:pt x="2028490" y="74157"/>
                  </a:lnTo>
                  <a:lnTo>
                    <a:pt x="1927599" y="47099"/>
                  </a:lnTo>
                  <a:lnTo>
                    <a:pt x="1821858" y="25053"/>
                  </a:lnTo>
                  <a:lnTo>
                    <a:pt x="1711265" y="10021"/>
                  </a:lnTo>
                  <a:lnTo>
                    <a:pt x="1594853" y="1002"/>
                  </a:lnTo>
                  <a:close/>
                </a:path>
              </a:pathLst>
            </a:custGeom>
            <a:solidFill>
              <a:schemeClr val="tx1">
                <a:lumMod val="75000"/>
                <a:lumOff val="25000"/>
              </a:schemeClr>
            </a:solidFill>
            <a:ln>
              <a:solidFill>
                <a:srgbClr val="163F74"/>
              </a:solid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anchor="t" anchorCtr="0" compatLnSpc="1">
              <a:prstTxWarp prst="textNoShape">
                <a:avLst/>
              </a:prstTxWarp>
              <a:noAutofit/>
            </a:bodyPr>
            <a:lstStyle/>
            <a:p>
              <a:endParaRPr lang="ko-KR" altLang="en-US" sz="2026" dirty="0"/>
            </a:p>
          </p:txBody>
        </p:sp>
        <p:sp>
          <p:nvSpPr>
            <p:cNvPr id="16" name="Freeform: Shape 15">
              <a:extLst>
                <a:ext uri="{FF2B5EF4-FFF2-40B4-BE49-F238E27FC236}">
                  <a16:creationId xmlns:a16="http://schemas.microsoft.com/office/drawing/2014/main" id="{68C7E696-0B18-41D8-BADC-63197E0C7B5D}"/>
                </a:ext>
              </a:extLst>
            </p:cNvPr>
            <p:cNvSpPr/>
            <p:nvPr/>
          </p:nvSpPr>
          <p:spPr>
            <a:xfrm flipH="1">
              <a:off x="457200" y="590550"/>
              <a:ext cx="2979057" cy="1921717"/>
            </a:xfrm>
            <a:custGeom>
              <a:avLst/>
              <a:gdLst>
                <a:gd name="connsiteX0" fmla="*/ 1547519 w 3095038"/>
                <a:gd name="connsiteY0" fmla="*/ 0 h 2022026"/>
                <a:gd name="connsiteX1" fmla="*/ 3095038 w 3095038"/>
                <a:gd name="connsiteY1" fmla="*/ 627509 h 2022026"/>
                <a:gd name="connsiteX2" fmla="*/ 2825277 w 3095038"/>
                <a:gd name="connsiteY2" fmla="*/ 736897 h 2022026"/>
                <a:gd name="connsiteX3" fmla="*/ 2825277 w 3095038"/>
                <a:gd name="connsiteY3" fmla="*/ 1583608 h 2022026"/>
                <a:gd name="connsiteX4" fmla="*/ 2829142 w 3095038"/>
                <a:gd name="connsiteY4" fmla="*/ 1585209 h 2022026"/>
                <a:gd name="connsiteX5" fmla="*/ 2841509 w 3095038"/>
                <a:gd name="connsiteY5" fmla="*/ 1615067 h 2022026"/>
                <a:gd name="connsiteX6" fmla="*/ 2829142 w 3095038"/>
                <a:gd name="connsiteY6" fmla="*/ 1644926 h 2022026"/>
                <a:gd name="connsiteX7" fmla="*/ 2826092 w 3095038"/>
                <a:gd name="connsiteY7" fmla="*/ 1646189 h 2022026"/>
                <a:gd name="connsiteX8" fmla="*/ 2876626 w 3095038"/>
                <a:gd name="connsiteY8" fmla="*/ 2022026 h 2022026"/>
                <a:gd name="connsiteX9" fmla="*/ 2721940 w 3095038"/>
                <a:gd name="connsiteY9" fmla="*/ 2022026 h 2022026"/>
                <a:gd name="connsiteX10" fmla="*/ 2772475 w 3095038"/>
                <a:gd name="connsiteY10" fmla="*/ 1646189 h 2022026"/>
                <a:gd name="connsiteX11" fmla="*/ 2769425 w 3095038"/>
                <a:gd name="connsiteY11" fmla="*/ 1644926 h 2022026"/>
                <a:gd name="connsiteX12" fmla="*/ 2757057 w 3095038"/>
                <a:gd name="connsiteY12" fmla="*/ 1615067 h 2022026"/>
                <a:gd name="connsiteX13" fmla="*/ 2769425 w 3095038"/>
                <a:gd name="connsiteY13" fmla="*/ 1585209 h 2022026"/>
                <a:gd name="connsiteX14" fmla="*/ 2773289 w 3095038"/>
                <a:gd name="connsiteY14" fmla="*/ 1583608 h 2022026"/>
                <a:gd name="connsiteX15" fmla="*/ 2773289 w 3095038"/>
                <a:gd name="connsiteY15" fmla="*/ 757978 h 2022026"/>
                <a:gd name="connsiteX16" fmla="*/ 2747752 w 3095038"/>
                <a:gd name="connsiteY16" fmla="*/ 768333 h 2022026"/>
                <a:gd name="connsiteX17" fmla="*/ 2473970 w 3095038"/>
                <a:gd name="connsiteY17" fmla="*/ 981499 h 2022026"/>
                <a:gd name="connsiteX18" fmla="*/ 2473970 w 3095038"/>
                <a:gd name="connsiteY18" fmla="*/ 1333096 h 2022026"/>
                <a:gd name="connsiteX19" fmla="*/ 1442377 w 3095038"/>
                <a:gd name="connsiteY19" fmla="*/ 1553521 h 2022026"/>
                <a:gd name="connsiteX20" fmla="*/ 628675 w 3095038"/>
                <a:gd name="connsiteY20" fmla="*/ 1422110 h 2022026"/>
                <a:gd name="connsiteX21" fmla="*/ 635755 w 3095038"/>
                <a:gd name="connsiteY21" fmla="*/ 1406334 h 2022026"/>
                <a:gd name="connsiteX22" fmla="*/ 621068 w 3095038"/>
                <a:gd name="connsiteY22" fmla="*/ 1402746 h 2022026"/>
                <a:gd name="connsiteX23" fmla="*/ 621068 w 3095038"/>
                <a:gd name="connsiteY23" fmla="*/ 981499 h 2022026"/>
                <a:gd name="connsiteX24" fmla="*/ 0 w 3095038"/>
                <a:gd name="connsiteY24" fmla="*/ 627509 h 202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95038" h="2022026">
                  <a:moveTo>
                    <a:pt x="1547519" y="0"/>
                  </a:moveTo>
                  <a:lnTo>
                    <a:pt x="3095038" y="627509"/>
                  </a:lnTo>
                  <a:lnTo>
                    <a:pt x="2825277" y="736897"/>
                  </a:lnTo>
                  <a:lnTo>
                    <a:pt x="2825277" y="1583608"/>
                  </a:lnTo>
                  <a:lnTo>
                    <a:pt x="2829142" y="1585209"/>
                  </a:lnTo>
                  <a:cubicBezTo>
                    <a:pt x="2836783" y="1592850"/>
                    <a:pt x="2841509" y="1603406"/>
                    <a:pt x="2841509" y="1615067"/>
                  </a:cubicBezTo>
                  <a:cubicBezTo>
                    <a:pt x="2841509" y="1626728"/>
                    <a:pt x="2836783" y="1637284"/>
                    <a:pt x="2829142" y="1644926"/>
                  </a:cubicBezTo>
                  <a:lnTo>
                    <a:pt x="2826092" y="1646189"/>
                  </a:lnTo>
                  <a:lnTo>
                    <a:pt x="2876626" y="2022026"/>
                  </a:lnTo>
                  <a:lnTo>
                    <a:pt x="2721940" y="2022026"/>
                  </a:lnTo>
                  <a:lnTo>
                    <a:pt x="2772475" y="1646189"/>
                  </a:lnTo>
                  <a:lnTo>
                    <a:pt x="2769425" y="1644926"/>
                  </a:lnTo>
                  <a:cubicBezTo>
                    <a:pt x="2761784" y="1637284"/>
                    <a:pt x="2757057" y="1626728"/>
                    <a:pt x="2757057" y="1615067"/>
                  </a:cubicBezTo>
                  <a:cubicBezTo>
                    <a:pt x="2757057" y="1603406"/>
                    <a:pt x="2761784" y="1592850"/>
                    <a:pt x="2769425" y="1585209"/>
                  </a:cubicBezTo>
                  <a:lnTo>
                    <a:pt x="2773289" y="1583608"/>
                  </a:lnTo>
                  <a:lnTo>
                    <a:pt x="2773289" y="757978"/>
                  </a:lnTo>
                  <a:lnTo>
                    <a:pt x="2747752" y="768333"/>
                  </a:lnTo>
                  <a:lnTo>
                    <a:pt x="2473970" y="981499"/>
                  </a:lnTo>
                  <a:lnTo>
                    <a:pt x="2473970" y="1333096"/>
                  </a:lnTo>
                  <a:cubicBezTo>
                    <a:pt x="2176456" y="1474039"/>
                    <a:pt x="1822001" y="1553521"/>
                    <a:pt x="1442377" y="1553521"/>
                  </a:cubicBezTo>
                  <a:cubicBezTo>
                    <a:pt x="1151810" y="1553521"/>
                    <a:pt x="875988" y="1506956"/>
                    <a:pt x="628675" y="1422110"/>
                  </a:cubicBezTo>
                  <a:cubicBezTo>
                    <a:pt x="630298" y="1416654"/>
                    <a:pt x="632987" y="1411486"/>
                    <a:pt x="635755" y="1406334"/>
                  </a:cubicBezTo>
                  <a:cubicBezTo>
                    <a:pt x="631035" y="1404608"/>
                    <a:pt x="626049" y="1403669"/>
                    <a:pt x="621068" y="1402746"/>
                  </a:cubicBezTo>
                  <a:lnTo>
                    <a:pt x="621068" y="981499"/>
                  </a:lnTo>
                  <a:lnTo>
                    <a:pt x="0" y="62750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sz="2026" dirty="0"/>
            </a:p>
          </p:txBody>
        </p:sp>
      </p:grpSp>
      <p:graphicFrame>
        <p:nvGraphicFramePr>
          <p:cNvPr id="5" name="Object 4" hidden="1">
            <a:extLst>
              <a:ext uri="{FF2B5EF4-FFF2-40B4-BE49-F238E27FC236}">
                <a16:creationId xmlns:a16="http://schemas.microsoft.com/office/drawing/2014/main" id="{A9E43DCD-F115-4EC7-90AE-5F5E6C473889}"/>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1804" name="think-cell Slide" r:id="rId8" imgW="383" imgH="384" progId="TCLayout.ActiveDocument.1">
                  <p:embed/>
                </p:oleObj>
              </mc:Choice>
              <mc:Fallback>
                <p:oleObj name="think-cell Slide" r:id="rId8" imgW="383" imgH="384" progId="TCLayout.ActiveDocument.1">
                  <p:embed/>
                  <p:pic>
                    <p:nvPicPr>
                      <p:cNvPr id="5" name="Object 4" hidden="1">
                        <a:extLst>
                          <a:ext uri="{FF2B5EF4-FFF2-40B4-BE49-F238E27FC236}">
                            <a16:creationId xmlns:a16="http://schemas.microsoft.com/office/drawing/2014/main" id="{A9E43DCD-F115-4EC7-90AE-5F5E6C473889}"/>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140B3F-4BDA-4FDA-A9EE-3C673CDF2373}"/>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b="1" dirty="0">
              <a:latin typeface="Segoe UI" panose="020B0502040204020203" pitchFamily="34" charset="0"/>
              <a:ea typeface="+mj-ea"/>
              <a:cs typeface="Segoe UI" panose="020B0502040204020203" pitchFamily="34" charset="0"/>
              <a:sym typeface="Segoe UI" panose="020B0502040204020203" pitchFamily="34" charset="0"/>
            </a:endParaRPr>
          </a:p>
        </p:txBody>
      </p:sp>
      <p:cxnSp>
        <p:nvCxnSpPr>
          <p:cNvPr id="8" name="Straight Connector 7">
            <a:extLst>
              <a:ext uri="{FF2B5EF4-FFF2-40B4-BE49-F238E27FC236}">
                <a16:creationId xmlns:a16="http://schemas.microsoft.com/office/drawing/2014/main" id="{FDDCB1DF-AB7E-4220-9C07-5A95CD99AED5}"/>
              </a:ext>
            </a:extLst>
          </p:cNvPr>
          <p:cNvCxnSpPr>
            <a:cxnSpLocks/>
          </p:cNvCxnSpPr>
          <p:nvPr/>
        </p:nvCxnSpPr>
        <p:spPr>
          <a:xfrm flipH="1">
            <a:off x="264252" y="4162255"/>
            <a:ext cx="712513" cy="9885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544301-48A2-4C9C-9CBF-01A720F732C0}"/>
              </a:ext>
            </a:extLst>
          </p:cNvPr>
          <p:cNvCxnSpPr>
            <a:cxnSpLocks/>
          </p:cNvCxnSpPr>
          <p:nvPr/>
        </p:nvCxnSpPr>
        <p:spPr>
          <a:xfrm flipH="1">
            <a:off x="725918" y="1"/>
            <a:ext cx="501694" cy="69604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E0D0D9FA-3DBB-4185-910C-1F200143EFAC}"/>
              </a:ext>
            </a:extLst>
          </p:cNvPr>
          <p:cNvSpPr>
            <a:spLocks noGrp="1"/>
          </p:cNvSpPr>
          <p:nvPr>
            <p:ph type="title"/>
          </p:nvPr>
        </p:nvSpPr>
        <p:spPr>
          <a:xfrm>
            <a:off x="2716719" y="2248584"/>
            <a:ext cx="6436659" cy="646331"/>
          </a:xfrm>
        </p:spPr>
        <p:txBody>
          <a:bodyPr vert="horz" wrap="square" lIns="91440" tIns="45720" rIns="91440" bIns="45720" rtlCol="0" anchor="t">
            <a:spAutoFit/>
          </a:bodyPr>
          <a:lstStyle/>
          <a:p>
            <a:pPr marL="11545" algn="l">
              <a:spcBef>
                <a:spcPts val="72"/>
              </a:spcBef>
            </a:pPr>
            <a:r>
              <a:rPr lang="en-US" sz="3600"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rPr>
              <a:t>MHT-CET Analysis</a:t>
            </a:r>
          </a:p>
        </p:txBody>
      </p:sp>
      <p:sp>
        <p:nvSpPr>
          <p:cNvPr id="17" name="Rectangle 16">
            <a:extLst>
              <a:ext uri="{FF2B5EF4-FFF2-40B4-BE49-F238E27FC236}">
                <a16:creationId xmlns:a16="http://schemas.microsoft.com/office/drawing/2014/main" id="{E481DB9C-92EC-43E7-B4B1-F15D6B9CE47D}"/>
              </a:ext>
            </a:extLst>
          </p:cNvPr>
          <p:cNvSpPr/>
          <p:nvPr/>
        </p:nvSpPr>
        <p:spPr>
          <a:xfrm>
            <a:off x="2707341" y="3430160"/>
            <a:ext cx="6436659" cy="48896"/>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pic>
        <p:nvPicPr>
          <p:cNvPr id="18" name="Picture 17">
            <a:extLst>
              <a:ext uri="{FF2B5EF4-FFF2-40B4-BE49-F238E27FC236}">
                <a16:creationId xmlns:a16="http://schemas.microsoft.com/office/drawing/2014/main" id="{390C270B-E93E-4CF2-BF16-BA46C7B33196}"/>
              </a:ext>
            </a:extLst>
          </p:cNvPr>
          <p:cNvPicPr>
            <a:picLocks noChangeAspect="1"/>
          </p:cNvPicPr>
          <p:nvPr/>
        </p:nvPicPr>
        <p:blipFill rotWithShape="1">
          <a:blip r:embed="rId10"/>
          <a:srcRect l="86667" b="81138"/>
          <a:stretch/>
        </p:blipFill>
        <p:spPr>
          <a:xfrm>
            <a:off x="7924800" y="-1"/>
            <a:ext cx="1219200" cy="971551"/>
          </a:xfrm>
          <a:prstGeom prst="rect">
            <a:avLst/>
          </a:prstGeom>
        </p:spPr>
      </p:pic>
    </p:spTree>
    <p:extLst>
      <p:ext uri="{BB962C8B-B14F-4D97-AF65-F5344CB8AC3E}">
        <p14:creationId xmlns:p14="http://schemas.microsoft.com/office/powerpoint/2010/main" val="3787620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1553" y="431668"/>
            <a:ext cx="8712346" cy="685204"/>
          </a:xfrm>
          <a:effectLst/>
        </p:spPr>
        <p:txBody>
          <a:bodyPr vert="horz" lIns="91440" tIns="45720" rIns="91440" bIns="45720" rtlCol="0" anchor="ctr">
            <a:noAutofit/>
          </a:bodyPr>
          <a:lstStyle/>
          <a:p>
            <a:pPr algn="l"/>
            <a:r>
              <a:rPr lang="en-US" sz="2800" dirty="0">
                <a:solidFill>
                  <a:srgbClr val="FF5969"/>
                </a:solidFill>
                <a:latin typeface="Gotham Bold" panose="02000803030000020004" pitchFamily="2" charset="0"/>
              </a:rPr>
              <a:t>MHT-CET 2021 Analysis</a:t>
            </a:r>
          </a:p>
        </p:txBody>
      </p:sp>
      <p:sp>
        <p:nvSpPr>
          <p:cNvPr id="11" name="Rectangle 10">
            <a:extLst>
              <a:ext uri="{FF2B5EF4-FFF2-40B4-BE49-F238E27FC236}">
                <a16:creationId xmlns:a16="http://schemas.microsoft.com/office/drawing/2014/main" id="{845C5EEB-5159-4629-9568-F22ED1B108D9}"/>
              </a:ext>
            </a:extLst>
          </p:cNvPr>
          <p:cNvSpPr/>
          <p:nvPr/>
        </p:nvSpPr>
        <p:spPr>
          <a:xfrm>
            <a:off x="152399" y="431668"/>
            <a:ext cx="221805" cy="4280164"/>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9" name="Rectangle 8">
            <a:extLst>
              <a:ext uri="{FF2B5EF4-FFF2-40B4-BE49-F238E27FC236}">
                <a16:creationId xmlns:a16="http://schemas.microsoft.com/office/drawing/2014/main" id="{845C5EEB-5159-4629-9568-F22ED1B108D9}"/>
              </a:ext>
            </a:extLst>
          </p:cNvPr>
          <p:cNvSpPr/>
          <p:nvPr/>
        </p:nvSpPr>
        <p:spPr>
          <a:xfrm rot="16200000" flipV="1">
            <a:off x="4346272" y="-3216578"/>
            <a:ext cx="70456" cy="8763000"/>
          </a:xfrm>
          <a:prstGeom prst="rect">
            <a:avLst/>
          </a:prstGeom>
          <a:solidFill>
            <a:srgbClr val="FF596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b="1" dirty="0">
              <a:solidFill>
                <a:prstClr val="white"/>
              </a:solidFill>
              <a:latin typeface="Calibri Light"/>
            </a:endParaRPr>
          </a:p>
        </p:txBody>
      </p:sp>
      <p:graphicFrame>
        <p:nvGraphicFramePr>
          <p:cNvPr id="8" name="Table 9">
            <a:extLst>
              <a:ext uri="{FF2B5EF4-FFF2-40B4-BE49-F238E27FC236}">
                <a16:creationId xmlns:a16="http://schemas.microsoft.com/office/drawing/2014/main" id="{A9A3BD82-61F5-4983-AF92-074BD936C87F}"/>
              </a:ext>
            </a:extLst>
          </p:cNvPr>
          <p:cNvGraphicFramePr>
            <a:graphicFrameLocks noGrp="1"/>
          </p:cNvGraphicFramePr>
          <p:nvPr/>
        </p:nvGraphicFramePr>
        <p:xfrm>
          <a:off x="559733" y="1723163"/>
          <a:ext cx="6934201" cy="1063568"/>
        </p:xfrm>
        <a:graphic>
          <a:graphicData uri="http://schemas.openxmlformats.org/drawingml/2006/table">
            <a:tbl>
              <a:tblPr firstRow="1" bandRow="1">
                <a:tableStyleId>{5940675A-B579-460E-94D1-54222C63F5DA}</a:tableStyleId>
              </a:tblPr>
              <a:tblGrid>
                <a:gridCol w="1379343">
                  <a:extLst>
                    <a:ext uri="{9D8B030D-6E8A-4147-A177-3AD203B41FA5}">
                      <a16:colId xmlns:a16="http://schemas.microsoft.com/office/drawing/2014/main" val="336519458"/>
                    </a:ext>
                  </a:extLst>
                </a:gridCol>
                <a:gridCol w="1529260">
                  <a:extLst>
                    <a:ext uri="{9D8B030D-6E8A-4147-A177-3AD203B41FA5}">
                      <a16:colId xmlns:a16="http://schemas.microsoft.com/office/drawing/2014/main" val="2450144592"/>
                    </a:ext>
                  </a:extLst>
                </a:gridCol>
                <a:gridCol w="1341866">
                  <a:extLst>
                    <a:ext uri="{9D8B030D-6E8A-4147-A177-3AD203B41FA5}">
                      <a16:colId xmlns:a16="http://schemas.microsoft.com/office/drawing/2014/main" val="373944663"/>
                    </a:ext>
                  </a:extLst>
                </a:gridCol>
                <a:gridCol w="1361998">
                  <a:extLst>
                    <a:ext uri="{9D8B030D-6E8A-4147-A177-3AD203B41FA5}">
                      <a16:colId xmlns:a16="http://schemas.microsoft.com/office/drawing/2014/main" val="152216212"/>
                    </a:ext>
                  </a:extLst>
                </a:gridCol>
                <a:gridCol w="1321734">
                  <a:extLst>
                    <a:ext uri="{9D8B030D-6E8A-4147-A177-3AD203B41FA5}">
                      <a16:colId xmlns:a16="http://schemas.microsoft.com/office/drawing/2014/main" val="634794363"/>
                    </a:ext>
                  </a:extLst>
                </a:gridCol>
              </a:tblGrid>
              <a:tr h="548640">
                <a:tc>
                  <a:txBody>
                    <a:bodyPr/>
                    <a:lstStyle/>
                    <a:p>
                      <a:pPr algn="ctr"/>
                      <a:r>
                        <a:rPr lang="en-US" sz="1100" b="1" dirty="0">
                          <a:solidFill>
                            <a:schemeClr val="bg1"/>
                          </a:solidFill>
                          <a:latin typeface="Gotham Medium" panose="02000603030000020004" pitchFamily="2" charset="0"/>
                        </a:rPr>
                        <a:t>Total No. of Students Registerd </a:t>
                      </a:r>
                    </a:p>
                  </a:txBody>
                  <a:tcPr anchor="ctr">
                    <a:solidFill>
                      <a:schemeClr val="bg1">
                        <a:lumMod val="65000"/>
                      </a:schemeClr>
                    </a:solidFill>
                  </a:tcPr>
                </a:tc>
                <a:tc>
                  <a:txBody>
                    <a:bodyPr/>
                    <a:lstStyle/>
                    <a:p>
                      <a:pPr algn="ctr"/>
                      <a:r>
                        <a:rPr lang="en-US" sz="1100" b="1" dirty="0">
                          <a:solidFill>
                            <a:schemeClr val="bg1"/>
                          </a:solidFill>
                          <a:latin typeface="Gotham Medium" panose="02000603030000020004" pitchFamily="2" charset="0"/>
                        </a:rPr>
                        <a:t>Total No. of Students Appeared for CET</a:t>
                      </a:r>
                    </a:p>
                  </a:txBody>
                  <a:tcPr anchor="ctr">
                    <a:solidFill>
                      <a:schemeClr val="bg1">
                        <a:lumMod val="65000"/>
                      </a:schemeClr>
                    </a:solidFill>
                  </a:tcPr>
                </a:tc>
                <a:tc>
                  <a:txBody>
                    <a:bodyPr/>
                    <a:lstStyle/>
                    <a:p>
                      <a:pPr algn="ctr"/>
                      <a:r>
                        <a:rPr lang="en-US" sz="1100" b="1" dirty="0">
                          <a:solidFill>
                            <a:schemeClr val="bg1"/>
                          </a:solidFill>
                          <a:latin typeface="Gotham Medium" panose="02000603030000020004" pitchFamily="2" charset="0"/>
                        </a:rPr>
                        <a:t>% of Students Appeared for CET</a:t>
                      </a:r>
                    </a:p>
                  </a:txBody>
                  <a:tcPr anchor="ctr">
                    <a:solidFill>
                      <a:schemeClr val="bg1">
                        <a:lumMod val="65000"/>
                      </a:schemeClr>
                    </a:solidFill>
                  </a:tcPr>
                </a:tc>
                <a:tc>
                  <a:txBody>
                    <a:bodyPr/>
                    <a:lstStyle/>
                    <a:p>
                      <a:pPr algn="ctr"/>
                      <a:r>
                        <a:rPr lang="en-US" sz="1100" b="1" dirty="0">
                          <a:solidFill>
                            <a:schemeClr val="bg1"/>
                          </a:solidFill>
                          <a:latin typeface="Gotham Medium" panose="02000603030000020004" pitchFamily="2" charset="0"/>
                        </a:rPr>
                        <a:t>PCM</a:t>
                      </a:r>
                    </a:p>
                    <a:p>
                      <a:pPr algn="ctr"/>
                      <a:r>
                        <a:rPr lang="en-US" sz="1100" b="1" dirty="0">
                          <a:solidFill>
                            <a:schemeClr val="bg1"/>
                          </a:solidFill>
                          <a:latin typeface="Gotham Medium" panose="02000603030000020004" pitchFamily="2" charset="0"/>
                        </a:rPr>
                        <a:t>(No. of Students Appeared)</a:t>
                      </a:r>
                    </a:p>
                  </a:txBody>
                  <a:tcPr anchor="ctr">
                    <a:solidFill>
                      <a:schemeClr val="bg1">
                        <a:lumMod val="65000"/>
                      </a:schemeClr>
                    </a:solidFill>
                  </a:tcPr>
                </a:tc>
                <a:tc>
                  <a:txBody>
                    <a:bodyPr/>
                    <a:lstStyle/>
                    <a:p>
                      <a:pPr algn="ctr"/>
                      <a:r>
                        <a:rPr lang="en-US" sz="1100" b="1" dirty="0">
                          <a:solidFill>
                            <a:schemeClr val="bg1"/>
                          </a:solidFill>
                          <a:latin typeface="Gotham Medium" panose="02000603030000020004" pitchFamily="2" charset="0"/>
                        </a:rPr>
                        <a:t>PCB </a:t>
                      </a:r>
                    </a:p>
                    <a:p>
                      <a:pPr algn="ctr"/>
                      <a:r>
                        <a:rPr lang="en-US" sz="1100" b="1" dirty="0">
                          <a:solidFill>
                            <a:schemeClr val="bg1"/>
                          </a:solidFill>
                          <a:latin typeface="Gotham Medium" panose="02000603030000020004" pitchFamily="2" charset="0"/>
                        </a:rPr>
                        <a:t>(No. Students Appeared)</a:t>
                      </a:r>
                    </a:p>
                  </a:txBody>
                  <a:tcPr anchor="ctr">
                    <a:solidFill>
                      <a:schemeClr val="bg1">
                        <a:lumMod val="65000"/>
                      </a:schemeClr>
                    </a:solidFill>
                  </a:tcPr>
                </a:tc>
                <a:extLst>
                  <a:ext uri="{0D108BD9-81ED-4DB2-BD59-A6C34878D82A}">
                    <a16:rowId xmlns:a16="http://schemas.microsoft.com/office/drawing/2014/main" val="3216469482"/>
                  </a:ext>
                </a:extLst>
              </a:tr>
              <a:tr h="469208">
                <a:tc>
                  <a:txBody>
                    <a:bodyPr/>
                    <a:lstStyle/>
                    <a:p>
                      <a:pPr algn="ctr"/>
                      <a:r>
                        <a:rPr lang="en-US" sz="1400" dirty="0">
                          <a:latin typeface="Gotham Medium" panose="02000603030000020004" pitchFamily="2" charset="0"/>
                        </a:rPr>
                        <a:t>5,04,835</a:t>
                      </a:r>
                    </a:p>
                  </a:txBody>
                  <a:tcPr anchor="ctr"/>
                </a:tc>
                <a:tc>
                  <a:txBody>
                    <a:bodyPr/>
                    <a:lstStyle/>
                    <a:p>
                      <a:pPr algn="ctr"/>
                      <a:r>
                        <a:rPr lang="en-US" sz="1400" dirty="0">
                          <a:latin typeface="Gotham Medium" panose="02000603030000020004" pitchFamily="2" charset="0"/>
                        </a:rPr>
                        <a:t>4,14,968</a:t>
                      </a:r>
                    </a:p>
                  </a:txBody>
                  <a:tcPr anchor="ctr"/>
                </a:tc>
                <a:tc>
                  <a:txBody>
                    <a:bodyPr/>
                    <a:lstStyle/>
                    <a:p>
                      <a:pPr algn="ctr"/>
                      <a:r>
                        <a:rPr lang="en-US" sz="1400" dirty="0">
                          <a:latin typeface="Gotham Medium" panose="02000603030000020004" pitchFamily="2" charset="0"/>
                        </a:rPr>
                        <a:t>82.20 %</a:t>
                      </a:r>
                    </a:p>
                  </a:txBody>
                  <a:tcPr anchor="ctr"/>
                </a:tc>
                <a:tc>
                  <a:txBody>
                    <a:bodyPr/>
                    <a:lstStyle/>
                    <a:p>
                      <a:pPr algn="ctr"/>
                      <a:r>
                        <a:rPr lang="en-US" sz="1400" dirty="0">
                          <a:latin typeface="Gotham Medium" panose="02000603030000020004" pitchFamily="2" charset="0"/>
                        </a:rPr>
                        <a:t>1,92,036</a:t>
                      </a:r>
                    </a:p>
                  </a:txBody>
                  <a:tcPr anchor="ctr"/>
                </a:tc>
                <a:tc>
                  <a:txBody>
                    <a:bodyPr/>
                    <a:lstStyle/>
                    <a:p>
                      <a:pPr algn="ctr"/>
                      <a:r>
                        <a:rPr lang="en-US" sz="1400" dirty="0">
                          <a:latin typeface="Gotham Medium" panose="02000603030000020004" pitchFamily="2" charset="0"/>
                        </a:rPr>
                        <a:t>2,22,932</a:t>
                      </a:r>
                    </a:p>
                  </a:txBody>
                  <a:tcPr anchor="ctr"/>
                </a:tc>
                <a:extLst>
                  <a:ext uri="{0D108BD9-81ED-4DB2-BD59-A6C34878D82A}">
                    <a16:rowId xmlns:a16="http://schemas.microsoft.com/office/drawing/2014/main" val="2792717012"/>
                  </a:ext>
                </a:extLst>
              </a:tr>
            </a:tbl>
          </a:graphicData>
        </a:graphic>
      </p:graphicFrame>
      <p:graphicFrame>
        <p:nvGraphicFramePr>
          <p:cNvPr id="14" name="Table 9">
            <a:extLst>
              <a:ext uri="{FF2B5EF4-FFF2-40B4-BE49-F238E27FC236}">
                <a16:creationId xmlns:a16="http://schemas.microsoft.com/office/drawing/2014/main" id="{DC549C2C-60AA-4AF5-908A-256B64845C00}"/>
              </a:ext>
            </a:extLst>
          </p:cNvPr>
          <p:cNvGraphicFramePr>
            <a:graphicFrameLocks noGrp="1"/>
          </p:cNvGraphicFramePr>
          <p:nvPr/>
        </p:nvGraphicFramePr>
        <p:xfrm>
          <a:off x="1898390" y="3286749"/>
          <a:ext cx="6934200" cy="1425083"/>
        </p:xfrm>
        <a:graphic>
          <a:graphicData uri="http://schemas.openxmlformats.org/drawingml/2006/table">
            <a:tbl>
              <a:tblPr firstRow="1" bandRow="1">
                <a:tableStyleId>{5940675A-B579-460E-94D1-54222C63F5DA}</a:tableStyleId>
              </a:tblPr>
              <a:tblGrid>
                <a:gridCol w="1155700">
                  <a:extLst>
                    <a:ext uri="{9D8B030D-6E8A-4147-A177-3AD203B41FA5}">
                      <a16:colId xmlns:a16="http://schemas.microsoft.com/office/drawing/2014/main" val="2311794250"/>
                    </a:ext>
                  </a:extLst>
                </a:gridCol>
                <a:gridCol w="1155700">
                  <a:extLst>
                    <a:ext uri="{9D8B030D-6E8A-4147-A177-3AD203B41FA5}">
                      <a16:colId xmlns:a16="http://schemas.microsoft.com/office/drawing/2014/main" val="336519458"/>
                    </a:ext>
                  </a:extLst>
                </a:gridCol>
                <a:gridCol w="1155700">
                  <a:extLst>
                    <a:ext uri="{9D8B030D-6E8A-4147-A177-3AD203B41FA5}">
                      <a16:colId xmlns:a16="http://schemas.microsoft.com/office/drawing/2014/main" val="2450144592"/>
                    </a:ext>
                  </a:extLst>
                </a:gridCol>
                <a:gridCol w="1155700">
                  <a:extLst>
                    <a:ext uri="{9D8B030D-6E8A-4147-A177-3AD203B41FA5}">
                      <a16:colId xmlns:a16="http://schemas.microsoft.com/office/drawing/2014/main" val="373944663"/>
                    </a:ext>
                  </a:extLst>
                </a:gridCol>
                <a:gridCol w="1155700">
                  <a:extLst>
                    <a:ext uri="{9D8B030D-6E8A-4147-A177-3AD203B41FA5}">
                      <a16:colId xmlns:a16="http://schemas.microsoft.com/office/drawing/2014/main" val="152216212"/>
                    </a:ext>
                  </a:extLst>
                </a:gridCol>
                <a:gridCol w="1155700">
                  <a:extLst>
                    <a:ext uri="{9D8B030D-6E8A-4147-A177-3AD203B41FA5}">
                      <a16:colId xmlns:a16="http://schemas.microsoft.com/office/drawing/2014/main" val="634794363"/>
                    </a:ext>
                  </a:extLst>
                </a:gridCol>
              </a:tblGrid>
              <a:tr h="327803">
                <a:tc>
                  <a:txBody>
                    <a:bodyPr/>
                    <a:lstStyle/>
                    <a:p>
                      <a:pPr algn="ctr"/>
                      <a:r>
                        <a:rPr lang="en-US" sz="1100" b="1" dirty="0">
                          <a:solidFill>
                            <a:schemeClr val="bg1"/>
                          </a:solidFill>
                          <a:latin typeface="Gotham Medium" panose="02000603030000020004" pitchFamily="2" charset="0"/>
                        </a:rPr>
                        <a:t>Group</a:t>
                      </a:r>
                    </a:p>
                  </a:txBody>
                  <a:tcPr anchor="ctr">
                    <a:solidFill>
                      <a:schemeClr val="bg1">
                        <a:lumMod val="65000"/>
                      </a:schemeClr>
                    </a:solidFill>
                  </a:tcPr>
                </a:tc>
                <a:tc>
                  <a:txBody>
                    <a:bodyPr/>
                    <a:lstStyle/>
                    <a:p>
                      <a:pPr algn="ctr"/>
                      <a:r>
                        <a:rPr lang="en-US" sz="1100" b="1" dirty="0">
                          <a:solidFill>
                            <a:schemeClr val="bg1"/>
                          </a:solidFill>
                          <a:latin typeface="Gotham Medium" panose="02000603030000020004" pitchFamily="2" charset="0"/>
                        </a:rPr>
                        <a:t>Open</a:t>
                      </a:r>
                    </a:p>
                  </a:txBody>
                  <a:tcPr anchor="ctr">
                    <a:solidFill>
                      <a:schemeClr val="bg1">
                        <a:lumMod val="65000"/>
                      </a:schemeClr>
                    </a:solidFill>
                  </a:tcPr>
                </a:tc>
                <a:tc>
                  <a:txBody>
                    <a:bodyPr/>
                    <a:lstStyle/>
                    <a:p>
                      <a:pPr algn="ctr"/>
                      <a:r>
                        <a:rPr lang="en-US" sz="1100" b="1" dirty="0">
                          <a:solidFill>
                            <a:schemeClr val="bg1"/>
                          </a:solidFill>
                          <a:latin typeface="Gotham Medium" panose="02000603030000020004" pitchFamily="2" charset="0"/>
                        </a:rPr>
                        <a:t>Category</a:t>
                      </a:r>
                    </a:p>
                  </a:txBody>
                  <a:tcPr anchor="ctr">
                    <a:solidFill>
                      <a:schemeClr val="bg1">
                        <a:lumMod val="65000"/>
                      </a:schemeClr>
                    </a:solidFill>
                  </a:tcPr>
                </a:tc>
                <a:tc>
                  <a:txBody>
                    <a:bodyPr/>
                    <a:lstStyle/>
                    <a:p>
                      <a:pPr algn="ctr"/>
                      <a:r>
                        <a:rPr lang="en-US" sz="1100" b="1" dirty="0">
                          <a:solidFill>
                            <a:schemeClr val="bg1"/>
                          </a:solidFill>
                          <a:latin typeface="Gotham Medium" panose="02000603030000020004" pitchFamily="2" charset="0"/>
                        </a:rPr>
                        <a:t>Total</a:t>
                      </a:r>
                    </a:p>
                  </a:txBody>
                  <a:tcPr anchor="ctr">
                    <a:solidFill>
                      <a:schemeClr val="bg1">
                        <a:lumMod val="65000"/>
                      </a:schemeClr>
                    </a:solidFill>
                  </a:tcPr>
                </a:tc>
                <a:tc>
                  <a:txBody>
                    <a:bodyPr/>
                    <a:lstStyle/>
                    <a:p>
                      <a:pPr algn="ctr"/>
                      <a:r>
                        <a:rPr lang="en-US" sz="1100" b="1" dirty="0">
                          <a:solidFill>
                            <a:schemeClr val="bg1"/>
                          </a:solidFill>
                          <a:latin typeface="Gotham Medium" panose="02000603030000020004" pitchFamily="2" charset="0"/>
                        </a:rPr>
                        <a:t>Girls</a:t>
                      </a:r>
                    </a:p>
                  </a:txBody>
                  <a:tcPr anchor="ctr">
                    <a:solidFill>
                      <a:schemeClr val="bg1">
                        <a:lumMod val="65000"/>
                      </a:schemeClr>
                    </a:solidFill>
                  </a:tcPr>
                </a:tc>
                <a:tc>
                  <a:txBody>
                    <a:bodyPr/>
                    <a:lstStyle/>
                    <a:p>
                      <a:pPr algn="ctr"/>
                      <a:r>
                        <a:rPr lang="en-US" sz="1100" b="1" dirty="0">
                          <a:solidFill>
                            <a:schemeClr val="bg1"/>
                          </a:solidFill>
                          <a:latin typeface="Gotham Medium" panose="02000603030000020004" pitchFamily="2" charset="0"/>
                        </a:rPr>
                        <a:t>Boys</a:t>
                      </a:r>
                    </a:p>
                  </a:txBody>
                  <a:tcPr anchor="ctr">
                    <a:solidFill>
                      <a:schemeClr val="bg1">
                        <a:lumMod val="65000"/>
                      </a:schemeClr>
                    </a:solidFill>
                  </a:tcPr>
                </a:tc>
                <a:extLst>
                  <a:ext uri="{0D108BD9-81ED-4DB2-BD59-A6C34878D82A}">
                    <a16:rowId xmlns:a16="http://schemas.microsoft.com/office/drawing/2014/main" val="3216469482"/>
                  </a:ext>
                </a:extLst>
              </a:tr>
              <a:tr h="365760">
                <a:tc>
                  <a:txBody>
                    <a:bodyPr/>
                    <a:lstStyle/>
                    <a:p>
                      <a:pPr algn="ctr"/>
                      <a:r>
                        <a:rPr lang="en-US" sz="1400" dirty="0">
                          <a:latin typeface="Gotham Medium" panose="02000603030000020004" pitchFamily="2" charset="0"/>
                        </a:rPr>
                        <a:t>PCM</a:t>
                      </a:r>
                    </a:p>
                  </a:txBody>
                  <a:tcPr anchor="ctr"/>
                </a:tc>
                <a:tc>
                  <a:txBody>
                    <a:bodyPr/>
                    <a:lstStyle/>
                    <a:p>
                      <a:pPr algn="ctr"/>
                      <a:r>
                        <a:rPr lang="en-US" sz="1400" dirty="0">
                          <a:latin typeface="Gotham Medium" panose="02000603030000020004" pitchFamily="2" charset="0"/>
                        </a:rPr>
                        <a:t>82,286</a:t>
                      </a:r>
                    </a:p>
                  </a:txBody>
                  <a:tcPr anchor="ctr"/>
                </a:tc>
                <a:tc>
                  <a:txBody>
                    <a:bodyPr/>
                    <a:lstStyle/>
                    <a:p>
                      <a:pPr algn="ctr"/>
                      <a:r>
                        <a:rPr lang="en-US" sz="1400" dirty="0">
                          <a:latin typeface="Gotham Medium" panose="02000603030000020004" pitchFamily="2" charset="0"/>
                        </a:rPr>
                        <a:t>1,09,750</a:t>
                      </a:r>
                    </a:p>
                  </a:txBody>
                  <a:tcPr anchor="ctr"/>
                </a:tc>
                <a:tc>
                  <a:txBody>
                    <a:bodyPr/>
                    <a:lstStyle/>
                    <a:p>
                      <a:pPr algn="ctr"/>
                      <a:r>
                        <a:rPr lang="en-US" sz="1600" b="1" dirty="0">
                          <a:latin typeface="Gotham Medium" panose="02000603030000020004" pitchFamily="2" charset="0"/>
                        </a:rPr>
                        <a:t>1,92,036</a:t>
                      </a:r>
                    </a:p>
                  </a:txBody>
                  <a:tcPr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tc>
                  <a:txBody>
                    <a:bodyPr/>
                    <a:lstStyle/>
                    <a:p>
                      <a:pPr algn="ctr"/>
                      <a:r>
                        <a:rPr lang="en-US" sz="1400" dirty="0">
                          <a:latin typeface="Gotham Medium" panose="02000603030000020004" pitchFamily="2" charset="0"/>
                        </a:rPr>
                        <a:t>63,726</a:t>
                      </a:r>
                    </a:p>
                  </a:txBody>
                  <a:tcPr anchor="ctr"/>
                </a:tc>
                <a:tc>
                  <a:txBody>
                    <a:bodyPr/>
                    <a:lstStyle/>
                    <a:p>
                      <a:pPr algn="ctr"/>
                      <a:r>
                        <a:rPr lang="en-US" sz="1400" dirty="0">
                          <a:latin typeface="Gotham Medium" panose="02000603030000020004" pitchFamily="2" charset="0"/>
                        </a:rPr>
                        <a:t>1,28,310</a:t>
                      </a:r>
                    </a:p>
                  </a:txBody>
                  <a:tcPr anchor="ctr"/>
                </a:tc>
                <a:extLst>
                  <a:ext uri="{0D108BD9-81ED-4DB2-BD59-A6C34878D82A}">
                    <a16:rowId xmlns:a16="http://schemas.microsoft.com/office/drawing/2014/main" val="3646421605"/>
                  </a:ext>
                </a:extLst>
              </a:tr>
              <a:tr h="365760">
                <a:tc>
                  <a:txBody>
                    <a:bodyPr/>
                    <a:lstStyle/>
                    <a:p>
                      <a:pPr algn="ctr"/>
                      <a:r>
                        <a:rPr lang="en-US" sz="1400" dirty="0">
                          <a:latin typeface="Gotham Medium" panose="02000603030000020004" pitchFamily="2" charset="0"/>
                        </a:rPr>
                        <a:t>PCB</a:t>
                      </a:r>
                    </a:p>
                  </a:txBody>
                  <a:tcPr anchor="ctr"/>
                </a:tc>
                <a:tc>
                  <a:txBody>
                    <a:bodyPr/>
                    <a:lstStyle/>
                    <a:p>
                      <a:pPr algn="ctr"/>
                      <a:r>
                        <a:rPr lang="en-US" sz="1400" dirty="0">
                          <a:latin typeface="Gotham Medium" panose="02000603030000020004" pitchFamily="2" charset="0"/>
                        </a:rPr>
                        <a:t>78,077</a:t>
                      </a:r>
                    </a:p>
                  </a:txBody>
                  <a:tcPr anchor="ctr"/>
                </a:tc>
                <a:tc>
                  <a:txBody>
                    <a:bodyPr/>
                    <a:lstStyle/>
                    <a:p>
                      <a:pPr algn="ctr"/>
                      <a:r>
                        <a:rPr lang="en-US" sz="1400" dirty="0">
                          <a:latin typeface="Gotham Medium" panose="02000603030000020004" pitchFamily="2" charset="0"/>
                        </a:rPr>
                        <a:t>1,44,855</a:t>
                      </a:r>
                    </a:p>
                  </a:txBody>
                  <a:tcPr anchor="ctr"/>
                </a:tc>
                <a:tc>
                  <a:txBody>
                    <a:bodyPr/>
                    <a:lstStyle/>
                    <a:p>
                      <a:pPr algn="ctr"/>
                      <a:r>
                        <a:rPr lang="en-US" sz="1600" b="1" dirty="0">
                          <a:latin typeface="Gotham Medium" panose="02000603030000020004" pitchFamily="2" charset="0"/>
                        </a:rPr>
                        <a:t>2,22,932</a:t>
                      </a:r>
                    </a:p>
                  </a:txBody>
                  <a:tcPr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tc>
                  <a:txBody>
                    <a:bodyPr/>
                    <a:lstStyle/>
                    <a:p>
                      <a:pPr algn="ctr"/>
                      <a:r>
                        <a:rPr lang="en-US" sz="1400" dirty="0">
                          <a:latin typeface="Gotham Medium" panose="02000603030000020004" pitchFamily="2" charset="0"/>
                        </a:rPr>
                        <a:t>1,16,415</a:t>
                      </a:r>
                    </a:p>
                  </a:txBody>
                  <a:tcPr anchor="ctr"/>
                </a:tc>
                <a:tc>
                  <a:txBody>
                    <a:bodyPr/>
                    <a:lstStyle/>
                    <a:p>
                      <a:pPr algn="ctr"/>
                      <a:r>
                        <a:rPr lang="en-US" sz="1400" dirty="0">
                          <a:latin typeface="Gotham Medium" panose="02000603030000020004" pitchFamily="2" charset="0"/>
                        </a:rPr>
                        <a:t>1,06,517</a:t>
                      </a:r>
                    </a:p>
                  </a:txBody>
                  <a:tcPr anchor="ctr"/>
                </a:tc>
                <a:extLst>
                  <a:ext uri="{0D108BD9-81ED-4DB2-BD59-A6C34878D82A}">
                    <a16:rowId xmlns:a16="http://schemas.microsoft.com/office/drawing/2014/main" val="1602076807"/>
                  </a:ext>
                </a:extLst>
              </a:tr>
              <a:tr h="365760">
                <a:tc>
                  <a:txBody>
                    <a:bodyPr/>
                    <a:lstStyle/>
                    <a:p>
                      <a:pPr algn="ctr"/>
                      <a:r>
                        <a:rPr lang="en-US" sz="1400" b="1" dirty="0">
                          <a:latin typeface="Gotham Medium" panose="02000603030000020004" pitchFamily="2" charset="0"/>
                        </a:rPr>
                        <a:t>Total</a:t>
                      </a:r>
                    </a:p>
                  </a:txBody>
                  <a:tcPr anchor="ctr"/>
                </a:tc>
                <a:tc>
                  <a:txBody>
                    <a:bodyPr/>
                    <a:lstStyle/>
                    <a:p>
                      <a:pPr algn="ctr"/>
                      <a:r>
                        <a:rPr lang="en-US" sz="1400" b="1" dirty="0">
                          <a:latin typeface="Gotham Medium" panose="02000603030000020004" pitchFamily="2" charset="0"/>
                        </a:rPr>
                        <a:t>1,60,363</a:t>
                      </a:r>
                    </a:p>
                  </a:txBody>
                  <a:tcPr anchor="ctr"/>
                </a:tc>
                <a:tc>
                  <a:txBody>
                    <a:bodyPr/>
                    <a:lstStyle/>
                    <a:p>
                      <a:pPr algn="ctr"/>
                      <a:r>
                        <a:rPr lang="en-US" sz="1400" b="1" dirty="0">
                          <a:latin typeface="Gotham Medium" panose="02000603030000020004" pitchFamily="2" charset="0"/>
                        </a:rPr>
                        <a:t>2,54,605</a:t>
                      </a:r>
                    </a:p>
                  </a:txBody>
                  <a:tcPr anchor="ctr"/>
                </a:tc>
                <a:tc>
                  <a:txBody>
                    <a:bodyPr/>
                    <a:lstStyle/>
                    <a:p>
                      <a:pPr algn="ctr"/>
                      <a:r>
                        <a:rPr lang="en-US" sz="1600" b="1" dirty="0">
                          <a:latin typeface="Gotham Medium" panose="02000603030000020004" pitchFamily="2" charset="0"/>
                        </a:rPr>
                        <a:t>4,14,968</a:t>
                      </a:r>
                    </a:p>
                  </a:txBody>
                  <a:tcPr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tc>
                  <a:txBody>
                    <a:bodyPr/>
                    <a:lstStyle/>
                    <a:p>
                      <a:pPr algn="ctr"/>
                      <a:r>
                        <a:rPr lang="en-US" sz="1400" b="1" dirty="0">
                          <a:latin typeface="Gotham Medium" panose="02000603030000020004" pitchFamily="2" charset="0"/>
                        </a:rPr>
                        <a:t>1,80,141</a:t>
                      </a:r>
                    </a:p>
                  </a:txBody>
                  <a:tcPr anchor="ctr"/>
                </a:tc>
                <a:tc>
                  <a:txBody>
                    <a:bodyPr/>
                    <a:lstStyle/>
                    <a:p>
                      <a:pPr algn="ctr"/>
                      <a:r>
                        <a:rPr lang="en-US" sz="1400" b="1" dirty="0">
                          <a:latin typeface="Gotham Medium" panose="02000603030000020004" pitchFamily="2" charset="0"/>
                        </a:rPr>
                        <a:t>2,34,827</a:t>
                      </a:r>
                    </a:p>
                  </a:txBody>
                  <a:tcPr anchor="ctr"/>
                </a:tc>
                <a:extLst>
                  <a:ext uri="{0D108BD9-81ED-4DB2-BD59-A6C34878D82A}">
                    <a16:rowId xmlns:a16="http://schemas.microsoft.com/office/drawing/2014/main" val="2891702987"/>
                  </a:ext>
                </a:extLst>
              </a:tr>
            </a:tbl>
          </a:graphicData>
        </a:graphic>
      </p:graphicFrame>
      <p:sp>
        <p:nvSpPr>
          <p:cNvPr id="3" name="TextBox 2">
            <a:extLst>
              <a:ext uri="{FF2B5EF4-FFF2-40B4-BE49-F238E27FC236}">
                <a16:creationId xmlns:a16="http://schemas.microsoft.com/office/drawing/2014/main" id="{453D03BA-5FA3-4FFD-93E9-53B602069D35}"/>
              </a:ext>
            </a:extLst>
          </p:cNvPr>
          <p:cNvSpPr txBox="1"/>
          <p:nvPr/>
        </p:nvSpPr>
        <p:spPr>
          <a:xfrm>
            <a:off x="559733" y="1311197"/>
            <a:ext cx="8302572" cy="338554"/>
          </a:xfrm>
          <a:prstGeom prst="rect">
            <a:avLst/>
          </a:prstGeom>
          <a:noFill/>
        </p:spPr>
        <p:txBody>
          <a:bodyPr wrap="square" rtlCol="0">
            <a:spAutoFit/>
          </a:bodyPr>
          <a:lstStyle/>
          <a:p>
            <a:r>
              <a:rPr lang="en-US" sz="1600" dirty="0">
                <a:latin typeface="Gotham Medium" panose="02000603030000020004" pitchFamily="2" charset="0"/>
              </a:rPr>
              <a:t>Details of Examination – Exam Centers: </a:t>
            </a:r>
            <a:r>
              <a:rPr lang="en-US" sz="1600" b="1" dirty="0">
                <a:solidFill>
                  <a:srgbClr val="FF5969"/>
                </a:solidFill>
                <a:latin typeface="Gotham Medium" panose="02000603030000020004" pitchFamily="2" charset="0"/>
              </a:rPr>
              <a:t>227</a:t>
            </a:r>
            <a:r>
              <a:rPr lang="en-US" sz="1600" dirty="0">
                <a:latin typeface="Gotham Medium" panose="02000603030000020004" pitchFamily="2" charset="0"/>
              </a:rPr>
              <a:t>, No. of Days: </a:t>
            </a:r>
            <a:r>
              <a:rPr lang="en-US" sz="1600" b="1" dirty="0">
                <a:solidFill>
                  <a:srgbClr val="FF5969"/>
                </a:solidFill>
                <a:latin typeface="Gotham Medium" panose="02000603030000020004" pitchFamily="2" charset="0"/>
              </a:rPr>
              <a:t>13</a:t>
            </a:r>
            <a:r>
              <a:rPr lang="en-US" sz="1600" dirty="0">
                <a:latin typeface="Gotham Medium" panose="02000603030000020004" pitchFamily="2" charset="0"/>
              </a:rPr>
              <a:t>, No. of Sessions: </a:t>
            </a:r>
            <a:r>
              <a:rPr lang="en-US" sz="1600" dirty="0">
                <a:solidFill>
                  <a:srgbClr val="FF5969"/>
                </a:solidFill>
                <a:latin typeface="Gotham Medium" panose="02000603030000020004" pitchFamily="2" charset="0"/>
              </a:rPr>
              <a:t>26</a:t>
            </a:r>
          </a:p>
        </p:txBody>
      </p:sp>
      <p:sp>
        <p:nvSpPr>
          <p:cNvPr id="10" name="TextBox 9">
            <a:extLst>
              <a:ext uri="{FF2B5EF4-FFF2-40B4-BE49-F238E27FC236}">
                <a16:creationId xmlns:a16="http://schemas.microsoft.com/office/drawing/2014/main" id="{D3E2CA42-2272-4565-BF9E-F476A49DB036}"/>
              </a:ext>
            </a:extLst>
          </p:cNvPr>
          <p:cNvSpPr txBox="1"/>
          <p:nvPr/>
        </p:nvSpPr>
        <p:spPr>
          <a:xfrm>
            <a:off x="1898390" y="2931387"/>
            <a:ext cx="6791247" cy="338554"/>
          </a:xfrm>
          <a:prstGeom prst="rect">
            <a:avLst/>
          </a:prstGeom>
          <a:noFill/>
        </p:spPr>
        <p:txBody>
          <a:bodyPr wrap="square">
            <a:spAutoFit/>
          </a:bodyPr>
          <a:lstStyle/>
          <a:p>
            <a:r>
              <a:rPr lang="en-US" sz="1600" dirty="0">
                <a:latin typeface="Gotham Medium" panose="02000603030000020004" pitchFamily="2" charset="0"/>
              </a:rPr>
              <a:t>Details of Examination: </a:t>
            </a:r>
            <a:r>
              <a:rPr lang="en-US" sz="1600" dirty="0">
                <a:solidFill>
                  <a:srgbClr val="FF5969"/>
                </a:solidFill>
                <a:latin typeface="Gotham Medium" panose="02000603030000020004" pitchFamily="2" charset="0"/>
              </a:rPr>
              <a:t>Category wise Students’ Attendance </a:t>
            </a:r>
          </a:p>
        </p:txBody>
      </p:sp>
    </p:spTree>
    <p:extLst>
      <p:ext uri="{BB962C8B-B14F-4D97-AF65-F5344CB8AC3E}">
        <p14:creationId xmlns:p14="http://schemas.microsoft.com/office/powerpoint/2010/main" val="268230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1552" y="431668"/>
            <a:ext cx="8772447" cy="685204"/>
          </a:xfrm>
          <a:effectLst/>
        </p:spPr>
        <p:txBody>
          <a:bodyPr vert="horz" lIns="91440" tIns="45720" rIns="91440" bIns="45720" rtlCol="0" anchor="ctr">
            <a:noAutofit/>
          </a:bodyPr>
          <a:lstStyle/>
          <a:p>
            <a:pPr algn="l"/>
            <a:r>
              <a:rPr lang="en-US" sz="3200" dirty="0">
                <a:solidFill>
                  <a:srgbClr val="FF5969"/>
                </a:solidFill>
                <a:latin typeface="Gotham Bold" panose="02000803030000020004" pitchFamily="2" charset="0"/>
              </a:rPr>
              <a:t>MHT-CET 2021: </a:t>
            </a:r>
            <a:r>
              <a:rPr lang="en-US" sz="2400" dirty="0">
                <a:solidFill>
                  <a:srgbClr val="52CBBE"/>
                </a:solidFill>
                <a:latin typeface="Gotham Bold" panose="02000803030000020004" pitchFamily="2" charset="0"/>
              </a:rPr>
              <a:t>Category wise Student Rankers </a:t>
            </a:r>
            <a:endParaRPr lang="en-US" sz="2800" dirty="0">
              <a:solidFill>
                <a:srgbClr val="52CBBE"/>
              </a:solidFill>
              <a:latin typeface="Gotham Bold" panose="02000803030000020004" pitchFamily="2" charset="0"/>
            </a:endParaRPr>
          </a:p>
        </p:txBody>
      </p:sp>
      <p:sp>
        <p:nvSpPr>
          <p:cNvPr id="11" name="Rectangle 10">
            <a:extLst>
              <a:ext uri="{FF2B5EF4-FFF2-40B4-BE49-F238E27FC236}">
                <a16:creationId xmlns:a16="http://schemas.microsoft.com/office/drawing/2014/main" id="{845C5EEB-5159-4629-9568-F22ED1B108D9}"/>
              </a:ext>
            </a:extLst>
          </p:cNvPr>
          <p:cNvSpPr/>
          <p:nvPr/>
        </p:nvSpPr>
        <p:spPr>
          <a:xfrm>
            <a:off x="152399" y="431668"/>
            <a:ext cx="221805" cy="4280164"/>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9" name="Rectangle 8">
            <a:extLst>
              <a:ext uri="{FF2B5EF4-FFF2-40B4-BE49-F238E27FC236}">
                <a16:creationId xmlns:a16="http://schemas.microsoft.com/office/drawing/2014/main" id="{845C5EEB-5159-4629-9568-F22ED1B108D9}"/>
              </a:ext>
            </a:extLst>
          </p:cNvPr>
          <p:cNvSpPr/>
          <p:nvPr/>
        </p:nvSpPr>
        <p:spPr>
          <a:xfrm rot="16200000" flipV="1">
            <a:off x="4346272" y="-3216578"/>
            <a:ext cx="70456" cy="8763000"/>
          </a:xfrm>
          <a:prstGeom prst="rect">
            <a:avLst/>
          </a:prstGeom>
          <a:solidFill>
            <a:srgbClr val="FEC63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b="1" dirty="0">
              <a:solidFill>
                <a:prstClr val="white"/>
              </a:solidFill>
              <a:latin typeface="Calibri Light"/>
            </a:endParaRPr>
          </a:p>
        </p:txBody>
      </p:sp>
      <p:graphicFrame>
        <p:nvGraphicFramePr>
          <p:cNvPr id="3" name="Table 2">
            <a:extLst>
              <a:ext uri="{FF2B5EF4-FFF2-40B4-BE49-F238E27FC236}">
                <a16:creationId xmlns:a16="http://schemas.microsoft.com/office/drawing/2014/main" id="{BB972AA3-49A8-413F-9D65-992E6BB2C7F9}"/>
              </a:ext>
            </a:extLst>
          </p:cNvPr>
          <p:cNvGraphicFramePr>
            <a:graphicFrameLocks noGrp="1"/>
          </p:cNvGraphicFramePr>
          <p:nvPr/>
        </p:nvGraphicFramePr>
        <p:xfrm>
          <a:off x="616055" y="1352550"/>
          <a:ext cx="8133351" cy="3524099"/>
        </p:xfrm>
        <a:graphic>
          <a:graphicData uri="http://schemas.openxmlformats.org/drawingml/2006/table">
            <a:tbl>
              <a:tblPr firstRow="1" firstCol="1" lastRow="1" lastCol="1" bandRow="1" bandCol="1">
                <a:tableStyleId>{5940675A-B579-460E-94D1-54222C63F5DA}</a:tableStyleId>
              </a:tblPr>
              <a:tblGrid>
                <a:gridCol w="447589">
                  <a:extLst>
                    <a:ext uri="{9D8B030D-6E8A-4147-A177-3AD203B41FA5}">
                      <a16:colId xmlns:a16="http://schemas.microsoft.com/office/drawing/2014/main" val="1210729624"/>
                    </a:ext>
                  </a:extLst>
                </a:gridCol>
                <a:gridCol w="3077762">
                  <a:extLst>
                    <a:ext uri="{9D8B030D-6E8A-4147-A177-3AD203B41FA5}">
                      <a16:colId xmlns:a16="http://schemas.microsoft.com/office/drawing/2014/main" val="3867936325"/>
                    </a:ext>
                  </a:extLst>
                </a:gridCol>
                <a:gridCol w="1152000">
                  <a:extLst>
                    <a:ext uri="{9D8B030D-6E8A-4147-A177-3AD203B41FA5}">
                      <a16:colId xmlns:a16="http://schemas.microsoft.com/office/drawing/2014/main" val="1632513555"/>
                    </a:ext>
                  </a:extLst>
                </a:gridCol>
                <a:gridCol w="1152000">
                  <a:extLst>
                    <a:ext uri="{9D8B030D-6E8A-4147-A177-3AD203B41FA5}">
                      <a16:colId xmlns:a16="http://schemas.microsoft.com/office/drawing/2014/main" val="1431848945"/>
                    </a:ext>
                  </a:extLst>
                </a:gridCol>
                <a:gridCol w="1152000">
                  <a:extLst>
                    <a:ext uri="{9D8B030D-6E8A-4147-A177-3AD203B41FA5}">
                      <a16:colId xmlns:a16="http://schemas.microsoft.com/office/drawing/2014/main" val="436767173"/>
                    </a:ext>
                  </a:extLst>
                </a:gridCol>
                <a:gridCol w="1152000">
                  <a:extLst>
                    <a:ext uri="{9D8B030D-6E8A-4147-A177-3AD203B41FA5}">
                      <a16:colId xmlns:a16="http://schemas.microsoft.com/office/drawing/2014/main" val="2700108917"/>
                    </a:ext>
                  </a:extLst>
                </a:gridCol>
              </a:tblGrid>
              <a:tr h="457200">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Sr. No.</a:t>
                      </a:r>
                    </a:p>
                  </a:txBody>
                  <a:tcPr marL="0" marR="0" marT="0" marB="0" anchor="ctr">
                    <a:solidFill>
                      <a:schemeClr val="bg1">
                        <a:lumMod val="65000"/>
                      </a:schemeClr>
                    </a:solidFill>
                  </a:tcPr>
                </a:tc>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Name of Candidate</a:t>
                      </a:r>
                    </a:p>
                  </a:txBody>
                  <a:tcPr marL="0" marR="0" marT="0" marB="0" anchor="ctr">
                    <a:solidFill>
                      <a:schemeClr val="bg1">
                        <a:lumMod val="65000"/>
                      </a:schemeClr>
                    </a:solidFill>
                  </a:tcPr>
                </a:tc>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Gender</a:t>
                      </a:r>
                    </a:p>
                  </a:txBody>
                  <a:tcPr marL="0" marR="0" marT="0" marB="0" anchor="ctr">
                    <a:solidFill>
                      <a:schemeClr val="bg1">
                        <a:lumMod val="65000"/>
                      </a:schemeClr>
                    </a:solidFill>
                  </a:tcPr>
                </a:tc>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Category</a:t>
                      </a:r>
                    </a:p>
                  </a:txBody>
                  <a:tcPr marL="0" marR="0" marT="0" marB="0" anchor="ctr">
                    <a:solidFill>
                      <a:schemeClr val="bg1">
                        <a:lumMod val="65000"/>
                      </a:schemeClr>
                    </a:solidFill>
                  </a:tcPr>
                </a:tc>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District</a:t>
                      </a:r>
                    </a:p>
                  </a:txBody>
                  <a:tcPr marL="0" marR="0" marT="0" marB="0" anchor="ctr">
                    <a:solidFill>
                      <a:schemeClr val="bg1">
                        <a:lumMod val="65000"/>
                      </a:schemeClr>
                    </a:solidFill>
                  </a:tcPr>
                </a:tc>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PCM Percentile</a:t>
                      </a:r>
                    </a:p>
                  </a:txBody>
                  <a:tcPr marL="0" marR="0" marT="0" marB="0" anchor="ctr">
                    <a:solidFill>
                      <a:schemeClr val="bg1">
                        <a:lumMod val="65000"/>
                      </a:schemeClr>
                    </a:solidFill>
                  </a:tcPr>
                </a:tc>
                <a:extLst>
                  <a:ext uri="{0D108BD9-81ED-4DB2-BD59-A6C34878D82A}">
                    <a16:rowId xmlns:a16="http://schemas.microsoft.com/office/drawing/2014/main" val="1903013605"/>
                  </a:ext>
                </a:extLst>
              </a:tr>
              <a:tr h="278809">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1</a:t>
                      </a:r>
                    </a:p>
                  </a:txBody>
                  <a:tcPr marL="0" marR="0" marT="0" marB="0" anchor="ctr">
                    <a:solidFill>
                      <a:schemeClr val="bg1">
                        <a:lumMod val="65000"/>
                      </a:schemeClr>
                    </a:solidFill>
                  </a:tcPr>
                </a:tc>
                <a:tc>
                  <a:txBody>
                    <a:bodyPr/>
                    <a:lstStyle/>
                    <a:p>
                      <a:pPr marL="72000" marR="31750" algn="l" defTabSz="914378" rtl="0" eaLnBrk="1" latinLnBrk="0" hangingPunct="1">
                        <a:lnSpc>
                          <a:spcPct val="100000"/>
                        </a:lnSpc>
                        <a:spcBef>
                          <a:spcPts val="0"/>
                        </a:spcBef>
                        <a:spcAft>
                          <a:spcPts val="0"/>
                        </a:spcAft>
                      </a:pPr>
                      <a:r>
                        <a:rPr lang="en-US" sz="1200" kern="1200" dirty="0" err="1">
                          <a:solidFill>
                            <a:schemeClr val="tx1"/>
                          </a:solidFill>
                          <a:effectLst/>
                          <a:latin typeface="Gotham Medium" panose="02000603030000020004" pitchFamily="2" charset="0"/>
                          <a:ea typeface="+mn-ea"/>
                          <a:cs typeface="+mn-cs"/>
                        </a:rPr>
                        <a:t>Chiknis</a:t>
                      </a:r>
                      <a:r>
                        <a:rPr lang="en-US" sz="1200" kern="1200" dirty="0">
                          <a:solidFill>
                            <a:schemeClr val="tx1"/>
                          </a:solidFill>
                          <a:effectLst/>
                          <a:latin typeface="Gotham Medium" panose="02000603030000020004" pitchFamily="2" charset="0"/>
                          <a:ea typeface="+mn-ea"/>
                          <a:cs typeface="+mn-cs"/>
                        </a:rPr>
                        <a:t> </a:t>
                      </a:r>
                      <a:r>
                        <a:rPr lang="en-US" sz="1200" kern="1200" dirty="0" err="1">
                          <a:solidFill>
                            <a:schemeClr val="tx1"/>
                          </a:solidFill>
                          <a:effectLst/>
                          <a:latin typeface="Gotham Medium" panose="02000603030000020004" pitchFamily="2" charset="0"/>
                          <a:ea typeface="+mn-ea"/>
                          <a:cs typeface="+mn-cs"/>
                        </a:rPr>
                        <a:t>Tapan</a:t>
                      </a:r>
                      <a:r>
                        <a:rPr lang="en-US" sz="1200" kern="1200" dirty="0">
                          <a:solidFill>
                            <a:schemeClr val="tx1"/>
                          </a:solidFill>
                          <a:effectLst/>
                          <a:latin typeface="Gotham Medium" panose="02000603030000020004" pitchFamily="2" charset="0"/>
                          <a:ea typeface="+mn-ea"/>
                          <a:cs typeface="+mn-cs"/>
                        </a:rPr>
                        <a:t> </a:t>
                      </a:r>
                      <a:r>
                        <a:rPr lang="en-US" sz="1200" kern="1200" dirty="0" err="1">
                          <a:solidFill>
                            <a:schemeClr val="tx1"/>
                          </a:solidFill>
                          <a:effectLst/>
                          <a:latin typeface="Gotham Medium" panose="02000603030000020004" pitchFamily="2" charset="0"/>
                          <a:ea typeface="+mn-ea"/>
                          <a:cs typeface="+mn-cs"/>
                        </a:rPr>
                        <a:t>Avinash</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Male</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Open</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Kolhapur</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100.00</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extLst>
                  <a:ext uri="{0D108BD9-81ED-4DB2-BD59-A6C34878D82A}">
                    <a16:rowId xmlns:a16="http://schemas.microsoft.com/office/drawing/2014/main" val="339137530"/>
                  </a:ext>
                </a:extLst>
              </a:tr>
              <a:tr h="278809">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2</a:t>
                      </a:r>
                    </a:p>
                  </a:txBody>
                  <a:tcPr marL="0" marR="0" marT="0" marB="0" anchor="ctr">
                    <a:solidFill>
                      <a:schemeClr val="bg1">
                        <a:lumMod val="65000"/>
                      </a:schemeClr>
                    </a:solidFill>
                  </a:tcPr>
                </a:tc>
                <a:tc>
                  <a:txBody>
                    <a:bodyPr/>
                    <a:lstStyle/>
                    <a:p>
                      <a:pPr marL="72000" marR="31750" algn="l" defTabSz="914378" rtl="0" eaLnBrk="1" latinLnBrk="0" hangingPunct="1">
                        <a:lnSpc>
                          <a:spcPct val="100000"/>
                        </a:lnSpc>
                        <a:spcBef>
                          <a:spcPts val="0"/>
                        </a:spcBef>
                        <a:spcAft>
                          <a:spcPts val="0"/>
                        </a:spcAft>
                      </a:pPr>
                      <a:r>
                        <a:rPr lang="en-US" sz="1200" kern="1200" dirty="0" err="1">
                          <a:solidFill>
                            <a:schemeClr val="tx1"/>
                          </a:solidFill>
                          <a:effectLst/>
                          <a:latin typeface="Gotham Medium" panose="02000603030000020004" pitchFamily="2" charset="0"/>
                          <a:ea typeface="+mn-ea"/>
                          <a:cs typeface="+mn-cs"/>
                        </a:rPr>
                        <a:t>Vedant</a:t>
                      </a:r>
                      <a:r>
                        <a:rPr lang="en-US" sz="1200" kern="1200" dirty="0">
                          <a:solidFill>
                            <a:schemeClr val="tx1"/>
                          </a:solidFill>
                          <a:effectLst/>
                          <a:latin typeface="Gotham Medium" panose="02000603030000020004" pitchFamily="2" charset="0"/>
                          <a:ea typeface="+mn-ea"/>
                          <a:cs typeface="+mn-cs"/>
                        </a:rPr>
                        <a:t> Vikas </a:t>
                      </a:r>
                      <a:r>
                        <a:rPr lang="en-US" sz="1200" kern="1200" dirty="0" err="1">
                          <a:solidFill>
                            <a:schemeClr val="tx1"/>
                          </a:solidFill>
                          <a:effectLst/>
                          <a:latin typeface="Gotham Medium" panose="02000603030000020004" pitchFamily="2" charset="0"/>
                          <a:ea typeface="+mn-ea"/>
                          <a:cs typeface="+mn-cs"/>
                        </a:rPr>
                        <a:t>Chandewar</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Male</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a:solidFill>
                            <a:schemeClr val="tx1"/>
                          </a:solidFill>
                          <a:effectLst/>
                          <a:latin typeface="Gotham Medium" panose="02000603030000020004" pitchFamily="2" charset="0"/>
                          <a:ea typeface="+mn-ea"/>
                          <a:cs typeface="+mn-cs"/>
                        </a:rPr>
                        <a:t>OBC</a:t>
                      </a:r>
                      <a:endParaRPr lang="en-IN" sz="1200" kern="120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a:solidFill>
                            <a:schemeClr val="tx1"/>
                          </a:solidFill>
                          <a:effectLst/>
                          <a:latin typeface="Gotham Medium" panose="02000603030000020004" pitchFamily="2" charset="0"/>
                          <a:ea typeface="+mn-ea"/>
                          <a:cs typeface="+mn-cs"/>
                        </a:rPr>
                        <a:t>Nagpur</a:t>
                      </a:r>
                      <a:endParaRPr lang="en-IN" sz="1200" kern="120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Gotham Medium" panose="02000603030000020004" pitchFamily="2" charset="0"/>
                          <a:ea typeface="+mn-ea"/>
                          <a:cs typeface="+mn-cs"/>
                        </a:rPr>
                        <a:t>100.00</a:t>
                      </a:r>
                      <a:endParaRPr kumimoji="0" lang="en-IN" sz="1200" b="0" i="0" u="none" strike="noStrike" kern="1200" cap="none" spc="0" normalizeH="0" baseline="0" noProof="0" dirty="0">
                        <a:ln>
                          <a:noFill/>
                        </a:ln>
                        <a:solidFill>
                          <a:prstClr val="black"/>
                        </a:solidFill>
                        <a:effectLst/>
                        <a:uLnTx/>
                        <a:uFillTx/>
                        <a:latin typeface="Gotham Medium" panose="02000603030000020004" pitchFamily="2" charset="0"/>
                        <a:ea typeface="+mn-ea"/>
                        <a:cs typeface="+mn-cs"/>
                      </a:endParaRPr>
                    </a:p>
                  </a:txBody>
                  <a:tcPr marL="0" marR="0" marT="0" marB="0" anchor="ctr"/>
                </a:tc>
                <a:extLst>
                  <a:ext uri="{0D108BD9-81ED-4DB2-BD59-A6C34878D82A}">
                    <a16:rowId xmlns:a16="http://schemas.microsoft.com/office/drawing/2014/main" val="2943278336"/>
                  </a:ext>
                </a:extLst>
              </a:tr>
              <a:tr h="278809">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3</a:t>
                      </a:r>
                    </a:p>
                  </a:txBody>
                  <a:tcPr marL="0" marR="0" marT="0" marB="0" anchor="ctr">
                    <a:solidFill>
                      <a:schemeClr val="bg1">
                        <a:lumMod val="65000"/>
                      </a:schemeClr>
                    </a:solidFill>
                  </a:tcPr>
                </a:tc>
                <a:tc>
                  <a:txBody>
                    <a:bodyPr/>
                    <a:lstStyle/>
                    <a:p>
                      <a:pPr marL="72000" marR="31750" algn="l" defTabSz="914378" rtl="0" eaLnBrk="1" latinLnBrk="0" hangingPunct="1">
                        <a:lnSpc>
                          <a:spcPct val="100000"/>
                        </a:lnSpc>
                        <a:spcBef>
                          <a:spcPts val="0"/>
                        </a:spcBef>
                        <a:spcAft>
                          <a:spcPts val="0"/>
                        </a:spcAft>
                      </a:pPr>
                      <a:r>
                        <a:rPr lang="en-US" sz="1200" kern="1200" dirty="0" err="1">
                          <a:solidFill>
                            <a:schemeClr val="tx1"/>
                          </a:solidFill>
                          <a:effectLst/>
                          <a:latin typeface="Gotham Medium" panose="02000603030000020004" pitchFamily="2" charset="0"/>
                          <a:ea typeface="+mn-ea"/>
                          <a:cs typeface="+mn-cs"/>
                        </a:rPr>
                        <a:t>Vinchhi</a:t>
                      </a:r>
                      <a:r>
                        <a:rPr lang="en-US" sz="1200" kern="1200" dirty="0">
                          <a:solidFill>
                            <a:schemeClr val="tx1"/>
                          </a:solidFill>
                          <a:effectLst/>
                          <a:latin typeface="Gotham Medium" panose="02000603030000020004" pitchFamily="2" charset="0"/>
                          <a:ea typeface="+mn-ea"/>
                          <a:cs typeface="+mn-cs"/>
                        </a:rPr>
                        <a:t> </a:t>
                      </a:r>
                      <a:r>
                        <a:rPr lang="en-US" sz="1200" kern="1200" dirty="0" err="1">
                          <a:solidFill>
                            <a:schemeClr val="tx1"/>
                          </a:solidFill>
                          <a:effectLst/>
                          <a:latin typeface="Gotham Medium" panose="02000603030000020004" pitchFamily="2" charset="0"/>
                          <a:ea typeface="+mn-ea"/>
                          <a:cs typeface="+mn-cs"/>
                        </a:rPr>
                        <a:t>Dishie</a:t>
                      </a:r>
                      <a:r>
                        <a:rPr lang="en-US" sz="1200" kern="1200" dirty="0">
                          <a:solidFill>
                            <a:schemeClr val="tx1"/>
                          </a:solidFill>
                          <a:effectLst/>
                          <a:latin typeface="Gotham Medium" panose="02000603030000020004" pitchFamily="2" charset="0"/>
                          <a:ea typeface="+mn-ea"/>
                          <a:cs typeface="+mn-cs"/>
                        </a:rPr>
                        <a:t> Dipesh</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a:solidFill>
                            <a:schemeClr val="tx1"/>
                          </a:solidFill>
                          <a:effectLst/>
                          <a:latin typeface="Gotham Medium" panose="02000603030000020004" pitchFamily="2" charset="0"/>
                          <a:ea typeface="+mn-ea"/>
                          <a:cs typeface="+mn-cs"/>
                        </a:rPr>
                        <a:t>Female</a:t>
                      </a:r>
                      <a:endParaRPr lang="en-IN" sz="1200" kern="120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Open</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Mumbai</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Gotham Medium" panose="02000603030000020004" pitchFamily="2" charset="0"/>
                          <a:ea typeface="+mn-ea"/>
                          <a:cs typeface="+mn-cs"/>
                        </a:rPr>
                        <a:t>100.00</a:t>
                      </a:r>
                      <a:endParaRPr kumimoji="0" lang="en-IN" sz="1200" b="0" i="0" u="none" strike="noStrike" kern="1200" cap="none" spc="0" normalizeH="0" baseline="0" noProof="0" dirty="0">
                        <a:ln>
                          <a:noFill/>
                        </a:ln>
                        <a:solidFill>
                          <a:prstClr val="black"/>
                        </a:solidFill>
                        <a:effectLst/>
                        <a:uLnTx/>
                        <a:uFillTx/>
                        <a:latin typeface="Gotham Medium" panose="02000603030000020004" pitchFamily="2" charset="0"/>
                        <a:ea typeface="+mn-ea"/>
                        <a:cs typeface="+mn-cs"/>
                      </a:endParaRPr>
                    </a:p>
                  </a:txBody>
                  <a:tcPr marL="0" marR="0" marT="0" marB="0" anchor="ctr"/>
                </a:tc>
                <a:extLst>
                  <a:ext uri="{0D108BD9-81ED-4DB2-BD59-A6C34878D82A}">
                    <a16:rowId xmlns:a16="http://schemas.microsoft.com/office/drawing/2014/main" val="2389449694"/>
                  </a:ext>
                </a:extLst>
              </a:tr>
              <a:tr h="278809">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4</a:t>
                      </a:r>
                    </a:p>
                  </a:txBody>
                  <a:tcPr marL="0" marR="0" marT="0" marB="0" anchor="ctr">
                    <a:solidFill>
                      <a:schemeClr val="bg1">
                        <a:lumMod val="65000"/>
                      </a:schemeClr>
                    </a:solidFill>
                  </a:tcPr>
                </a:tc>
                <a:tc>
                  <a:txBody>
                    <a:bodyPr/>
                    <a:lstStyle/>
                    <a:p>
                      <a:pPr marL="72000" marR="31750" algn="l"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Harsh Shah</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a:solidFill>
                            <a:schemeClr val="tx1"/>
                          </a:solidFill>
                          <a:effectLst/>
                          <a:latin typeface="Gotham Medium" panose="02000603030000020004" pitchFamily="2" charset="0"/>
                          <a:ea typeface="+mn-ea"/>
                          <a:cs typeface="+mn-cs"/>
                        </a:rPr>
                        <a:t>Male</a:t>
                      </a:r>
                      <a:endParaRPr lang="en-IN" sz="1200" kern="120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a:solidFill>
                            <a:schemeClr val="tx1"/>
                          </a:solidFill>
                          <a:effectLst/>
                          <a:latin typeface="Gotham Medium" panose="02000603030000020004" pitchFamily="2" charset="0"/>
                          <a:ea typeface="+mn-ea"/>
                          <a:cs typeface="+mn-cs"/>
                        </a:rPr>
                        <a:t>Open</a:t>
                      </a:r>
                      <a:endParaRPr lang="en-IN" sz="1200" kern="120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Mumbai</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Gotham Medium" panose="02000603030000020004" pitchFamily="2" charset="0"/>
                          <a:ea typeface="+mn-ea"/>
                          <a:cs typeface="+mn-cs"/>
                        </a:rPr>
                        <a:t>100.00</a:t>
                      </a:r>
                      <a:endParaRPr kumimoji="0" lang="en-IN" sz="1200" b="0" i="0" u="none" strike="noStrike" kern="1200" cap="none" spc="0" normalizeH="0" baseline="0" noProof="0" dirty="0">
                        <a:ln>
                          <a:noFill/>
                        </a:ln>
                        <a:solidFill>
                          <a:prstClr val="black"/>
                        </a:solidFill>
                        <a:effectLst/>
                        <a:uLnTx/>
                        <a:uFillTx/>
                        <a:latin typeface="Gotham Medium" panose="02000603030000020004" pitchFamily="2" charset="0"/>
                        <a:ea typeface="+mn-ea"/>
                        <a:cs typeface="+mn-cs"/>
                      </a:endParaRPr>
                    </a:p>
                  </a:txBody>
                  <a:tcPr marL="0" marR="0" marT="0" marB="0" anchor="ctr"/>
                </a:tc>
                <a:extLst>
                  <a:ext uri="{0D108BD9-81ED-4DB2-BD59-A6C34878D82A}">
                    <a16:rowId xmlns:a16="http://schemas.microsoft.com/office/drawing/2014/main" val="1906730504"/>
                  </a:ext>
                </a:extLst>
              </a:tr>
              <a:tr h="278809">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5</a:t>
                      </a:r>
                    </a:p>
                  </a:txBody>
                  <a:tcPr marL="0" marR="0" marT="0" marB="0" anchor="ctr">
                    <a:solidFill>
                      <a:schemeClr val="bg1">
                        <a:lumMod val="65000"/>
                      </a:schemeClr>
                    </a:solidFill>
                  </a:tcPr>
                </a:tc>
                <a:tc>
                  <a:txBody>
                    <a:bodyPr/>
                    <a:lstStyle/>
                    <a:p>
                      <a:pPr marL="72000" marR="31750" algn="l" defTabSz="914378" rtl="0" eaLnBrk="1" latinLnBrk="0" hangingPunct="1">
                        <a:lnSpc>
                          <a:spcPct val="100000"/>
                        </a:lnSpc>
                        <a:spcBef>
                          <a:spcPts val="0"/>
                        </a:spcBef>
                        <a:spcAft>
                          <a:spcPts val="0"/>
                        </a:spcAft>
                      </a:pPr>
                      <a:r>
                        <a:rPr lang="en-US" sz="1200" kern="1200" dirty="0" err="1">
                          <a:solidFill>
                            <a:schemeClr val="tx1"/>
                          </a:solidFill>
                          <a:effectLst/>
                          <a:latin typeface="Gotham Medium" panose="02000603030000020004" pitchFamily="2" charset="0"/>
                          <a:ea typeface="+mn-ea"/>
                          <a:cs typeface="+mn-cs"/>
                        </a:rPr>
                        <a:t>Maknojia</a:t>
                      </a:r>
                      <a:r>
                        <a:rPr lang="en-US" sz="1200" kern="1200" dirty="0">
                          <a:solidFill>
                            <a:schemeClr val="tx1"/>
                          </a:solidFill>
                          <a:effectLst/>
                          <a:latin typeface="Gotham Medium" panose="02000603030000020004" pitchFamily="2" charset="0"/>
                          <a:ea typeface="+mn-ea"/>
                          <a:cs typeface="+mn-cs"/>
                        </a:rPr>
                        <a:t> </a:t>
                      </a:r>
                      <a:r>
                        <a:rPr lang="en-US" sz="1200" kern="1200" dirty="0" err="1">
                          <a:solidFill>
                            <a:schemeClr val="tx1"/>
                          </a:solidFill>
                          <a:effectLst/>
                          <a:latin typeface="Gotham Medium" panose="02000603030000020004" pitchFamily="2" charset="0"/>
                          <a:ea typeface="+mn-ea"/>
                          <a:cs typeface="+mn-cs"/>
                        </a:rPr>
                        <a:t>Arsh</a:t>
                      </a:r>
                      <a:r>
                        <a:rPr lang="en-US" sz="1200" kern="1200" dirty="0">
                          <a:solidFill>
                            <a:schemeClr val="tx1"/>
                          </a:solidFill>
                          <a:effectLst/>
                          <a:latin typeface="Gotham Medium" panose="02000603030000020004" pitchFamily="2" charset="0"/>
                          <a:ea typeface="+mn-ea"/>
                          <a:cs typeface="+mn-cs"/>
                        </a:rPr>
                        <a:t> </a:t>
                      </a:r>
                      <a:r>
                        <a:rPr lang="en-US" sz="1200" kern="1200" dirty="0" err="1">
                          <a:solidFill>
                            <a:schemeClr val="tx1"/>
                          </a:solidFill>
                          <a:effectLst/>
                          <a:latin typeface="Gotham Medium" panose="02000603030000020004" pitchFamily="2" charset="0"/>
                          <a:ea typeface="+mn-ea"/>
                          <a:cs typeface="+mn-cs"/>
                        </a:rPr>
                        <a:t>Ajijbhai</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Male</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a:solidFill>
                            <a:schemeClr val="tx1"/>
                          </a:solidFill>
                          <a:effectLst/>
                          <a:latin typeface="Gotham Medium" panose="02000603030000020004" pitchFamily="2" charset="0"/>
                          <a:ea typeface="+mn-ea"/>
                          <a:cs typeface="+mn-cs"/>
                        </a:rPr>
                        <a:t>Open</a:t>
                      </a:r>
                      <a:endParaRPr lang="en-IN" sz="1200" kern="120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indent="2413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Mumbai</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Gotham Medium" panose="02000603030000020004" pitchFamily="2" charset="0"/>
                          <a:ea typeface="+mn-ea"/>
                          <a:cs typeface="+mn-cs"/>
                        </a:rPr>
                        <a:t>100.00</a:t>
                      </a:r>
                      <a:endParaRPr kumimoji="0" lang="en-IN" sz="1200" b="0" i="0" u="none" strike="noStrike" kern="1200" cap="none" spc="0" normalizeH="0" baseline="0" noProof="0" dirty="0">
                        <a:ln>
                          <a:noFill/>
                        </a:ln>
                        <a:solidFill>
                          <a:prstClr val="black"/>
                        </a:solidFill>
                        <a:effectLst/>
                        <a:uLnTx/>
                        <a:uFillTx/>
                        <a:latin typeface="Gotham Medium" panose="02000603030000020004" pitchFamily="2" charset="0"/>
                        <a:ea typeface="+mn-ea"/>
                        <a:cs typeface="+mn-cs"/>
                      </a:endParaRPr>
                    </a:p>
                  </a:txBody>
                  <a:tcPr marL="0" marR="0" marT="0" marB="0" anchor="ctr"/>
                </a:tc>
                <a:extLst>
                  <a:ext uri="{0D108BD9-81ED-4DB2-BD59-A6C34878D82A}">
                    <a16:rowId xmlns:a16="http://schemas.microsoft.com/office/drawing/2014/main" val="3810936036"/>
                  </a:ext>
                </a:extLst>
              </a:tr>
              <a:tr h="278809">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6</a:t>
                      </a:r>
                    </a:p>
                  </a:txBody>
                  <a:tcPr marL="0" marR="0" marT="0" marB="0" anchor="ctr">
                    <a:solidFill>
                      <a:schemeClr val="bg1">
                        <a:lumMod val="65000"/>
                      </a:schemeClr>
                    </a:solidFill>
                  </a:tcPr>
                </a:tc>
                <a:tc>
                  <a:txBody>
                    <a:bodyPr/>
                    <a:lstStyle/>
                    <a:p>
                      <a:pPr marL="72000" marR="31750" algn="l" defTabSz="914378" rtl="0" eaLnBrk="1" latinLnBrk="0" hangingPunct="1">
                        <a:lnSpc>
                          <a:spcPct val="100000"/>
                        </a:lnSpc>
                        <a:spcBef>
                          <a:spcPts val="0"/>
                        </a:spcBef>
                        <a:spcAft>
                          <a:spcPts val="0"/>
                        </a:spcAft>
                      </a:pPr>
                      <a:r>
                        <a:rPr lang="en-US" sz="1200" kern="1200" dirty="0" err="1">
                          <a:solidFill>
                            <a:schemeClr val="tx1"/>
                          </a:solidFill>
                          <a:effectLst/>
                          <a:latin typeface="Gotham Medium" panose="02000603030000020004" pitchFamily="2" charset="0"/>
                          <a:ea typeface="+mn-ea"/>
                          <a:cs typeface="+mn-cs"/>
                        </a:rPr>
                        <a:t>Sugadare</a:t>
                      </a:r>
                      <a:r>
                        <a:rPr lang="en-US" sz="1200" kern="1200" dirty="0">
                          <a:solidFill>
                            <a:schemeClr val="tx1"/>
                          </a:solidFill>
                          <a:effectLst/>
                          <a:latin typeface="Gotham Medium" panose="02000603030000020004" pitchFamily="2" charset="0"/>
                          <a:ea typeface="+mn-ea"/>
                          <a:cs typeface="+mn-cs"/>
                        </a:rPr>
                        <a:t> </a:t>
                      </a:r>
                      <a:r>
                        <a:rPr lang="en-US" sz="1200" kern="1200" dirty="0" err="1">
                          <a:solidFill>
                            <a:schemeClr val="tx1"/>
                          </a:solidFill>
                          <a:effectLst/>
                          <a:latin typeface="Gotham Medium" panose="02000603030000020004" pitchFamily="2" charset="0"/>
                          <a:ea typeface="+mn-ea"/>
                          <a:cs typeface="+mn-cs"/>
                        </a:rPr>
                        <a:t>Sachin</a:t>
                      </a:r>
                      <a:r>
                        <a:rPr lang="en-US" sz="1200" kern="1200" dirty="0">
                          <a:solidFill>
                            <a:schemeClr val="tx1"/>
                          </a:solidFill>
                          <a:effectLst/>
                          <a:latin typeface="Gotham Medium" panose="02000603030000020004" pitchFamily="2" charset="0"/>
                          <a:ea typeface="+mn-ea"/>
                          <a:cs typeface="+mn-cs"/>
                        </a:rPr>
                        <a:t> Ganesh</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a:solidFill>
                            <a:schemeClr val="tx1"/>
                          </a:solidFill>
                          <a:effectLst/>
                          <a:latin typeface="Gotham Medium" panose="02000603030000020004" pitchFamily="2" charset="0"/>
                          <a:ea typeface="+mn-ea"/>
                          <a:cs typeface="+mn-cs"/>
                        </a:rPr>
                        <a:t>Male</a:t>
                      </a:r>
                      <a:endParaRPr lang="en-IN" sz="1200" kern="120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Open</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err="1">
                          <a:solidFill>
                            <a:schemeClr val="tx1"/>
                          </a:solidFill>
                          <a:effectLst/>
                          <a:latin typeface="Gotham Medium" panose="02000603030000020004" pitchFamily="2" charset="0"/>
                          <a:ea typeface="+mn-ea"/>
                          <a:cs typeface="+mn-cs"/>
                        </a:rPr>
                        <a:t>Satara</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Gotham Medium" panose="02000603030000020004" pitchFamily="2" charset="0"/>
                          <a:ea typeface="+mn-ea"/>
                          <a:cs typeface="+mn-cs"/>
                        </a:rPr>
                        <a:t>100.00</a:t>
                      </a:r>
                      <a:endParaRPr kumimoji="0" lang="en-IN" sz="1200" b="0" i="0" u="none" strike="noStrike" kern="1200" cap="none" spc="0" normalizeH="0" baseline="0" noProof="0" dirty="0">
                        <a:ln>
                          <a:noFill/>
                        </a:ln>
                        <a:solidFill>
                          <a:prstClr val="black"/>
                        </a:solidFill>
                        <a:effectLst/>
                        <a:uLnTx/>
                        <a:uFillTx/>
                        <a:latin typeface="Gotham Medium" panose="02000603030000020004" pitchFamily="2" charset="0"/>
                        <a:ea typeface="+mn-ea"/>
                        <a:cs typeface="+mn-cs"/>
                      </a:endParaRPr>
                    </a:p>
                  </a:txBody>
                  <a:tcPr marL="0" marR="0" marT="0" marB="0" anchor="ctr"/>
                </a:tc>
                <a:extLst>
                  <a:ext uri="{0D108BD9-81ED-4DB2-BD59-A6C34878D82A}">
                    <a16:rowId xmlns:a16="http://schemas.microsoft.com/office/drawing/2014/main" val="1364669413"/>
                  </a:ext>
                </a:extLst>
              </a:tr>
              <a:tr h="278809">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7</a:t>
                      </a:r>
                    </a:p>
                  </a:txBody>
                  <a:tcPr marL="0" marR="0" marT="0" marB="0" anchor="ctr">
                    <a:solidFill>
                      <a:schemeClr val="bg1">
                        <a:lumMod val="65000"/>
                      </a:schemeClr>
                    </a:solidFill>
                  </a:tcPr>
                </a:tc>
                <a:tc>
                  <a:txBody>
                    <a:bodyPr/>
                    <a:lstStyle/>
                    <a:p>
                      <a:pPr marL="72000" marR="31750" algn="l" defTabSz="914378" rtl="0" eaLnBrk="1" latinLnBrk="0" hangingPunct="1">
                        <a:lnSpc>
                          <a:spcPct val="100000"/>
                        </a:lnSpc>
                        <a:spcBef>
                          <a:spcPts val="0"/>
                        </a:spcBef>
                        <a:spcAft>
                          <a:spcPts val="0"/>
                        </a:spcAft>
                      </a:pPr>
                      <a:r>
                        <a:rPr lang="en-US" sz="1200" kern="1200" dirty="0" err="1">
                          <a:solidFill>
                            <a:schemeClr val="tx1"/>
                          </a:solidFill>
                          <a:effectLst/>
                          <a:latin typeface="Gotham Medium" panose="02000603030000020004" pitchFamily="2" charset="0"/>
                          <a:ea typeface="+mn-ea"/>
                          <a:cs typeface="+mn-cs"/>
                        </a:rPr>
                        <a:t>Pajai</a:t>
                      </a:r>
                      <a:r>
                        <a:rPr lang="en-US" sz="1200" kern="1200" dirty="0">
                          <a:solidFill>
                            <a:schemeClr val="tx1"/>
                          </a:solidFill>
                          <a:effectLst/>
                          <a:latin typeface="Gotham Medium" panose="02000603030000020004" pitchFamily="2" charset="0"/>
                          <a:ea typeface="+mn-ea"/>
                          <a:cs typeface="+mn-cs"/>
                        </a:rPr>
                        <a:t> Sneha </a:t>
                      </a:r>
                      <a:r>
                        <a:rPr lang="en-US" sz="1200" kern="1200" dirty="0" err="1">
                          <a:solidFill>
                            <a:schemeClr val="tx1"/>
                          </a:solidFill>
                          <a:effectLst/>
                          <a:latin typeface="Gotham Medium" panose="02000603030000020004" pitchFamily="2" charset="0"/>
                          <a:ea typeface="+mn-ea"/>
                          <a:cs typeface="+mn-cs"/>
                        </a:rPr>
                        <a:t>Raosaheb</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a:solidFill>
                            <a:schemeClr val="tx1"/>
                          </a:solidFill>
                          <a:effectLst/>
                          <a:latin typeface="Gotham Medium" panose="02000603030000020004" pitchFamily="2" charset="0"/>
                          <a:ea typeface="+mn-ea"/>
                          <a:cs typeface="+mn-cs"/>
                        </a:rPr>
                        <a:t>Female</a:t>
                      </a:r>
                      <a:endParaRPr lang="en-IN" sz="1200" kern="120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DT/VJ</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a:solidFill>
                            <a:schemeClr val="tx1"/>
                          </a:solidFill>
                          <a:effectLst/>
                          <a:latin typeface="Gotham Medium" panose="02000603030000020004" pitchFamily="2" charset="0"/>
                          <a:ea typeface="+mn-ea"/>
                          <a:cs typeface="+mn-cs"/>
                        </a:rPr>
                        <a:t>Amravati</a:t>
                      </a:r>
                      <a:endParaRPr lang="en-IN" sz="1200" kern="120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Gotham Medium" panose="02000603030000020004" pitchFamily="2" charset="0"/>
                          <a:ea typeface="+mn-ea"/>
                          <a:cs typeface="+mn-cs"/>
                        </a:rPr>
                        <a:t>100.00</a:t>
                      </a:r>
                      <a:endParaRPr kumimoji="0" lang="en-IN" sz="1200" b="0" i="0" u="none" strike="noStrike" kern="1200" cap="none" spc="0" normalizeH="0" baseline="0" noProof="0" dirty="0">
                        <a:ln>
                          <a:noFill/>
                        </a:ln>
                        <a:solidFill>
                          <a:prstClr val="black"/>
                        </a:solidFill>
                        <a:effectLst/>
                        <a:uLnTx/>
                        <a:uFillTx/>
                        <a:latin typeface="Gotham Medium" panose="02000603030000020004" pitchFamily="2" charset="0"/>
                        <a:ea typeface="+mn-ea"/>
                        <a:cs typeface="+mn-cs"/>
                      </a:endParaRPr>
                    </a:p>
                  </a:txBody>
                  <a:tcPr marL="0" marR="0" marT="0" marB="0" anchor="ctr"/>
                </a:tc>
                <a:extLst>
                  <a:ext uri="{0D108BD9-81ED-4DB2-BD59-A6C34878D82A}">
                    <a16:rowId xmlns:a16="http://schemas.microsoft.com/office/drawing/2014/main" val="772203021"/>
                  </a:ext>
                </a:extLst>
              </a:tr>
              <a:tr h="278809">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8</a:t>
                      </a:r>
                    </a:p>
                  </a:txBody>
                  <a:tcPr marL="0" marR="0" marT="0" marB="0" anchor="ctr">
                    <a:solidFill>
                      <a:schemeClr val="bg1">
                        <a:lumMod val="65000"/>
                      </a:schemeClr>
                    </a:solidFill>
                  </a:tcPr>
                </a:tc>
                <a:tc>
                  <a:txBody>
                    <a:bodyPr/>
                    <a:lstStyle/>
                    <a:p>
                      <a:pPr marL="72000" marR="31750" algn="l" defTabSz="914378" rtl="0" eaLnBrk="1" latinLnBrk="0" hangingPunct="1">
                        <a:lnSpc>
                          <a:spcPct val="100000"/>
                        </a:lnSpc>
                        <a:spcBef>
                          <a:spcPts val="0"/>
                        </a:spcBef>
                        <a:spcAft>
                          <a:spcPts val="0"/>
                        </a:spcAft>
                      </a:pPr>
                      <a:r>
                        <a:rPr lang="en-US" sz="1200" kern="1200" dirty="0" err="1">
                          <a:solidFill>
                            <a:schemeClr val="tx1"/>
                          </a:solidFill>
                          <a:effectLst/>
                          <a:latin typeface="Gotham Medium" panose="02000603030000020004" pitchFamily="2" charset="0"/>
                          <a:ea typeface="+mn-ea"/>
                          <a:cs typeface="+mn-cs"/>
                        </a:rPr>
                        <a:t>Neeraja</a:t>
                      </a:r>
                      <a:r>
                        <a:rPr lang="en-US" sz="1200" kern="1200" dirty="0">
                          <a:solidFill>
                            <a:schemeClr val="tx1"/>
                          </a:solidFill>
                          <a:effectLst/>
                          <a:latin typeface="Gotham Medium" panose="02000603030000020004" pitchFamily="2" charset="0"/>
                          <a:ea typeface="+mn-ea"/>
                          <a:cs typeface="+mn-cs"/>
                        </a:rPr>
                        <a:t> Vishwanath Patil</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Female</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Open</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indent="2413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Mumbai</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otham Medium" panose="02000603030000020004" pitchFamily="2" charset="0"/>
                          <a:ea typeface="+mn-ea"/>
                          <a:cs typeface="+mn-cs"/>
                        </a:rPr>
                        <a:t>100.00</a:t>
                      </a:r>
                      <a:endParaRPr kumimoji="0" lang="en-IN" sz="1200" b="0" i="0" u="none" strike="noStrike" kern="1200" cap="none" spc="0" normalizeH="0" baseline="0" noProof="0" dirty="0">
                        <a:ln>
                          <a:noFill/>
                        </a:ln>
                        <a:solidFill>
                          <a:prstClr val="black"/>
                        </a:solidFill>
                        <a:effectLst/>
                        <a:uLnTx/>
                        <a:uFillTx/>
                        <a:latin typeface="Gotham Medium" panose="02000603030000020004" pitchFamily="2" charset="0"/>
                        <a:ea typeface="+mn-ea"/>
                        <a:cs typeface="+mn-cs"/>
                      </a:endParaRPr>
                    </a:p>
                  </a:txBody>
                  <a:tcPr marL="0" marR="0" marT="0" marB="0" anchor="ctr"/>
                </a:tc>
                <a:extLst>
                  <a:ext uri="{0D108BD9-81ED-4DB2-BD59-A6C34878D82A}">
                    <a16:rowId xmlns:a16="http://schemas.microsoft.com/office/drawing/2014/main" val="2128420812"/>
                  </a:ext>
                </a:extLst>
              </a:tr>
              <a:tr h="278809">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9</a:t>
                      </a:r>
                    </a:p>
                  </a:txBody>
                  <a:tcPr marL="0" marR="0" marT="0" marB="0" anchor="ctr">
                    <a:solidFill>
                      <a:schemeClr val="bg1">
                        <a:lumMod val="65000"/>
                      </a:schemeClr>
                    </a:solidFill>
                  </a:tcPr>
                </a:tc>
                <a:tc>
                  <a:txBody>
                    <a:bodyPr/>
                    <a:lstStyle/>
                    <a:p>
                      <a:pPr marL="72000" marR="31750" algn="l"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Mehta Aditya </a:t>
                      </a:r>
                      <a:r>
                        <a:rPr lang="en-US" sz="1200" kern="1200" dirty="0" err="1">
                          <a:solidFill>
                            <a:schemeClr val="tx1"/>
                          </a:solidFill>
                          <a:effectLst/>
                          <a:latin typeface="Gotham Medium" panose="02000603030000020004" pitchFamily="2" charset="0"/>
                          <a:ea typeface="+mn-ea"/>
                          <a:cs typeface="+mn-cs"/>
                        </a:rPr>
                        <a:t>Narbdeshwar</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a:solidFill>
                            <a:schemeClr val="tx1"/>
                          </a:solidFill>
                          <a:effectLst/>
                          <a:latin typeface="Gotham Medium" panose="02000603030000020004" pitchFamily="2" charset="0"/>
                          <a:ea typeface="+mn-ea"/>
                          <a:cs typeface="+mn-cs"/>
                        </a:rPr>
                        <a:t>Male</a:t>
                      </a:r>
                      <a:endParaRPr lang="en-IN" sz="1200" kern="120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Open</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a:solidFill>
                            <a:schemeClr val="tx1"/>
                          </a:solidFill>
                          <a:effectLst/>
                          <a:latin typeface="Gotham Medium" panose="02000603030000020004" pitchFamily="2" charset="0"/>
                          <a:ea typeface="+mn-ea"/>
                          <a:cs typeface="+mn-cs"/>
                        </a:rPr>
                        <a:t>Pune</a:t>
                      </a:r>
                      <a:endParaRPr lang="en-IN" sz="1200" kern="120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otham Medium" panose="02000603030000020004" pitchFamily="2" charset="0"/>
                          <a:ea typeface="+mn-ea"/>
                          <a:cs typeface="+mn-cs"/>
                        </a:rPr>
                        <a:t>100.00</a:t>
                      </a:r>
                      <a:endParaRPr kumimoji="0" lang="en-IN" sz="1200" b="0" i="0" u="none" strike="noStrike" kern="1200" cap="none" spc="0" normalizeH="0" baseline="0" noProof="0" dirty="0">
                        <a:ln>
                          <a:noFill/>
                        </a:ln>
                        <a:solidFill>
                          <a:prstClr val="black"/>
                        </a:solidFill>
                        <a:effectLst/>
                        <a:uLnTx/>
                        <a:uFillTx/>
                        <a:latin typeface="Gotham Medium" panose="02000603030000020004" pitchFamily="2" charset="0"/>
                        <a:ea typeface="+mn-ea"/>
                        <a:cs typeface="+mn-cs"/>
                      </a:endParaRPr>
                    </a:p>
                  </a:txBody>
                  <a:tcPr marL="0" marR="0" marT="0" marB="0" anchor="ctr"/>
                </a:tc>
                <a:extLst>
                  <a:ext uri="{0D108BD9-81ED-4DB2-BD59-A6C34878D82A}">
                    <a16:rowId xmlns:a16="http://schemas.microsoft.com/office/drawing/2014/main" val="3210812872"/>
                  </a:ext>
                </a:extLst>
              </a:tr>
              <a:tr h="278809">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10</a:t>
                      </a:r>
                    </a:p>
                  </a:txBody>
                  <a:tcPr marL="0" marR="0" marT="0" marB="0" anchor="ctr">
                    <a:solidFill>
                      <a:schemeClr val="bg1">
                        <a:lumMod val="65000"/>
                      </a:schemeClr>
                    </a:solidFill>
                  </a:tcPr>
                </a:tc>
                <a:tc>
                  <a:txBody>
                    <a:bodyPr/>
                    <a:lstStyle/>
                    <a:p>
                      <a:pPr marL="72000" marR="31750" algn="l"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Khandelwal </a:t>
                      </a:r>
                      <a:r>
                        <a:rPr lang="en-US" sz="1200" kern="1200" dirty="0" err="1">
                          <a:solidFill>
                            <a:schemeClr val="tx1"/>
                          </a:solidFill>
                          <a:effectLst/>
                          <a:latin typeface="Gotham Medium" panose="02000603030000020004" pitchFamily="2" charset="0"/>
                          <a:ea typeface="+mn-ea"/>
                          <a:cs typeface="+mn-cs"/>
                        </a:rPr>
                        <a:t>Janam</a:t>
                      </a:r>
                      <a:r>
                        <a:rPr lang="en-US" sz="1200" kern="1200" dirty="0">
                          <a:solidFill>
                            <a:schemeClr val="tx1"/>
                          </a:solidFill>
                          <a:effectLst/>
                          <a:latin typeface="Gotham Medium" panose="02000603030000020004" pitchFamily="2" charset="0"/>
                          <a:ea typeface="+mn-ea"/>
                          <a:cs typeface="+mn-cs"/>
                        </a:rPr>
                        <a:t> </a:t>
                      </a:r>
                      <a:r>
                        <a:rPr lang="en-US" sz="1200" kern="1200" dirty="0" err="1">
                          <a:solidFill>
                            <a:schemeClr val="tx1"/>
                          </a:solidFill>
                          <a:effectLst/>
                          <a:latin typeface="Gotham Medium" panose="02000603030000020004" pitchFamily="2" charset="0"/>
                          <a:ea typeface="+mn-ea"/>
                          <a:cs typeface="+mn-cs"/>
                        </a:rPr>
                        <a:t>Rameshbhai</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 Male</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Open</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Thane</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otham Medium" panose="02000603030000020004" pitchFamily="2" charset="0"/>
                          <a:ea typeface="+mn-ea"/>
                          <a:cs typeface="+mn-cs"/>
                        </a:rPr>
                        <a:t>100.00</a:t>
                      </a:r>
                      <a:endParaRPr kumimoji="0" lang="en-IN" sz="1200" b="0" i="0" u="none" strike="noStrike" kern="1200" cap="none" spc="0" normalizeH="0" baseline="0" noProof="0" dirty="0">
                        <a:ln>
                          <a:noFill/>
                        </a:ln>
                        <a:solidFill>
                          <a:prstClr val="black"/>
                        </a:solidFill>
                        <a:effectLst/>
                        <a:uLnTx/>
                        <a:uFillTx/>
                        <a:latin typeface="Gotham Medium" panose="02000603030000020004" pitchFamily="2" charset="0"/>
                        <a:ea typeface="+mn-ea"/>
                        <a:cs typeface="+mn-cs"/>
                      </a:endParaRPr>
                    </a:p>
                  </a:txBody>
                  <a:tcPr marL="0" marR="0" marT="0" marB="0" anchor="ctr"/>
                </a:tc>
                <a:extLst>
                  <a:ext uri="{0D108BD9-81ED-4DB2-BD59-A6C34878D82A}">
                    <a16:rowId xmlns:a16="http://schemas.microsoft.com/office/drawing/2014/main" val="2499983594"/>
                  </a:ext>
                </a:extLst>
              </a:tr>
              <a:tr h="278809">
                <a:tc>
                  <a:txBody>
                    <a:bodyPr/>
                    <a:lstStyle/>
                    <a:p>
                      <a:pPr marL="0" marR="31750" algn="ctr" defTabSz="914378" rtl="0" eaLnBrk="1" latinLnBrk="0" hangingPunct="1">
                        <a:lnSpc>
                          <a:spcPct val="100000"/>
                        </a:lnSpc>
                        <a:spcBef>
                          <a:spcPts val="0"/>
                        </a:spcBef>
                        <a:spcAft>
                          <a:spcPts val="0"/>
                        </a:spcAft>
                      </a:pPr>
                      <a:r>
                        <a:rPr lang="en-US" sz="1200" b="1" kern="1200" dirty="0">
                          <a:solidFill>
                            <a:schemeClr val="bg1"/>
                          </a:solidFill>
                          <a:effectLst/>
                          <a:latin typeface="Gotham Medium" panose="02000603030000020004" pitchFamily="2" charset="0"/>
                          <a:ea typeface="+mn-ea"/>
                          <a:cs typeface="+mn-cs"/>
                        </a:rPr>
                        <a:t>11</a:t>
                      </a:r>
                    </a:p>
                  </a:txBody>
                  <a:tcPr marL="0" marR="0" marT="0" marB="0" anchor="ctr">
                    <a:solidFill>
                      <a:schemeClr val="bg1">
                        <a:lumMod val="65000"/>
                      </a:schemeClr>
                    </a:solidFill>
                  </a:tcPr>
                </a:tc>
                <a:tc>
                  <a:txBody>
                    <a:bodyPr/>
                    <a:lstStyle/>
                    <a:p>
                      <a:pPr marL="72000" marR="31750" algn="l" defTabSz="914378" rtl="0" eaLnBrk="1" latinLnBrk="0" hangingPunct="1">
                        <a:lnSpc>
                          <a:spcPct val="100000"/>
                        </a:lnSpc>
                        <a:spcBef>
                          <a:spcPts val="0"/>
                        </a:spcBef>
                        <a:spcAft>
                          <a:spcPts val="0"/>
                        </a:spcAft>
                      </a:pPr>
                      <a:r>
                        <a:rPr lang="en-US" sz="1200" kern="1200" dirty="0" err="1">
                          <a:solidFill>
                            <a:schemeClr val="tx1"/>
                          </a:solidFill>
                          <a:effectLst/>
                          <a:latin typeface="Gotham Medium" panose="02000603030000020004" pitchFamily="2" charset="0"/>
                          <a:ea typeface="+mn-ea"/>
                          <a:cs typeface="+mn-cs"/>
                        </a:rPr>
                        <a:t>Krisha</a:t>
                      </a:r>
                      <a:r>
                        <a:rPr lang="en-US" sz="1200" kern="1200" dirty="0">
                          <a:solidFill>
                            <a:schemeClr val="tx1"/>
                          </a:solidFill>
                          <a:effectLst/>
                          <a:latin typeface="Gotham Medium" panose="02000603030000020004" pitchFamily="2" charset="0"/>
                          <a:ea typeface="+mn-ea"/>
                          <a:cs typeface="+mn-cs"/>
                        </a:rPr>
                        <a:t> Rakesh Shah</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Female</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Open</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Mumbai</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tc>
                  <a:txBody>
                    <a:bodyPr/>
                    <a:lstStyle/>
                    <a:p>
                      <a:pPr marL="0" marR="31750" algn="ctr" defTabSz="914378" rtl="0" eaLnBrk="1" latinLnBrk="0" hangingPunct="1">
                        <a:lnSpc>
                          <a:spcPct val="100000"/>
                        </a:lnSpc>
                        <a:spcBef>
                          <a:spcPts val="0"/>
                        </a:spcBef>
                        <a:spcAft>
                          <a:spcPts val="0"/>
                        </a:spcAft>
                      </a:pPr>
                      <a:r>
                        <a:rPr lang="en-US" sz="1200" kern="1200" dirty="0">
                          <a:solidFill>
                            <a:schemeClr val="tx1"/>
                          </a:solidFill>
                          <a:effectLst/>
                          <a:latin typeface="Gotham Medium" panose="02000603030000020004" pitchFamily="2" charset="0"/>
                          <a:ea typeface="+mn-ea"/>
                          <a:cs typeface="+mn-cs"/>
                        </a:rPr>
                        <a:t>100.00</a:t>
                      </a:r>
                      <a:endParaRPr lang="en-IN" sz="1200" kern="1200" dirty="0">
                        <a:solidFill>
                          <a:schemeClr val="tx1"/>
                        </a:solidFill>
                        <a:effectLst/>
                        <a:latin typeface="Gotham Medium" panose="02000603030000020004" pitchFamily="2" charset="0"/>
                        <a:ea typeface="+mn-ea"/>
                        <a:cs typeface="+mn-cs"/>
                      </a:endParaRPr>
                    </a:p>
                  </a:txBody>
                  <a:tcPr marL="0" marR="0" marT="0" marB="0" anchor="ctr"/>
                </a:tc>
                <a:extLst>
                  <a:ext uri="{0D108BD9-81ED-4DB2-BD59-A6C34878D82A}">
                    <a16:rowId xmlns:a16="http://schemas.microsoft.com/office/drawing/2014/main" val="2579826624"/>
                  </a:ext>
                </a:extLst>
              </a:tr>
            </a:tbl>
          </a:graphicData>
        </a:graphic>
      </p:graphicFrame>
    </p:spTree>
    <p:extLst>
      <p:ext uri="{BB962C8B-B14F-4D97-AF65-F5344CB8AC3E}">
        <p14:creationId xmlns:p14="http://schemas.microsoft.com/office/powerpoint/2010/main" val="2143763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5936EB6-E534-4F5A-8808-722616B7EE79}"/>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saturation sat="400000"/>
                    </a14:imgEffect>
                  </a14:imgLayer>
                </a14:imgProps>
              </a:ext>
              <a:ext uri="{28A0092B-C50C-407E-A947-70E740481C1C}">
                <a14:useLocalDpi xmlns:a14="http://schemas.microsoft.com/office/drawing/2010/main" val="0"/>
              </a:ext>
            </a:extLst>
          </a:blip>
          <a:srcRect l="5991" t="4383" r="5991" b="21852"/>
          <a:stretch/>
        </p:blipFill>
        <p:spPr>
          <a:xfrm>
            <a:off x="3351278" y="57150"/>
            <a:ext cx="4421122" cy="5060646"/>
          </a:xfrm>
          <a:prstGeom prst="rect">
            <a:avLst/>
          </a:prstGeom>
        </p:spPr>
      </p:pic>
      <p:sp>
        <p:nvSpPr>
          <p:cNvPr id="4" name="Rectangle 3">
            <a:extLst>
              <a:ext uri="{FF2B5EF4-FFF2-40B4-BE49-F238E27FC236}">
                <a16:creationId xmlns:a16="http://schemas.microsoft.com/office/drawing/2014/main" id="{845C5EEB-5159-4629-9568-F22ED1B108D9}"/>
              </a:ext>
            </a:extLst>
          </p:cNvPr>
          <p:cNvSpPr/>
          <p:nvPr/>
        </p:nvSpPr>
        <p:spPr>
          <a:xfrm>
            <a:off x="-4482" y="-1"/>
            <a:ext cx="156881" cy="5142251"/>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7" name="Rectangle 6">
            <a:extLst>
              <a:ext uri="{FF2B5EF4-FFF2-40B4-BE49-F238E27FC236}">
                <a16:creationId xmlns:a16="http://schemas.microsoft.com/office/drawing/2014/main" id="{02E9182E-0048-4220-BE33-C57F639C4F6F}"/>
              </a:ext>
            </a:extLst>
          </p:cNvPr>
          <p:cNvSpPr/>
          <p:nvPr/>
        </p:nvSpPr>
        <p:spPr>
          <a:xfrm flipH="1">
            <a:off x="78440" y="447494"/>
            <a:ext cx="148638" cy="609485"/>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
        <p:nvSpPr>
          <p:cNvPr id="8" name="Title 1">
            <a:extLst>
              <a:ext uri="{FF2B5EF4-FFF2-40B4-BE49-F238E27FC236}">
                <a16:creationId xmlns:a16="http://schemas.microsoft.com/office/drawing/2014/main" id="{12BBBB0A-D2E2-490F-942F-2F88160CA609}"/>
              </a:ext>
            </a:extLst>
          </p:cNvPr>
          <p:cNvSpPr txBox="1">
            <a:spLocks/>
          </p:cNvSpPr>
          <p:nvPr/>
        </p:nvSpPr>
        <p:spPr>
          <a:xfrm>
            <a:off x="371553" y="431668"/>
            <a:ext cx="8712346" cy="685204"/>
          </a:xfrm>
          <a:prstGeom prst="rect">
            <a:avLst/>
          </a:prstGeom>
          <a:effectLst/>
        </p:spPr>
        <p:txBody>
          <a:bodyPr vert="horz" lIns="91440" tIns="45720" rIns="91440" bIns="45720" rtlCol="0" anchor="ctr">
            <a:noAutofit/>
          </a:bodyPr>
          <a:lstStyle>
            <a:lvl1pPr algn="ctr" defTabSz="914378"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MHT-CET </a:t>
            </a:r>
            <a:br>
              <a:rPr lang="en-US" sz="2800" dirty="0">
                <a:solidFill>
                  <a:srgbClr val="FF5969"/>
                </a:solidFill>
                <a:latin typeface="Gotham Bold" panose="02000803030000020004" pitchFamily="2" charset="0"/>
              </a:rPr>
            </a:br>
            <a:r>
              <a:rPr lang="en-US" sz="2800" dirty="0">
                <a:solidFill>
                  <a:srgbClr val="FF5969"/>
                </a:solidFill>
                <a:latin typeface="Gotham Bold" panose="02000803030000020004" pitchFamily="2" charset="0"/>
              </a:rPr>
              <a:t>Score Card</a:t>
            </a:r>
          </a:p>
        </p:txBody>
      </p:sp>
      <p:sp>
        <p:nvSpPr>
          <p:cNvPr id="5" name="Rectangle 4">
            <a:extLst>
              <a:ext uri="{FF2B5EF4-FFF2-40B4-BE49-F238E27FC236}">
                <a16:creationId xmlns:a16="http://schemas.microsoft.com/office/drawing/2014/main" id="{D355C4A1-43FC-49DE-B27F-0E5E583F89EA}"/>
              </a:ext>
            </a:extLst>
          </p:cNvPr>
          <p:cNvSpPr/>
          <p:nvPr/>
        </p:nvSpPr>
        <p:spPr>
          <a:xfrm>
            <a:off x="4417178" y="1615487"/>
            <a:ext cx="1143000" cy="76200"/>
          </a:xfrm>
          <a:prstGeom prst="rect">
            <a:avLst/>
          </a:prstGeom>
          <a:solidFill>
            <a:srgbClr val="C1D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6F0BAF5C-DCBF-4412-A349-BDA9948ABF79}"/>
              </a:ext>
            </a:extLst>
          </p:cNvPr>
          <p:cNvSpPr/>
          <p:nvPr/>
        </p:nvSpPr>
        <p:spPr>
          <a:xfrm>
            <a:off x="5287835" y="1836854"/>
            <a:ext cx="384422" cy="76200"/>
          </a:xfrm>
          <a:prstGeom prst="rect">
            <a:avLst/>
          </a:prstGeom>
          <a:solidFill>
            <a:srgbClr val="C1D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Rectangle 10">
            <a:extLst>
              <a:ext uri="{FF2B5EF4-FFF2-40B4-BE49-F238E27FC236}">
                <a16:creationId xmlns:a16="http://schemas.microsoft.com/office/drawing/2014/main" id="{6ADB7D79-1E57-4775-9608-0437B35B2C7E}"/>
              </a:ext>
            </a:extLst>
          </p:cNvPr>
          <p:cNvSpPr/>
          <p:nvPr/>
        </p:nvSpPr>
        <p:spPr>
          <a:xfrm>
            <a:off x="4783249" y="2052201"/>
            <a:ext cx="384422" cy="76200"/>
          </a:xfrm>
          <a:prstGeom prst="rect">
            <a:avLst/>
          </a:prstGeom>
          <a:solidFill>
            <a:srgbClr val="C1D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Rectangle 11">
            <a:extLst>
              <a:ext uri="{FF2B5EF4-FFF2-40B4-BE49-F238E27FC236}">
                <a16:creationId xmlns:a16="http://schemas.microsoft.com/office/drawing/2014/main" id="{8B84AD97-8A41-4716-810F-6C141CE20A3F}"/>
              </a:ext>
            </a:extLst>
          </p:cNvPr>
          <p:cNvSpPr/>
          <p:nvPr/>
        </p:nvSpPr>
        <p:spPr>
          <a:xfrm>
            <a:off x="6834293" y="1581149"/>
            <a:ext cx="680718" cy="826529"/>
          </a:xfrm>
          <a:prstGeom prst="rect">
            <a:avLst/>
          </a:prstGeom>
          <a:solidFill>
            <a:srgbClr val="C1D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4" name="Straight Arrow Connector 13">
            <a:extLst>
              <a:ext uri="{FF2B5EF4-FFF2-40B4-BE49-F238E27FC236}">
                <a16:creationId xmlns:a16="http://schemas.microsoft.com/office/drawing/2014/main" id="{BB2CA05B-62ED-4B85-A062-C2BEA8C78CD8}"/>
              </a:ext>
            </a:extLst>
          </p:cNvPr>
          <p:cNvCxnSpPr>
            <a:cxnSpLocks/>
          </p:cNvCxnSpPr>
          <p:nvPr/>
        </p:nvCxnSpPr>
        <p:spPr>
          <a:xfrm>
            <a:off x="2626362" y="3174577"/>
            <a:ext cx="762000" cy="0"/>
          </a:xfrm>
          <a:prstGeom prst="straightConnector1">
            <a:avLst/>
          </a:prstGeom>
          <a:ln w="57150">
            <a:solidFill>
              <a:srgbClr val="FF5969"/>
            </a:solidFill>
            <a:tailEnd type="triangle"/>
          </a:ln>
        </p:spPr>
        <p:style>
          <a:lnRef idx="3">
            <a:schemeClr val="accent2"/>
          </a:lnRef>
          <a:fillRef idx="0">
            <a:schemeClr val="accent2"/>
          </a:fillRef>
          <a:effectRef idx="2">
            <a:schemeClr val="accent2"/>
          </a:effectRef>
          <a:fontRef idx="minor">
            <a:schemeClr val="tx1"/>
          </a:fontRef>
        </p:style>
      </p:cxnSp>
      <p:sp>
        <p:nvSpPr>
          <p:cNvPr id="18" name="Rectangle 17">
            <a:extLst>
              <a:ext uri="{FF2B5EF4-FFF2-40B4-BE49-F238E27FC236}">
                <a16:creationId xmlns:a16="http://schemas.microsoft.com/office/drawing/2014/main" id="{1EF5DC5C-8570-4B59-8E04-0204FEDF6BE9}"/>
              </a:ext>
            </a:extLst>
          </p:cNvPr>
          <p:cNvSpPr/>
          <p:nvPr/>
        </p:nvSpPr>
        <p:spPr>
          <a:xfrm>
            <a:off x="4253654" y="1369566"/>
            <a:ext cx="384422" cy="76200"/>
          </a:xfrm>
          <a:prstGeom prst="rect">
            <a:avLst/>
          </a:prstGeom>
          <a:solidFill>
            <a:srgbClr val="C1D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Rectangle 18">
            <a:extLst>
              <a:ext uri="{FF2B5EF4-FFF2-40B4-BE49-F238E27FC236}">
                <a16:creationId xmlns:a16="http://schemas.microsoft.com/office/drawing/2014/main" id="{9DFA07CC-5A14-4B73-AF5C-E9AE73BC4956}"/>
              </a:ext>
            </a:extLst>
          </p:cNvPr>
          <p:cNvSpPr/>
          <p:nvPr/>
        </p:nvSpPr>
        <p:spPr>
          <a:xfrm>
            <a:off x="5615748" y="1362031"/>
            <a:ext cx="384422" cy="76200"/>
          </a:xfrm>
          <a:prstGeom prst="rect">
            <a:avLst/>
          </a:prstGeom>
          <a:solidFill>
            <a:srgbClr val="C1DE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980107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5861C211-F2BC-4DE5-97B4-A35F13D6E8A7}"/>
              </a:ext>
            </a:extLst>
          </p:cNvPr>
          <p:cNvGraphicFramePr>
            <a:graphicFrameLocks noGrp="1"/>
          </p:cNvGraphicFramePr>
          <p:nvPr>
            <p:extLst>
              <p:ext uri="{D42A27DB-BD31-4B8C-83A1-F6EECF244321}">
                <p14:modId xmlns:p14="http://schemas.microsoft.com/office/powerpoint/2010/main" val="1466529700"/>
              </p:ext>
            </p:extLst>
          </p:nvPr>
        </p:nvGraphicFramePr>
        <p:xfrm>
          <a:off x="6315298" y="1276349"/>
          <a:ext cx="2743201" cy="3507089"/>
        </p:xfrm>
        <a:graphic>
          <a:graphicData uri="http://schemas.openxmlformats.org/drawingml/2006/table">
            <a:tbl>
              <a:tblPr firstRow="1" bandRow="1">
                <a:tableStyleId>{5940675A-B579-460E-94D1-54222C63F5DA}</a:tableStyleId>
              </a:tblPr>
              <a:tblGrid>
                <a:gridCol w="524720">
                  <a:extLst>
                    <a:ext uri="{9D8B030D-6E8A-4147-A177-3AD203B41FA5}">
                      <a16:colId xmlns:a16="http://schemas.microsoft.com/office/drawing/2014/main" val="864184181"/>
                    </a:ext>
                  </a:extLst>
                </a:gridCol>
                <a:gridCol w="981240">
                  <a:extLst>
                    <a:ext uri="{9D8B030D-6E8A-4147-A177-3AD203B41FA5}">
                      <a16:colId xmlns:a16="http://schemas.microsoft.com/office/drawing/2014/main" val="2582395970"/>
                    </a:ext>
                  </a:extLst>
                </a:gridCol>
                <a:gridCol w="1237241">
                  <a:extLst>
                    <a:ext uri="{9D8B030D-6E8A-4147-A177-3AD203B41FA5}">
                      <a16:colId xmlns:a16="http://schemas.microsoft.com/office/drawing/2014/main" val="1237840813"/>
                    </a:ext>
                  </a:extLst>
                </a:gridCol>
              </a:tblGrid>
              <a:tr h="461826">
                <a:tc>
                  <a:txBody>
                    <a:bodyPr/>
                    <a:lstStyle/>
                    <a:p>
                      <a:pPr algn="ctr"/>
                      <a:r>
                        <a:rPr lang="en-US" sz="1100" dirty="0">
                          <a:solidFill>
                            <a:schemeClr val="bg1"/>
                          </a:solidFill>
                          <a:latin typeface="Gotham Medium" panose="02000603030000020004" pitchFamily="2" charset="0"/>
                        </a:rPr>
                        <a:t>Sr. No.</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algn="ctr"/>
                      <a:r>
                        <a:rPr lang="en-IN" sz="1100" dirty="0">
                          <a:solidFill>
                            <a:schemeClr val="bg1"/>
                          </a:solidFill>
                          <a:latin typeface="Gotham Medium" panose="02000603030000020004" pitchFamily="2" charset="0"/>
                        </a:rPr>
                        <a:t>Percentile</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algn="ctr"/>
                      <a:r>
                        <a:rPr lang="en-IN" sz="1100" dirty="0">
                          <a:solidFill>
                            <a:schemeClr val="bg1"/>
                          </a:solidFill>
                          <a:latin typeface="Gotham Medium" panose="02000603030000020004" pitchFamily="2" charset="0"/>
                        </a:rPr>
                        <a:t>Rank Number </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extLst>
                  <a:ext uri="{0D108BD9-81ED-4DB2-BD59-A6C34878D82A}">
                    <a16:rowId xmlns:a16="http://schemas.microsoft.com/office/drawing/2014/main" val="10000"/>
                  </a:ext>
                </a:extLst>
              </a:tr>
              <a:tr h="307883">
                <a:tc>
                  <a:txBody>
                    <a:bodyPr/>
                    <a:lstStyle/>
                    <a:p>
                      <a:pPr algn="ctr"/>
                      <a:r>
                        <a:rPr lang="en-IN" sz="1200" dirty="0">
                          <a:solidFill>
                            <a:schemeClr val="bg1"/>
                          </a:solidFill>
                          <a:latin typeface="Gotham Medium" panose="02000603030000020004" pitchFamily="2" charset="0"/>
                        </a:rPr>
                        <a:t>21</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1</a:t>
                      </a:r>
                    </a:p>
                  </a:txBody>
                  <a:tcPr marL="9525" marR="9525" marT="9525" marB="0" anchor="ctr">
                    <a:solidFill>
                      <a:schemeClr val="bg1"/>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7,700</a:t>
                      </a:r>
                    </a:p>
                  </a:txBody>
                  <a:tcPr marL="9525" marR="9525" marT="9525" marB="0" anchor="ctr"/>
                </a:tc>
                <a:extLst>
                  <a:ext uri="{0D108BD9-81ED-4DB2-BD59-A6C34878D82A}">
                    <a16:rowId xmlns:a16="http://schemas.microsoft.com/office/drawing/2014/main" val="10001"/>
                  </a:ext>
                </a:extLst>
              </a:tr>
              <a:tr h="307883">
                <a:tc>
                  <a:txBody>
                    <a:bodyPr/>
                    <a:lstStyle/>
                    <a:p>
                      <a:pPr algn="ctr"/>
                      <a:r>
                        <a:rPr lang="en-IN" sz="1200" dirty="0">
                          <a:solidFill>
                            <a:schemeClr val="bg1"/>
                          </a:solidFill>
                          <a:latin typeface="Gotham Medium" panose="02000603030000020004" pitchFamily="2" charset="0"/>
                        </a:rPr>
                        <a:t>22</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0</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9,961</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extLst>
                  <a:ext uri="{0D108BD9-81ED-4DB2-BD59-A6C34878D82A}">
                    <a16:rowId xmlns:a16="http://schemas.microsoft.com/office/drawing/2014/main" val="10002"/>
                  </a:ext>
                </a:extLst>
              </a:tr>
              <a:tr h="307883">
                <a:tc>
                  <a:txBody>
                    <a:bodyPr/>
                    <a:lstStyle/>
                    <a:p>
                      <a:pPr algn="ctr"/>
                      <a:r>
                        <a:rPr lang="en-IN" sz="1200" dirty="0">
                          <a:solidFill>
                            <a:schemeClr val="bg1"/>
                          </a:solidFill>
                          <a:latin typeface="Gotham Medium" panose="02000603030000020004" pitchFamily="2" charset="0"/>
                        </a:rPr>
                        <a:t>23</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80</a:t>
                      </a:r>
                    </a:p>
                  </a:txBody>
                  <a:tcPr marL="9525" marR="9525" marT="9525" marB="0" anchor="ctr">
                    <a:solidFill>
                      <a:schemeClr val="bg1"/>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39,324</a:t>
                      </a:r>
                    </a:p>
                  </a:txBody>
                  <a:tcPr marL="9525" marR="9525" marT="9525" marB="0" anchor="ctr"/>
                </a:tc>
                <a:extLst>
                  <a:ext uri="{0D108BD9-81ED-4DB2-BD59-A6C34878D82A}">
                    <a16:rowId xmlns:a16="http://schemas.microsoft.com/office/drawing/2014/main" val="10003"/>
                  </a:ext>
                </a:extLst>
              </a:tr>
              <a:tr h="307883">
                <a:tc>
                  <a:txBody>
                    <a:bodyPr/>
                    <a:lstStyle/>
                    <a:p>
                      <a:pPr algn="ctr"/>
                      <a:r>
                        <a:rPr lang="en-IN" sz="1200" dirty="0">
                          <a:solidFill>
                            <a:schemeClr val="bg1"/>
                          </a:solidFill>
                          <a:latin typeface="Gotham Medium" panose="02000603030000020004" pitchFamily="2" charset="0"/>
                        </a:rPr>
                        <a:t>24</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70</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59,524</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extLst>
                  <a:ext uri="{0D108BD9-81ED-4DB2-BD59-A6C34878D82A}">
                    <a16:rowId xmlns:a16="http://schemas.microsoft.com/office/drawing/2014/main" val="10004"/>
                  </a:ext>
                </a:extLst>
              </a:tr>
              <a:tr h="307883">
                <a:tc>
                  <a:txBody>
                    <a:bodyPr/>
                    <a:lstStyle/>
                    <a:p>
                      <a:pPr algn="ctr"/>
                      <a:r>
                        <a:rPr lang="en-IN" sz="1200" dirty="0">
                          <a:solidFill>
                            <a:schemeClr val="bg1"/>
                          </a:solidFill>
                          <a:latin typeface="Gotham Medium" panose="02000603030000020004" pitchFamily="2" charset="0"/>
                        </a:rPr>
                        <a:t>25</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60</a:t>
                      </a:r>
                    </a:p>
                  </a:txBody>
                  <a:tcPr marL="9525" marR="9525" marT="9525" marB="0" anchor="ctr">
                    <a:solidFill>
                      <a:schemeClr val="bg1"/>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78,891</a:t>
                      </a:r>
                    </a:p>
                  </a:txBody>
                  <a:tcPr marL="9525" marR="9525" marT="9525" marB="0" anchor="ctr"/>
                </a:tc>
                <a:extLst>
                  <a:ext uri="{0D108BD9-81ED-4DB2-BD59-A6C34878D82A}">
                    <a16:rowId xmlns:a16="http://schemas.microsoft.com/office/drawing/2014/main" val="10005"/>
                  </a:ext>
                </a:extLst>
              </a:tr>
              <a:tr h="307883">
                <a:tc>
                  <a:txBody>
                    <a:bodyPr/>
                    <a:lstStyle/>
                    <a:p>
                      <a:pPr algn="ctr"/>
                      <a:r>
                        <a:rPr lang="en-IN" sz="1200" dirty="0">
                          <a:solidFill>
                            <a:schemeClr val="bg1"/>
                          </a:solidFill>
                          <a:latin typeface="Gotham Medium" panose="02000603030000020004" pitchFamily="2" charset="0"/>
                        </a:rPr>
                        <a:t>26</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50</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9,242</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extLst>
                  <a:ext uri="{0D108BD9-81ED-4DB2-BD59-A6C34878D82A}">
                    <a16:rowId xmlns:a16="http://schemas.microsoft.com/office/drawing/2014/main" val="10006"/>
                  </a:ext>
                </a:extLst>
              </a:tr>
              <a:tr h="307883">
                <a:tc>
                  <a:txBody>
                    <a:bodyPr/>
                    <a:lstStyle/>
                    <a:p>
                      <a:pPr algn="ctr"/>
                      <a:r>
                        <a:rPr lang="en-IN" sz="1200" dirty="0">
                          <a:solidFill>
                            <a:schemeClr val="bg1"/>
                          </a:solidFill>
                          <a:latin typeface="Gotham Medium" panose="02000603030000020004" pitchFamily="2" charset="0"/>
                        </a:rPr>
                        <a:t>27</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40</a:t>
                      </a:r>
                    </a:p>
                  </a:txBody>
                  <a:tcPr marL="9525" marR="9525" marT="9525" marB="0" anchor="ctr">
                    <a:solidFill>
                      <a:schemeClr val="bg1"/>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19,155</a:t>
                      </a:r>
                    </a:p>
                  </a:txBody>
                  <a:tcPr marL="9525" marR="9525" marT="9525" marB="0" anchor="ctr"/>
                </a:tc>
                <a:extLst>
                  <a:ext uri="{0D108BD9-81ED-4DB2-BD59-A6C34878D82A}">
                    <a16:rowId xmlns:a16="http://schemas.microsoft.com/office/drawing/2014/main" val="10007"/>
                  </a:ext>
                </a:extLst>
              </a:tr>
              <a:tr h="307883">
                <a:tc>
                  <a:txBody>
                    <a:bodyPr/>
                    <a:lstStyle/>
                    <a:p>
                      <a:pPr algn="ctr"/>
                      <a:r>
                        <a:rPr lang="en-IN" sz="1200" dirty="0">
                          <a:solidFill>
                            <a:schemeClr val="bg1"/>
                          </a:solidFill>
                          <a:latin typeface="Gotham Medium" panose="02000603030000020004" pitchFamily="2" charset="0"/>
                        </a:rPr>
                        <a:t>28</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30</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38,744</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extLst>
                  <a:ext uri="{0D108BD9-81ED-4DB2-BD59-A6C34878D82A}">
                    <a16:rowId xmlns:a16="http://schemas.microsoft.com/office/drawing/2014/main" val="10008"/>
                  </a:ext>
                </a:extLst>
              </a:tr>
              <a:tr h="307883">
                <a:tc>
                  <a:txBody>
                    <a:bodyPr/>
                    <a:lstStyle/>
                    <a:p>
                      <a:pPr algn="ctr"/>
                      <a:r>
                        <a:rPr lang="en-IN" sz="1200" dirty="0">
                          <a:solidFill>
                            <a:schemeClr val="bg1"/>
                          </a:solidFill>
                          <a:latin typeface="Gotham Medium" panose="02000603030000020004" pitchFamily="2" charset="0"/>
                        </a:rPr>
                        <a:t>29</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20</a:t>
                      </a:r>
                    </a:p>
                  </a:txBody>
                  <a:tcPr marL="9525" marR="9525" marT="9525" marB="0" anchor="ctr">
                    <a:solidFill>
                      <a:schemeClr val="bg1"/>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57,372</a:t>
                      </a:r>
                    </a:p>
                  </a:txBody>
                  <a:tcPr marL="9525" marR="9525" marT="9525" marB="0" anchor="ctr"/>
                </a:tc>
                <a:extLst>
                  <a:ext uri="{0D108BD9-81ED-4DB2-BD59-A6C34878D82A}">
                    <a16:rowId xmlns:a16="http://schemas.microsoft.com/office/drawing/2014/main" val="10009"/>
                  </a:ext>
                </a:extLst>
              </a:tr>
              <a:tr h="196228">
                <a:tc>
                  <a:txBody>
                    <a:bodyPr/>
                    <a:lstStyle/>
                    <a:p>
                      <a:pPr algn="ctr"/>
                      <a:r>
                        <a:rPr lang="en-IN" sz="1200" dirty="0">
                          <a:solidFill>
                            <a:schemeClr val="bg1"/>
                          </a:solidFill>
                          <a:latin typeface="Gotham Medium" panose="02000603030000020004" pitchFamily="2" charset="0"/>
                        </a:rPr>
                        <a:t>30</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0</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75,275</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extLst>
                  <a:ext uri="{0D108BD9-81ED-4DB2-BD59-A6C34878D82A}">
                    <a16:rowId xmlns:a16="http://schemas.microsoft.com/office/drawing/2014/main" val="10010"/>
                  </a:ext>
                </a:extLst>
              </a:tr>
            </a:tbl>
          </a:graphicData>
        </a:graphic>
      </p:graphicFrame>
      <p:graphicFrame>
        <p:nvGraphicFramePr>
          <p:cNvPr id="4" name="Table 3">
            <a:extLst>
              <a:ext uri="{FF2B5EF4-FFF2-40B4-BE49-F238E27FC236}">
                <a16:creationId xmlns:a16="http://schemas.microsoft.com/office/drawing/2014/main" id="{BA7BD97A-A40B-4024-B579-820C1F03BA20}"/>
              </a:ext>
            </a:extLst>
          </p:cNvPr>
          <p:cNvGraphicFramePr>
            <a:graphicFrameLocks noGrp="1"/>
          </p:cNvGraphicFramePr>
          <p:nvPr>
            <p:extLst>
              <p:ext uri="{D42A27DB-BD31-4B8C-83A1-F6EECF244321}">
                <p14:modId xmlns:p14="http://schemas.microsoft.com/office/powerpoint/2010/main" val="2085861634"/>
              </p:ext>
            </p:extLst>
          </p:nvPr>
        </p:nvGraphicFramePr>
        <p:xfrm>
          <a:off x="476978" y="1276350"/>
          <a:ext cx="2696079" cy="3540656"/>
        </p:xfrm>
        <a:graphic>
          <a:graphicData uri="http://schemas.openxmlformats.org/drawingml/2006/table">
            <a:tbl>
              <a:tblPr firstRow="1" bandRow="1">
                <a:tableStyleId>{5940675A-B579-460E-94D1-54222C63F5DA}</a:tableStyleId>
              </a:tblPr>
              <a:tblGrid>
                <a:gridCol w="486280">
                  <a:extLst>
                    <a:ext uri="{9D8B030D-6E8A-4147-A177-3AD203B41FA5}">
                      <a16:colId xmlns:a16="http://schemas.microsoft.com/office/drawing/2014/main" val="1708638978"/>
                    </a:ext>
                  </a:extLst>
                </a:gridCol>
                <a:gridCol w="990600">
                  <a:extLst>
                    <a:ext uri="{9D8B030D-6E8A-4147-A177-3AD203B41FA5}">
                      <a16:colId xmlns:a16="http://schemas.microsoft.com/office/drawing/2014/main" val="3554994279"/>
                    </a:ext>
                  </a:extLst>
                </a:gridCol>
                <a:gridCol w="1219199">
                  <a:extLst>
                    <a:ext uri="{9D8B030D-6E8A-4147-A177-3AD203B41FA5}">
                      <a16:colId xmlns:a16="http://schemas.microsoft.com/office/drawing/2014/main" val="334082572"/>
                    </a:ext>
                  </a:extLst>
                </a:gridCol>
              </a:tblGrid>
              <a:tr h="461826">
                <a:tc>
                  <a:txBody>
                    <a:bodyPr/>
                    <a:lstStyle/>
                    <a:p>
                      <a:pPr algn="ctr"/>
                      <a:r>
                        <a:rPr lang="en-US" sz="1100" dirty="0">
                          <a:solidFill>
                            <a:schemeClr val="bg1"/>
                          </a:solidFill>
                          <a:latin typeface="Gotham Medium" panose="02000603030000020004" pitchFamily="2" charset="0"/>
                        </a:rPr>
                        <a:t>Sr. No.</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algn="ctr"/>
                      <a:r>
                        <a:rPr lang="en-IN" sz="1100" dirty="0">
                          <a:solidFill>
                            <a:schemeClr val="bg1"/>
                          </a:solidFill>
                          <a:latin typeface="Gotham Medium" panose="02000603030000020004" pitchFamily="2" charset="0"/>
                        </a:rPr>
                        <a:t>Percentile</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algn="ctr"/>
                      <a:r>
                        <a:rPr lang="en-IN" sz="1100" dirty="0">
                          <a:solidFill>
                            <a:schemeClr val="bg1"/>
                          </a:solidFill>
                          <a:latin typeface="Gotham Medium" panose="02000603030000020004" pitchFamily="2" charset="0"/>
                        </a:rPr>
                        <a:t>Rank Number </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extLst>
                  <a:ext uri="{0D108BD9-81ED-4DB2-BD59-A6C34878D82A}">
                    <a16:rowId xmlns:a16="http://schemas.microsoft.com/office/drawing/2014/main" val="2308156"/>
                  </a:ext>
                </a:extLst>
              </a:tr>
              <a:tr h="307883">
                <a:tc>
                  <a:txBody>
                    <a:bodyPr/>
                    <a:lstStyle/>
                    <a:p>
                      <a:pPr algn="ctr"/>
                      <a:r>
                        <a:rPr lang="en-IN" sz="1200" dirty="0">
                          <a:solidFill>
                            <a:schemeClr val="bg1"/>
                          </a:solidFill>
                          <a:latin typeface="Gotham Medium" panose="02000603030000020004" pitchFamily="2" charset="0"/>
                        </a:rPr>
                        <a:t>1</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a:solidFill>
                            <a:schemeClr val="tx1"/>
                          </a:solidFill>
                          <a:effectLst/>
                          <a:latin typeface="Gotham Medium" panose="02000603030000020004" pitchFamily="2" charset="0"/>
                          <a:ea typeface="+mn-ea"/>
                          <a:cs typeface="+mn-cs"/>
                        </a:rPr>
                        <a:t>99.9</a:t>
                      </a:r>
                      <a:endParaRPr lang="en-US" sz="1200" u="none" strike="noStrike" kern="1200" dirty="0">
                        <a:solidFill>
                          <a:schemeClr val="tx1"/>
                        </a:solidFill>
                        <a:effectLst/>
                        <a:latin typeface="Gotham Medium" panose="02000603030000020004" pitchFamily="2" charset="0"/>
                        <a:ea typeface="+mn-ea"/>
                        <a:cs typeface="+mn-cs"/>
                      </a:endParaRPr>
                    </a:p>
                  </a:txBody>
                  <a:tcPr marL="9525" marR="9525" marT="9525" marB="0" anchor="ct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207</a:t>
                      </a:r>
                    </a:p>
                  </a:txBody>
                  <a:tcPr marL="9525" marR="9525" marT="9525" marB="0" anchor="ctr"/>
                </a:tc>
                <a:extLst>
                  <a:ext uri="{0D108BD9-81ED-4DB2-BD59-A6C34878D82A}">
                    <a16:rowId xmlns:a16="http://schemas.microsoft.com/office/drawing/2014/main" val="393565384"/>
                  </a:ext>
                </a:extLst>
              </a:tr>
              <a:tr h="307883">
                <a:tc>
                  <a:txBody>
                    <a:bodyPr/>
                    <a:lstStyle/>
                    <a:p>
                      <a:pPr algn="ctr"/>
                      <a:r>
                        <a:rPr lang="en-IN" sz="1200" dirty="0">
                          <a:solidFill>
                            <a:schemeClr val="bg1"/>
                          </a:solidFill>
                          <a:latin typeface="Gotham Medium" panose="02000603030000020004" pitchFamily="2" charset="0"/>
                        </a:rPr>
                        <a:t>2</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a:solidFill>
                            <a:schemeClr val="tx1"/>
                          </a:solidFill>
                          <a:effectLst/>
                          <a:latin typeface="Gotham Medium" panose="02000603030000020004" pitchFamily="2" charset="0"/>
                          <a:ea typeface="+mn-ea"/>
                          <a:cs typeface="+mn-cs"/>
                        </a:rPr>
                        <a:t>99.8</a:t>
                      </a:r>
                      <a:endParaRPr lang="en-US" sz="1200" u="none" strike="noStrike" kern="1200" dirty="0">
                        <a:solidFill>
                          <a:schemeClr val="tx1"/>
                        </a:solidFill>
                        <a:effectLst/>
                        <a:latin typeface="Gotham Medium" panose="02000603030000020004" pitchFamily="2" charset="0"/>
                        <a:ea typeface="+mn-ea"/>
                        <a:cs typeface="+mn-cs"/>
                      </a:endParaRPr>
                    </a:p>
                  </a:txBody>
                  <a:tcPr marL="9525" marR="9525" marT="9525" marB="0" anchor="ct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407</a:t>
                      </a:r>
                    </a:p>
                  </a:txBody>
                  <a:tcPr marL="9525" marR="9525" marT="9525" marB="0" anchor="ctr"/>
                </a:tc>
                <a:extLst>
                  <a:ext uri="{0D108BD9-81ED-4DB2-BD59-A6C34878D82A}">
                    <a16:rowId xmlns:a16="http://schemas.microsoft.com/office/drawing/2014/main" val="3571428122"/>
                  </a:ext>
                </a:extLst>
              </a:tr>
              <a:tr h="307883">
                <a:tc>
                  <a:txBody>
                    <a:bodyPr/>
                    <a:lstStyle/>
                    <a:p>
                      <a:pPr algn="ctr"/>
                      <a:r>
                        <a:rPr lang="en-IN" sz="1200" dirty="0">
                          <a:solidFill>
                            <a:schemeClr val="bg1"/>
                          </a:solidFill>
                          <a:latin typeface="Gotham Medium" panose="02000603030000020004" pitchFamily="2" charset="0"/>
                        </a:rPr>
                        <a:t>3</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a:solidFill>
                            <a:schemeClr val="tx1"/>
                          </a:solidFill>
                          <a:effectLst/>
                          <a:latin typeface="Gotham Medium" panose="02000603030000020004" pitchFamily="2" charset="0"/>
                          <a:ea typeface="+mn-ea"/>
                          <a:cs typeface="+mn-cs"/>
                        </a:rPr>
                        <a:t>99.7</a:t>
                      </a:r>
                      <a:endParaRPr lang="en-US" sz="1200" u="none" strike="noStrike" kern="1200" dirty="0">
                        <a:solidFill>
                          <a:schemeClr val="tx1"/>
                        </a:solidFill>
                        <a:effectLst/>
                        <a:latin typeface="Gotham Medium" panose="02000603030000020004" pitchFamily="2" charset="0"/>
                        <a:ea typeface="+mn-ea"/>
                        <a:cs typeface="+mn-cs"/>
                      </a:endParaRPr>
                    </a:p>
                  </a:txBody>
                  <a:tcPr marL="9525" marR="9525" marT="9525" marB="0" anchor="ct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616</a:t>
                      </a:r>
                    </a:p>
                  </a:txBody>
                  <a:tcPr marL="9525" marR="9525" marT="9525" marB="0" anchor="ctr"/>
                </a:tc>
                <a:extLst>
                  <a:ext uri="{0D108BD9-81ED-4DB2-BD59-A6C34878D82A}">
                    <a16:rowId xmlns:a16="http://schemas.microsoft.com/office/drawing/2014/main" val="3615458207"/>
                  </a:ext>
                </a:extLst>
              </a:tr>
              <a:tr h="307883">
                <a:tc>
                  <a:txBody>
                    <a:bodyPr/>
                    <a:lstStyle/>
                    <a:p>
                      <a:pPr algn="ctr"/>
                      <a:r>
                        <a:rPr lang="en-IN" sz="1200" dirty="0">
                          <a:solidFill>
                            <a:schemeClr val="bg1"/>
                          </a:solidFill>
                          <a:latin typeface="Gotham Medium" panose="02000603030000020004" pitchFamily="2" charset="0"/>
                        </a:rPr>
                        <a:t>4</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a:solidFill>
                            <a:schemeClr val="tx1"/>
                          </a:solidFill>
                          <a:effectLst/>
                          <a:latin typeface="Gotham Medium" panose="02000603030000020004" pitchFamily="2" charset="0"/>
                          <a:ea typeface="+mn-ea"/>
                          <a:cs typeface="+mn-cs"/>
                        </a:rPr>
                        <a:t>99.6</a:t>
                      </a:r>
                      <a:endParaRPr lang="en-US" sz="1200" u="none" strike="noStrike" kern="1200" dirty="0">
                        <a:solidFill>
                          <a:schemeClr val="tx1"/>
                        </a:solidFill>
                        <a:effectLst/>
                        <a:latin typeface="Gotham Medium" panose="02000603030000020004" pitchFamily="2" charset="0"/>
                        <a:ea typeface="+mn-ea"/>
                        <a:cs typeface="+mn-cs"/>
                      </a:endParaRPr>
                    </a:p>
                  </a:txBody>
                  <a:tcPr marL="9525" marR="9525" marT="9525" marB="0" anchor="ct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796</a:t>
                      </a:r>
                    </a:p>
                  </a:txBody>
                  <a:tcPr marL="9525" marR="9525" marT="9525" marB="0" anchor="ctr"/>
                </a:tc>
                <a:extLst>
                  <a:ext uri="{0D108BD9-81ED-4DB2-BD59-A6C34878D82A}">
                    <a16:rowId xmlns:a16="http://schemas.microsoft.com/office/drawing/2014/main" val="8503291"/>
                  </a:ext>
                </a:extLst>
              </a:tr>
              <a:tr h="307883">
                <a:tc>
                  <a:txBody>
                    <a:bodyPr/>
                    <a:lstStyle/>
                    <a:p>
                      <a:pPr algn="ctr"/>
                      <a:r>
                        <a:rPr lang="en-IN" sz="1200" dirty="0">
                          <a:solidFill>
                            <a:schemeClr val="bg1"/>
                          </a:solidFill>
                          <a:latin typeface="Gotham Medium" panose="02000603030000020004" pitchFamily="2" charset="0"/>
                        </a:rPr>
                        <a:t>5</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a:solidFill>
                            <a:schemeClr val="tx1"/>
                          </a:solidFill>
                          <a:effectLst/>
                          <a:latin typeface="Gotham Medium" panose="02000603030000020004" pitchFamily="2" charset="0"/>
                          <a:ea typeface="+mn-ea"/>
                          <a:cs typeface="+mn-cs"/>
                        </a:rPr>
                        <a:t>99.5</a:t>
                      </a:r>
                      <a:endParaRPr lang="en-US" sz="1200" u="none" strike="noStrike" kern="1200" dirty="0">
                        <a:solidFill>
                          <a:schemeClr val="tx1"/>
                        </a:solidFill>
                        <a:effectLst/>
                        <a:latin typeface="Gotham Medium" panose="02000603030000020004" pitchFamily="2" charset="0"/>
                        <a:ea typeface="+mn-ea"/>
                        <a:cs typeface="+mn-cs"/>
                      </a:endParaRPr>
                    </a:p>
                  </a:txBody>
                  <a:tcPr marL="9525" marR="9525" marT="9525" marB="0" anchor="ct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003</a:t>
                      </a:r>
                    </a:p>
                  </a:txBody>
                  <a:tcPr marL="9525" marR="9525" marT="9525" marB="0" anchor="ctr"/>
                </a:tc>
                <a:extLst>
                  <a:ext uri="{0D108BD9-81ED-4DB2-BD59-A6C34878D82A}">
                    <a16:rowId xmlns:a16="http://schemas.microsoft.com/office/drawing/2014/main" val="3120030132"/>
                  </a:ext>
                </a:extLst>
              </a:tr>
              <a:tr h="307883">
                <a:tc>
                  <a:txBody>
                    <a:bodyPr/>
                    <a:lstStyle/>
                    <a:p>
                      <a:pPr algn="ctr"/>
                      <a:r>
                        <a:rPr lang="en-IN" sz="1200" dirty="0">
                          <a:solidFill>
                            <a:schemeClr val="bg1"/>
                          </a:solidFill>
                          <a:latin typeface="Gotham Medium" panose="02000603030000020004" pitchFamily="2" charset="0"/>
                        </a:rPr>
                        <a:t>6</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a:solidFill>
                            <a:schemeClr val="tx1"/>
                          </a:solidFill>
                          <a:effectLst/>
                          <a:latin typeface="Gotham Medium" panose="02000603030000020004" pitchFamily="2" charset="0"/>
                          <a:ea typeface="+mn-ea"/>
                          <a:cs typeface="+mn-cs"/>
                        </a:rPr>
                        <a:t>99.4</a:t>
                      </a:r>
                      <a:endParaRPr lang="en-US" sz="1200" u="none" strike="noStrike" kern="1200" dirty="0">
                        <a:solidFill>
                          <a:schemeClr val="tx1"/>
                        </a:solidFill>
                        <a:effectLst/>
                        <a:latin typeface="Gotham Medium" panose="02000603030000020004" pitchFamily="2" charset="0"/>
                        <a:ea typeface="+mn-ea"/>
                        <a:cs typeface="+mn-cs"/>
                      </a:endParaRPr>
                    </a:p>
                  </a:txBody>
                  <a:tcPr marL="9525" marR="9525" marT="9525" marB="0" anchor="ct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194</a:t>
                      </a:r>
                    </a:p>
                  </a:txBody>
                  <a:tcPr marL="9525" marR="9525" marT="9525" marB="0" anchor="ctr"/>
                </a:tc>
                <a:extLst>
                  <a:ext uri="{0D108BD9-81ED-4DB2-BD59-A6C34878D82A}">
                    <a16:rowId xmlns:a16="http://schemas.microsoft.com/office/drawing/2014/main" val="1439378864"/>
                  </a:ext>
                </a:extLst>
              </a:tr>
              <a:tr h="307883">
                <a:tc>
                  <a:txBody>
                    <a:bodyPr/>
                    <a:lstStyle/>
                    <a:p>
                      <a:pPr algn="ctr"/>
                      <a:r>
                        <a:rPr lang="en-IN" sz="1200" dirty="0">
                          <a:solidFill>
                            <a:schemeClr val="bg1"/>
                          </a:solidFill>
                          <a:latin typeface="Gotham Medium" panose="02000603030000020004" pitchFamily="2" charset="0"/>
                        </a:rPr>
                        <a:t>7</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a:solidFill>
                            <a:schemeClr val="tx1"/>
                          </a:solidFill>
                          <a:effectLst/>
                          <a:latin typeface="Gotham Medium" panose="02000603030000020004" pitchFamily="2" charset="0"/>
                          <a:ea typeface="+mn-ea"/>
                          <a:cs typeface="+mn-cs"/>
                        </a:rPr>
                        <a:t>99.3</a:t>
                      </a:r>
                      <a:endParaRPr lang="en-US" sz="1200" u="none" strike="noStrike" kern="1200" dirty="0">
                        <a:solidFill>
                          <a:schemeClr val="tx1"/>
                        </a:solidFill>
                        <a:effectLst/>
                        <a:latin typeface="Gotham Medium" panose="02000603030000020004" pitchFamily="2" charset="0"/>
                        <a:ea typeface="+mn-ea"/>
                        <a:cs typeface="+mn-cs"/>
                      </a:endParaRPr>
                    </a:p>
                  </a:txBody>
                  <a:tcPr marL="9525" marR="9525" marT="9525" marB="0" anchor="ct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397</a:t>
                      </a:r>
                    </a:p>
                  </a:txBody>
                  <a:tcPr marL="9525" marR="9525" marT="9525" marB="0" anchor="ctr"/>
                </a:tc>
                <a:extLst>
                  <a:ext uri="{0D108BD9-81ED-4DB2-BD59-A6C34878D82A}">
                    <a16:rowId xmlns:a16="http://schemas.microsoft.com/office/drawing/2014/main" val="4080489561"/>
                  </a:ext>
                </a:extLst>
              </a:tr>
              <a:tr h="307883">
                <a:tc>
                  <a:txBody>
                    <a:bodyPr/>
                    <a:lstStyle/>
                    <a:p>
                      <a:pPr algn="ctr"/>
                      <a:r>
                        <a:rPr lang="en-IN" sz="1200" dirty="0">
                          <a:solidFill>
                            <a:schemeClr val="bg1"/>
                          </a:solidFill>
                          <a:latin typeface="Gotham Medium" panose="02000603030000020004" pitchFamily="2" charset="0"/>
                        </a:rPr>
                        <a:t>8</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a:solidFill>
                            <a:schemeClr val="tx1"/>
                          </a:solidFill>
                          <a:effectLst/>
                          <a:latin typeface="Gotham Medium" panose="02000603030000020004" pitchFamily="2" charset="0"/>
                          <a:ea typeface="+mn-ea"/>
                          <a:cs typeface="+mn-cs"/>
                        </a:rPr>
                        <a:t>99.2</a:t>
                      </a:r>
                      <a:endParaRPr lang="en-US" sz="1200" u="none" strike="noStrike" kern="1200" dirty="0">
                        <a:solidFill>
                          <a:schemeClr val="tx1"/>
                        </a:solidFill>
                        <a:effectLst/>
                        <a:latin typeface="Gotham Medium" panose="02000603030000020004" pitchFamily="2" charset="0"/>
                        <a:ea typeface="+mn-ea"/>
                        <a:cs typeface="+mn-cs"/>
                      </a:endParaRPr>
                    </a:p>
                  </a:txBody>
                  <a:tcPr marL="9525" marR="9525" marT="9525" marB="0" anchor="ct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591</a:t>
                      </a:r>
                    </a:p>
                  </a:txBody>
                  <a:tcPr marL="9525" marR="9525" marT="9525" marB="0" anchor="ctr"/>
                </a:tc>
                <a:extLst>
                  <a:ext uri="{0D108BD9-81ED-4DB2-BD59-A6C34878D82A}">
                    <a16:rowId xmlns:a16="http://schemas.microsoft.com/office/drawing/2014/main" val="166007139"/>
                  </a:ext>
                </a:extLst>
              </a:tr>
              <a:tr h="307883">
                <a:tc>
                  <a:txBody>
                    <a:bodyPr/>
                    <a:lstStyle/>
                    <a:p>
                      <a:pPr algn="ctr"/>
                      <a:r>
                        <a:rPr lang="en-IN" sz="1200" dirty="0">
                          <a:solidFill>
                            <a:schemeClr val="bg1"/>
                          </a:solidFill>
                          <a:latin typeface="Gotham Medium" panose="02000603030000020004" pitchFamily="2" charset="0"/>
                        </a:rPr>
                        <a:t>9</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a:solidFill>
                            <a:schemeClr val="tx1"/>
                          </a:solidFill>
                          <a:effectLst/>
                          <a:latin typeface="Gotham Medium" panose="02000603030000020004" pitchFamily="2" charset="0"/>
                          <a:ea typeface="+mn-ea"/>
                          <a:cs typeface="+mn-cs"/>
                        </a:rPr>
                        <a:t>99.1</a:t>
                      </a:r>
                      <a:endParaRPr lang="en-US" sz="1200" u="none" strike="noStrike" kern="1200" dirty="0">
                        <a:solidFill>
                          <a:schemeClr val="tx1"/>
                        </a:solidFill>
                        <a:effectLst/>
                        <a:latin typeface="Gotham Medium" panose="02000603030000020004" pitchFamily="2" charset="0"/>
                        <a:ea typeface="+mn-ea"/>
                        <a:cs typeface="+mn-cs"/>
                      </a:endParaRPr>
                    </a:p>
                  </a:txBody>
                  <a:tcPr marL="9525" marR="9525" marT="9525" marB="0" anchor="ct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785</a:t>
                      </a:r>
                    </a:p>
                  </a:txBody>
                  <a:tcPr marL="9525" marR="9525" marT="9525" marB="0" anchor="ctr"/>
                </a:tc>
                <a:extLst>
                  <a:ext uri="{0D108BD9-81ED-4DB2-BD59-A6C34878D82A}">
                    <a16:rowId xmlns:a16="http://schemas.microsoft.com/office/drawing/2014/main" val="116115631"/>
                  </a:ext>
                </a:extLst>
              </a:tr>
              <a:tr h="307883">
                <a:tc>
                  <a:txBody>
                    <a:bodyPr/>
                    <a:lstStyle/>
                    <a:p>
                      <a:pPr algn="ctr"/>
                      <a:r>
                        <a:rPr lang="en-IN" sz="1200" dirty="0">
                          <a:solidFill>
                            <a:schemeClr val="bg1"/>
                          </a:solidFill>
                          <a:latin typeface="Gotham Medium" panose="02000603030000020004" pitchFamily="2" charset="0"/>
                        </a:rPr>
                        <a:t>10</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9</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969</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extLst>
                  <a:ext uri="{0D108BD9-81ED-4DB2-BD59-A6C34878D82A}">
                    <a16:rowId xmlns:a16="http://schemas.microsoft.com/office/drawing/2014/main" val="2765827119"/>
                  </a:ext>
                </a:extLst>
              </a:tr>
            </a:tbl>
          </a:graphicData>
        </a:graphic>
      </p:graphicFrame>
      <p:graphicFrame>
        <p:nvGraphicFramePr>
          <p:cNvPr id="5" name="Table 4">
            <a:extLst>
              <a:ext uri="{FF2B5EF4-FFF2-40B4-BE49-F238E27FC236}">
                <a16:creationId xmlns:a16="http://schemas.microsoft.com/office/drawing/2014/main" id="{3179A789-29A2-4602-8E78-4CE2D706A13E}"/>
              </a:ext>
            </a:extLst>
          </p:cNvPr>
          <p:cNvGraphicFramePr>
            <a:graphicFrameLocks noGrp="1"/>
          </p:cNvGraphicFramePr>
          <p:nvPr>
            <p:extLst>
              <p:ext uri="{D42A27DB-BD31-4B8C-83A1-F6EECF244321}">
                <p14:modId xmlns:p14="http://schemas.microsoft.com/office/powerpoint/2010/main" val="3309995854"/>
              </p:ext>
            </p:extLst>
          </p:nvPr>
        </p:nvGraphicFramePr>
        <p:xfrm>
          <a:off x="3372578" y="1276349"/>
          <a:ext cx="2743200" cy="3522940"/>
        </p:xfrm>
        <a:graphic>
          <a:graphicData uri="http://schemas.openxmlformats.org/drawingml/2006/table">
            <a:tbl>
              <a:tblPr firstRow="1" bandRow="1">
                <a:tableStyleId>{5940675A-B579-460E-94D1-54222C63F5DA}</a:tableStyleId>
              </a:tblPr>
              <a:tblGrid>
                <a:gridCol w="486280">
                  <a:extLst>
                    <a:ext uri="{9D8B030D-6E8A-4147-A177-3AD203B41FA5}">
                      <a16:colId xmlns:a16="http://schemas.microsoft.com/office/drawing/2014/main" val="3307544004"/>
                    </a:ext>
                  </a:extLst>
                </a:gridCol>
                <a:gridCol w="990600">
                  <a:extLst>
                    <a:ext uri="{9D8B030D-6E8A-4147-A177-3AD203B41FA5}">
                      <a16:colId xmlns:a16="http://schemas.microsoft.com/office/drawing/2014/main" val="1358531594"/>
                    </a:ext>
                  </a:extLst>
                </a:gridCol>
                <a:gridCol w="1266320">
                  <a:extLst>
                    <a:ext uri="{9D8B030D-6E8A-4147-A177-3AD203B41FA5}">
                      <a16:colId xmlns:a16="http://schemas.microsoft.com/office/drawing/2014/main" val="471222690"/>
                    </a:ext>
                  </a:extLst>
                </a:gridCol>
              </a:tblGrid>
              <a:tr h="461826">
                <a:tc>
                  <a:txBody>
                    <a:bodyPr/>
                    <a:lstStyle/>
                    <a:p>
                      <a:pPr algn="ctr"/>
                      <a:r>
                        <a:rPr lang="en-US" sz="1100" dirty="0">
                          <a:solidFill>
                            <a:schemeClr val="bg1"/>
                          </a:solidFill>
                          <a:latin typeface="Gotham Medium" panose="02000603030000020004" pitchFamily="2" charset="0"/>
                        </a:rPr>
                        <a:t>Sr. No.</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algn="ctr"/>
                      <a:r>
                        <a:rPr lang="en-IN" sz="1100" dirty="0">
                          <a:solidFill>
                            <a:schemeClr val="bg1"/>
                          </a:solidFill>
                          <a:latin typeface="Gotham Medium" panose="02000603030000020004" pitchFamily="2" charset="0"/>
                        </a:rPr>
                        <a:t>Percentile</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algn="ctr"/>
                      <a:r>
                        <a:rPr lang="en-IN" sz="1100" dirty="0">
                          <a:solidFill>
                            <a:schemeClr val="bg1"/>
                          </a:solidFill>
                          <a:latin typeface="Gotham Medium" panose="02000603030000020004" pitchFamily="2" charset="0"/>
                        </a:rPr>
                        <a:t>Rank Number </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extLst>
                  <a:ext uri="{0D108BD9-81ED-4DB2-BD59-A6C34878D82A}">
                    <a16:rowId xmlns:a16="http://schemas.microsoft.com/office/drawing/2014/main" val="3231911854"/>
                  </a:ext>
                </a:extLst>
              </a:tr>
              <a:tr h="307883">
                <a:tc>
                  <a:txBody>
                    <a:bodyPr/>
                    <a:lstStyle/>
                    <a:p>
                      <a:pPr algn="ctr"/>
                      <a:r>
                        <a:rPr lang="en-IN" sz="1200" dirty="0">
                          <a:solidFill>
                            <a:schemeClr val="bg1"/>
                          </a:solidFill>
                          <a:latin typeface="Gotham Medium" panose="02000603030000020004" pitchFamily="2" charset="0"/>
                        </a:rPr>
                        <a:t>11</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8.5</a:t>
                      </a:r>
                    </a:p>
                  </a:txBody>
                  <a:tcPr marL="9525" marR="9525" marT="9525" marB="0" anchor="ct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2951</a:t>
                      </a:r>
                    </a:p>
                  </a:txBody>
                  <a:tcPr marL="9525" marR="9525" marT="9525" marB="0" anchor="ctr"/>
                </a:tc>
                <a:extLst>
                  <a:ext uri="{0D108BD9-81ED-4DB2-BD59-A6C34878D82A}">
                    <a16:rowId xmlns:a16="http://schemas.microsoft.com/office/drawing/2014/main" val="3709345965"/>
                  </a:ext>
                </a:extLst>
              </a:tr>
              <a:tr h="307883">
                <a:tc>
                  <a:txBody>
                    <a:bodyPr/>
                    <a:lstStyle/>
                    <a:p>
                      <a:pPr algn="ctr"/>
                      <a:r>
                        <a:rPr lang="en-IN" sz="1200" dirty="0">
                          <a:solidFill>
                            <a:schemeClr val="bg1"/>
                          </a:solidFill>
                          <a:latin typeface="Gotham Medium" panose="02000603030000020004" pitchFamily="2" charset="0"/>
                        </a:rPr>
                        <a:t>12</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8</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3917</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extLst>
                  <a:ext uri="{0D108BD9-81ED-4DB2-BD59-A6C34878D82A}">
                    <a16:rowId xmlns:a16="http://schemas.microsoft.com/office/drawing/2014/main" val="712067061"/>
                  </a:ext>
                </a:extLst>
              </a:tr>
              <a:tr h="307883">
                <a:tc>
                  <a:txBody>
                    <a:bodyPr/>
                    <a:lstStyle/>
                    <a:p>
                      <a:pPr algn="ctr"/>
                      <a:r>
                        <a:rPr lang="en-IN" sz="1200" dirty="0">
                          <a:solidFill>
                            <a:schemeClr val="bg1"/>
                          </a:solidFill>
                          <a:latin typeface="Gotham Medium" panose="02000603030000020004" pitchFamily="2" charset="0"/>
                        </a:rPr>
                        <a:t>13</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7.5</a:t>
                      </a:r>
                    </a:p>
                  </a:txBody>
                  <a:tcPr marL="9525" marR="9525" marT="9525" marB="0" anchor="ct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4906</a:t>
                      </a:r>
                    </a:p>
                  </a:txBody>
                  <a:tcPr marL="9525" marR="9525" marT="9525" marB="0" anchor="ctr"/>
                </a:tc>
                <a:extLst>
                  <a:ext uri="{0D108BD9-81ED-4DB2-BD59-A6C34878D82A}">
                    <a16:rowId xmlns:a16="http://schemas.microsoft.com/office/drawing/2014/main" val="504774695"/>
                  </a:ext>
                </a:extLst>
              </a:tr>
              <a:tr h="307883">
                <a:tc>
                  <a:txBody>
                    <a:bodyPr/>
                    <a:lstStyle/>
                    <a:p>
                      <a:pPr algn="ctr"/>
                      <a:r>
                        <a:rPr lang="en-IN" sz="1200" dirty="0">
                          <a:solidFill>
                            <a:schemeClr val="bg1"/>
                          </a:solidFill>
                          <a:latin typeface="Gotham Medium" panose="02000603030000020004" pitchFamily="2" charset="0"/>
                        </a:rPr>
                        <a:t>14</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7</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5865</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extLst>
                  <a:ext uri="{0D108BD9-81ED-4DB2-BD59-A6C34878D82A}">
                    <a16:rowId xmlns:a16="http://schemas.microsoft.com/office/drawing/2014/main" val="3892869270"/>
                  </a:ext>
                </a:extLst>
              </a:tr>
              <a:tr h="307883">
                <a:tc>
                  <a:txBody>
                    <a:bodyPr/>
                    <a:lstStyle/>
                    <a:p>
                      <a:pPr algn="ctr"/>
                      <a:r>
                        <a:rPr lang="en-IN" sz="1200" dirty="0">
                          <a:solidFill>
                            <a:schemeClr val="bg1"/>
                          </a:solidFill>
                          <a:latin typeface="Gotham Medium" panose="02000603030000020004" pitchFamily="2" charset="0"/>
                        </a:rPr>
                        <a:t>15</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6.5</a:t>
                      </a:r>
                    </a:p>
                  </a:txBody>
                  <a:tcPr marL="9525" marR="9525" marT="9525" marB="0" anchor="ct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6810</a:t>
                      </a:r>
                    </a:p>
                  </a:txBody>
                  <a:tcPr marL="9525" marR="9525" marT="9525" marB="0" anchor="ctr"/>
                </a:tc>
                <a:extLst>
                  <a:ext uri="{0D108BD9-81ED-4DB2-BD59-A6C34878D82A}">
                    <a16:rowId xmlns:a16="http://schemas.microsoft.com/office/drawing/2014/main" val="2328716474"/>
                  </a:ext>
                </a:extLst>
              </a:tr>
              <a:tr h="307883">
                <a:tc>
                  <a:txBody>
                    <a:bodyPr/>
                    <a:lstStyle/>
                    <a:p>
                      <a:pPr algn="ctr"/>
                      <a:r>
                        <a:rPr lang="en-IN" sz="1200" dirty="0">
                          <a:solidFill>
                            <a:schemeClr val="bg1"/>
                          </a:solidFill>
                          <a:latin typeface="Gotham Medium" panose="02000603030000020004" pitchFamily="2" charset="0"/>
                        </a:rPr>
                        <a:t>16</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6</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7800</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extLst>
                  <a:ext uri="{0D108BD9-81ED-4DB2-BD59-A6C34878D82A}">
                    <a16:rowId xmlns:a16="http://schemas.microsoft.com/office/drawing/2014/main" val="2189272051"/>
                  </a:ext>
                </a:extLst>
              </a:tr>
              <a:tr h="307883">
                <a:tc>
                  <a:txBody>
                    <a:bodyPr/>
                    <a:lstStyle/>
                    <a:p>
                      <a:pPr algn="ctr"/>
                      <a:r>
                        <a:rPr lang="en-IN" sz="1200" dirty="0">
                          <a:solidFill>
                            <a:schemeClr val="bg1"/>
                          </a:solidFill>
                          <a:latin typeface="Gotham Medium" panose="02000603030000020004" pitchFamily="2" charset="0"/>
                        </a:rPr>
                        <a:t>17</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5.5</a:t>
                      </a:r>
                    </a:p>
                  </a:txBody>
                  <a:tcPr marL="9525" marR="9525" marT="9525" marB="0" anchor="ct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8787</a:t>
                      </a:r>
                    </a:p>
                  </a:txBody>
                  <a:tcPr marL="9525" marR="9525" marT="9525" marB="0" anchor="ctr"/>
                </a:tc>
                <a:extLst>
                  <a:ext uri="{0D108BD9-81ED-4DB2-BD59-A6C34878D82A}">
                    <a16:rowId xmlns:a16="http://schemas.microsoft.com/office/drawing/2014/main" val="1842699130"/>
                  </a:ext>
                </a:extLst>
              </a:tr>
              <a:tr h="307883">
                <a:tc>
                  <a:txBody>
                    <a:bodyPr/>
                    <a:lstStyle/>
                    <a:p>
                      <a:pPr algn="ctr"/>
                      <a:r>
                        <a:rPr lang="en-IN" sz="1200" dirty="0">
                          <a:solidFill>
                            <a:schemeClr val="bg1"/>
                          </a:solidFill>
                          <a:latin typeface="Gotham Medium" panose="02000603030000020004" pitchFamily="2" charset="0"/>
                        </a:rPr>
                        <a:t>18</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5</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743</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extLst>
                  <a:ext uri="{0D108BD9-81ED-4DB2-BD59-A6C34878D82A}">
                    <a16:rowId xmlns:a16="http://schemas.microsoft.com/office/drawing/2014/main" val="1663374961"/>
                  </a:ext>
                </a:extLst>
              </a:tr>
              <a:tr h="307883">
                <a:tc>
                  <a:txBody>
                    <a:bodyPr/>
                    <a:lstStyle/>
                    <a:p>
                      <a:pPr algn="ctr"/>
                      <a:r>
                        <a:rPr lang="en-IN" sz="1200" dirty="0">
                          <a:solidFill>
                            <a:schemeClr val="bg1"/>
                          </a:solidFill>
                          <a:latin typeface="Gotham Medium" panose="02000603030000020004" pitchFamily="2" charset="0"/>
                        </a:rPr>
                        <a:t>19</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4</a:t>
                      </a:r>
                    </a:p>
                  </a:txBody>
                  <a:tcPr marL="9525" marR="9525" marT="9525" marB="0" anchor="ct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1,744</a:t>
                      </a:r>
                    </a:p>
                  </a:txBody>
                  <a:tcPr marL="9525" marR="9525" marT="9525" marB="0" anchor="ctr"/>
                </a:tc>
                <a:extLst>
                  <a:ext uri="{0D108BD9-81ED-4DB2-BD59-A6C34878D82A}">
                    <a16:rowId xmlns:a16="http://schemas.microsoft.com/office/drawing/2014/main" val="2423346456"/>
                  </a:ext>
                </a:extLst>
              </a:tr>
              <a:tr h="290167">
                <a:tc>
                  <a:txBody>
                    <a:bodyPr/>
                    <a:lstStyle/>
                    <a:p>
                      <a:pPr algn="ctr"/>
                      <a:r>
                        <a:rPr lang="en-IN" sz="1200" dirty="0">
                          <a:solidFill>
                            <a:schemeClr val="bg1"/>
                          </a:solidFill>
                          <a:latin typeface="Gotham Medium" panose="02000603030000020004" pitchFamily="2" charset="0"/>
                        </a:rPr>
                        <a:t>20</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3</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3,682</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extLst>
                  <a:ext uri="{0D108BD9-81ED-4DB2-BD59-A6C34878D82A}">
                    <a16:rowId xmlns:a16="http://schemas.microsoft.com/office/drawing/2014/main" val="2486944401"/>
                  </a:ext>
                </a:extLst>
              </a:tr>
            </a:tbl>
          </a:graphicData>
        </a:graphic>
      </p:graphicFrame>
      <p:sp>
        <p:nvSpPr>
          <p:cNvPr id="11" name="Rectangle 10">
            <a:extLst>
              <a:ext uri="{FF2B5EF4-FFF2-40B4-BE49-F238E27FC236}">
                <a16:creationId xmlns:a16="http://schemas.microsoft.com/office/drawing/2014/main" id="{6C774EB8-F7AB-4285-B450-DE0BFCFF6719}"/>
              </a:ext>
            </a:extLst>
          </p:cNvPr>
          <p:cNvSpPr/>
          <p:nvPr/>
        </p:nvSpPr>
        <p:spPr>
          <a:xfrm>
            <a:off x="152399" y="431668"/>
            <a:ext cx="221805" cy="4280164"/>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12" name="Rectangle 11">
            <a:extLst>
              <a:ext uri="{FF2B5EF4-FFF2-40B4-BE49-F238E27FC236}">
                <a16:creationId xmlns:a16="http://schemas.microsoft.com/office/drawing/2014/main" id="{2FE1C9B8-9349-4A41-AD27-52BD7087F5FB}"/>
              </a:ext>
            </a:extLst>
          </p:cNvPr>
          <p:cNvSpPr/>
          <p:nvPr/>
        </p:nvSpPr>
        <p:spPr>
          <a:xfrm rot="16200000" flipV="1">
            <a:off x="4346272" y="-3216578"/>
            <a:ext cx="70456" cy="8763000"/>
          </a:xfrm>
          <a:prstGeom prst="rect">
            <a:avLst/>
          </a:prstGeom>
          <a:solidFill>
            <a:srgbClr val="FEC63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b="1" dirty="0">
              <a:solidFill>
                <a:prstClr val="white"/>
              </a:solidFill>
              <a:latin typeface="Calibri Light"/>
            </a:endParaRPr>
          </a:p>
        </p:txBody>
      </p:sp>
      <p:sp>
        <p:nvSpPr>
          <p:cNvPr id="13" name="Title 1">
            <a:extLst>
              <a:ext uri="{FF2B5EF4-FFF2-40B4-BE49-F238E27FC236}">
                <a16:creationId xmlns:a16="http://schemas.microsoft.com/office/drawing/2014/main" id="{0B0FE92F-DBA6-406F-A839-CDEDE0F10D43}"/>
              </a:ext>
            </a:extLst>
          </p:cNvPr>
          <p:cNvSpPr>
            <a:spLocks noGrp="1"/>
          </p:cNvSpPr>
          <p:nvPr>
            <p:ph type="title"/>
          </p:nvPr>
        </p:nvSpPr>
        <p:spPr>
          <a:xfrm>
            <a:off x="371553" y="431668"/>
            <a:ext cx="8712346" cy="685204"/>
          </a:xfrm>
          <a:effectLst/>
        </p:spPr>
        <p:txBody>
          <a:bodyPr vert="horz" lIns="91440" tIns="45720" rIns="91440" bIns="45720" rtlCol="0" anchor="ctr">
            <a:noAutofit/>
          </a:bodyPr>
          <a:lstStyle/>
          <a:p>
            <a:pPr algn="l"/>
            <a:r>
              <a:rPr lang="en-US" altLang="en-US" sz="2800" dirty="0">
                <a:solidFill>
                  <a:srgbClr val="FF5969"/>
                </a:solidFill>
                <a:latin typeface="Gotham Bold" panose="02000803030000020004" pitchFamily="2" charset="0"/>
              </a:rPr>
              <a:t>State Rank of MHT-CET-2021</a:t>
            </a:r>
            <a:endParaRPr lang="en-US" sz="2800" dirty="0">
              <a:solidFill>
                <a:srgbClr val="FF5969"/>
              </a:solidFill>
              <a:latin typeface="Gotham Bold" panose="02000803030000020004" pitchFamily="2" charset="0"/>
            </a:endParaRPr>
          </a:p>
        </p:txBody>
      </p:sp>
    </p:spTree>
    <p:extLst>
      <p:ext uri="{BB962C8B-B14F-4D97-AF65-F5344CB8AC3E}">
        <p14:creationId xmlns:p14="http://schemas.microsoft.com/office/powerpoint/2010/main" val="438901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5861C211-F2BC-4DE5-97B4-A35F13D6E8A7}"/>
              </a:ext>
            </a:extLst>
          </p:cNvPr>
          <p:cNvGraphicFramePr>
            <a:graphicFrameLocks noGrp="1"/>
          </p:cNvGraphicFramePr>
          <p:nvPr>
            <p:extLst>
              <p:ext uri="{D42A27DB-BD31-4B8C-83A1-F6EECF244321}">
                <p14:modId xmlns:p14="http://schemas.microsoft.com/office/powerpoint/2010/main" val="4127999658"/>
              </p:ext>
            </p:extLst>
          </p:nvPr>
        </p:nvGraphicFramePr>
        <p:xfrm>
          <a:off x="6315298" y="1276349"/>
          <a:ext cx="2743201" cy="3540656"/>
        </p:xfrm>
        <a:graphic>
          <a:graphicData uri="http://schemas.openxmlformats.org/drawingml/2006/table">
            <a:tbl>
              <a:tblPr firstRow="1" bandRow="1">
                <a:tableStyleId>{5940675A-B579-460E-94D1-54222C63F5DA}</a:tableStyleId>
              </a:tblPr>
              <a:tblGrid>
                <a:gridCol w="524720">
                  <a:extLst>
                    <a:ext uri="{9D8B030D-6E8A-4147-A177-3AD203B41FA5}">
                      <a16:colId xmlns:a16="http://schemas.microsoft.com/office/drawing/2014/main" val="864184181"/>
                    </a:ext>
                  </a:extLst>
                </a:gridCol>
                <a:gridCol w="981240">
                  <a:extLst>
                    <a:ext uri="{9D8B030D-6E8A-4147-A177-3AD203B41FA5}">
                      <a16:colId xmlns:a16="http://schemas.microsoft.com/office/drawing/2014/main" val="2582395970"/>
                    </a:ext>
                  </a:extLst>
                </a:gridCol>
                <a:gridCol w="1237241">
                  <a:extLst>
                    <a:ext uri="{9D8B030D-6E8A-4147-A177-3AD203B41FA5}">
                      <a16:colId xmlns:a16="http://schemas.microsoft.com/office/drawing/2014/main" val="1237840813"/>
                    </a:ext>
                  </a:extLst>
                </a:gridCol>
              </a:tblGrid>
              <a:tr h="461826">
                <a:tc>
                  <a:txBody>
                    <a:bodyPr/>
                    <a:lstStyle/>
                    <a:p>
                      <a:pPr algn="ctr"/>
                      <a:r>
                        <a:rPr lang="en-US" sz="1100" b="1" dirty="0">
                          <a:solidFill>
                            <a:schemeClr val="bg1"/>
                          </a:solidFill>
                          <a:latin typeface="Gotham Medium" panose="02000603030000020004" pitchFamily="2" charset="0"/>
                        </a:rPr>
                        <a:t>Sr. No.</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algn="ctr"/>
                      <a:r>
                        <a:rPr lang="en-IN" sz="1100" b="1" dirty="0">
                          <a:solidFill>
                            <a:schemeClr val="bg1"/>
                          </a:solidFill>
                          <a:latin typeface="Gotham Medium" panose="02000603030000020004" pitchFamily="2" charset="0"/>
                        </a:rPr>
                        <a:t>Percentile</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algn="ctr"/>
                      <a:r>
                        <a:rPr lang="en-IN" sz="1100" b="1" dirty="0">
                          <a:solidFill>
                            <a:schemeClr val="bg1"/>
                          </a:solidFill>
                          <a:latin typeface="Gotham Medium" panose="02000603030000020004" pitchFamily="2" charset="0"/>
                        </a:rPr>
                        <a:t>SML Number </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extLst>
                  <a:ext uri="{0D108BD9-81ED-4DB2-BD59-A6C34878D82A}">
                    <a16:rowId xmlns:a16="http://schemas.microsoft.com/office/drawing/2014/main" val="10000"/>
                  </a:ext>
                </a:extLst>
              </a:tr>
              <a:tr h="307883">
                <a:tc>
                  <a:txBody>
                    <a:bodyPr/>
                    <a:lstStyle/>
                    <a:p>
                      <a:pPr algn="ctr"/>
                      <a:r>
                        <a:rPr lang="en-IN" sz="1200" dirty="0">
                          <a:solidFill>
                            <a:schemeClr val="bg1"/>
                          </a:solidFill>
                          <a:latin typeface="Gotham Medium" panose="02000603030000020004" pitchFamily="2" charset="0"/>
                        </a:rPr>
                        <a:t>21</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1</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2968</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extLst>
                  <a:ext uri="{0D108BD9-81ED-4DB2-BD59-A6C34878D82A}">
                    <a16:rowId xmlns:a16="http://schemas.microsoft.com/office/drawing/2014/main" val="10001"/>
                  </a:ext>
                </a:extLst>
              </a:tr>
              <a:tr h="307883">
                <a:tc>
                  <a:txBody>
                    <a:bodyPr/>
                    <a:lstStyle/>
                    <a:p>
                      <a:pPr algn="ctr"/>
                      <a:r>
                        <a:rPr lang="en-IN" sz="1200" dirty="0">
                          <a:solidFill>
                            <a:schemeClr val="bg1"/>
                          </a:solidFill>
                          <a:latin typeface="Gotham Medium" panose="02000603030000020004" pitchFamily="2" charset="0"/>
                        </a:rPr>
                        <a:t>22</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0</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4496</a:t>
                      </a:r>
                    </a:p>
                  </a:txBody>
                  <a:tcPr marL="9525" marR="9525" marT="9525" marB="0" anchor="ctr">
                    <a:noFill/>
                  </a:tcPr>
                </a:tc>
                <a:extLst>
                  <a:ext uri="{0D108BD9-81ED-4DB2-BD59-A6C34878D82A}">
                    <a16:rowId xmlns:a16="http://schemas.microsoft.com/office/drawing/2014/main" val="10002"/>
                  </a:ext>
                </a:extLst>
              </a:tr>
              <a:tr h="307883">
                <a:tc>
                  <a:txBody>
                    <a:bodyPr/>
                    <a:lstStyle/>
                    <a:p>
                      <a:pPr algn="ctr"/>
                      <a:r>
                        <a:rPr lang="en-IN" sz="1200" dirty="0">
                          <a:solidFill>
                            <a:schemeClr val="bg1"/>
                          </a:solidFill>
                          <a:latin typeface="Gotham Medium" panose="02000603030000020004" pitchFamily="2" charset="0"/>
                        </a:rPr>
                        <a:t>23</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80</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28553</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extLst>
                  <a:ext uri="{0D108BD9-81ED-4DB2-BD59-A6C34878D82A}">
                    <a16:rowId xmlns:a16="http://schemas.microsoft.com/office/drawing/2014/main" val="10003"/>
                  </a:ext>
                </a:extLst>
              </a:tr>
              <a:tr h="307883">
                <a:tc>
                  <a:txBody>
                    <a:bodyPr/>
                    <a:lstStyle/>
                    <a:p>
                      <a:pPr algn="ctr"/>
                      <a:r>
                        <a:rPr lang="en-IN" sz="1200" dirty="0">
                          <a:solidFill>
                            <a:schemeClr val="bg1"/>
                          </a:solidFill>
                          <a:latin typeface="Gotham Medium" panose="02000603030000020004" pitchFamily="2" charset="0"/>
                        </a:rPr>
                        <a:t>24</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70</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40741</a:t>
                      </a:r>
                    </a:p>
                  </a:txBody>
                  <a:tcPr marL="9525" marR="9525" marT="9525" marB="0" anchor="ctr">
                    <a:noFill/>
                  </a:tcPr>
                </a:tc>
                <a:extLst>
                  <a:ext uri="{0D108BD9-81ED-4DB2-BD59-A6C34878D82A}">
                    <a16:rowId xmlns:a16="http://schemas.microsoft.com/office/drawing/2014/main" val="10004"/>
                  </a:ext>
                </a:extLst>
              </a:tr>
              <a:tr h="307883">
                <a:tc>
                  <a:txBody>
                    <a:bodyPr/>
                    <a:lstStyle/>
                    <a:p>
                      <a:pPr algn="ctr"/>
                      <a:r>
                        <a:rPr lang="en-IN" sz="1200" dirty="0">
                          <a:solidFill>
                            <a:schemeClr val="bg1"/>
                          </a:solidFill>
                          <a:latin typeface="Gotham Medium" panose="02000603030000020004" pitchFamily="2" charset="0"/>
                        </a:rPr>
                        <a:t>25</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60</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51016</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extLst>
                  <a:ext uri="{0D108BD9-81ED-4DB2-BD59-A6C34878D82A}">
                    <a16:rowId xmlns:a16="http://schemas.microsoft.com/office/drawing/2014/main" val="10005"/>
                  </a:ext>
                </a:extLst>
              </a:tr>
              <a:tr h="307883">
                <a:tc>
                  <a:txBody>
                    <a:bodyPr/>
                    <a:lstStyle/>
                    <a:p>
                      <a:pPr algn="ctr"/>
                      <a:r>
                        <a:rPr lang="en-IN" sz="1200" dirty="0">
                          <a:solidFill>
                            <a:schemeClr val="bg1"/>
                          </a:solidFill>
                          <a:latin typeface="Gotham Medium" panose="02000603030000020004" pitchFamily="2" charset="0"/>
                        </a:rPr>
                        <a:t>26</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50</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59461</a:t>
                      </a:r>
                    </a:p>
                  </a:txBody>
                  <a:tcPr marL="9525" marR="9525" marT="9525" marB="0" anchor="ctr">
                    <a:noFill/>
                  </a:tcPr>
                </a:tc>
                <a:extLst>
                  <a:ext uri="{0D108BD9-81ED-4DB2-BD59-A6C34878D82A}">
                    <a16:rowId xmlns:a16="http://schemas.microsoft.com/office/drawing/2014/main" val="10006"/>
                  </a:ext>
                </a:extLst>
              </a:tr>
              <a:tr h="307883">
                <a:tc>
                  <a:txBody>
                    <a:bodyPr/>
                    <a:lstStyle/>
                    <a:p>
                      <a:pPr algn="ctr"/>
                      <a:r>
                        <a:rPr lang="en-IN" sz="1200" dirty="0">
                          <a:solidFill>
                            <a:schemeClr val="bg1"/>
                          </a:solidFill>
                          <a:latin typeface="Gotham Medium" panose="02000603030000020004" pitchFamily="2" charset="0"/>
                        </a:rPr>
                        <a:t>27</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40</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67005</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extLst>
                  <a:ext uri="{0D108BD9-81ED-4DB2-BD59-A6C34878D82A}">
                    <a16:rowId xmlns:a16="http://schemas.microsoft.com/office/drawing/2014/main" val="10007"/>
                  </a:ext>
                </a:extLst>
              </a:tr>
              <a:tr h="307883">
                <a:tc>
                  <a:txBody>
                    <a:bodyPr/>
                    <a:lstStyle/>
                    <a:p>
                      <a:pPr algn="ctr"/>
                      <a:r>
                        <a:rPr lang="en-IN" sz="1200" dirty="0">
                          <a:solidFill>
                            <a:schemeClr val="bg1"/>
                          </a:solidFill>
                          <a:latin typeface="Gotham Medium" panose="02000603030000020004" pitchFamily="2" charset="0"/>
                        </a:rPr>
                        <a:t>28</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30</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73362</a:t>
                      </a:r>
                    </a:p>
                  </a:txBody>
                  <a:tcPr marL="9525" marR="9525" marT="9525" marB="0" anchor="ctr">
                    <a:noFill/>
                  </a:tcPr>
                </a:tc>
                <a:extLst>
                  <a:ext uri="{0D108BD9-81ED-4DB2-BD59-A6C34878D82A}">
                    <a16:rowId xmlns:a16="http://schemas.microsoft.com/office/drawing/2014/main" val="10008"/>
                  </a:ext>
                </a:extLst>
              </a:tr>
              <a:tr h="307883">
                <a:tc>
                  <a:txBody>
                    <a:bodyPr/>
                    <a:lstStyle/>
                    <a:p>
                      <a:pPr algn="ctr"/>
                      <a:r>
                        <a:rPr lang="en-IN" sz="1200" dirty="0">
                          <a:solidFill>
                            <a:schemeClr val="bg1"/>
                          </a:solidFill>
                          <a:latin typeface="Gotham Medium" panose="02000603030000020004" pitchFamily="2" charset="0"/>
                        </a:rPr>
                        <a:t>29</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20</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79120</a:t>
                      </a:r>
                    </a:p>
                  </a:txBody>
                  <a:tcPr marL="9525" marR="9525" marT="9525" marB="0" anchor="ctr">
                    <a:gradFill flip="none" rotWithShape="1">
                      <a:gsLst>
                        <a:gs pos="0">
                          <a:srgbClr val="52CBBE">
                            <a:tint val="66000"/>
                            <a:satMod val="160000"/>
                          </a:srgbClr>
                        </a:gs>
                        <a:gs pos="50000">
                          <a:srgbClr val="52CBBE">
                            <a:tint val="44500"/>
                            <a:satMod val="160000"/>
                          </a:srgbClr>
                        </a:gs>
                        <a:gs pos="100000">
                          <a:srgbClr val="52CBBE">
                            <a:tint val="23500"/>
                            <a:satMod val="160000"/>
                          </a:srgbClr>
                        </a:gs>
                      </a:gsLst>
                      <a:path path="circle">
                        <a:fillToRect l="50000" t="50000" r="50000" b="50000"/>
                      </a:path>
                      <a:tileRect/>
                    </a:gradFill>
                  </a:tcPr>
                </a:tc>
                <a:extLst>
                  <a:ext uri="{0D108BD9-81ED-4DB2-BD59-A6C34878D82A}">
                    <a16:rowId xmlns:a16="http://schemas.microsoft.com/office/drawing/2014/main" val="10009"/>
                  </a:ext>
                </a:extLst>
              </a:tr>
              <a:tr h="307883">
                <a:tc>
                  <a:txBody>
                    <a:bodyPr/>
                    <a:lstStyle/>
                    <a:p>
                      <a:pPr algn="ctr"/>
                      <a:r>
                        <a:rPr lang="en-IN" sz="1200" dirty="0">
                          <a:solidFill>
                            <a:schemeClr val="bg1"/>
                          </a:solidFill>
                          <a:latin typeface="Gotham Medium" panose="02000603030000020004" pitchFamily="2" charset="0"/>
                        </a:rPr>
                        <a:t>30</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0</a:t>
                      </a:r>
                    </a:p>
                  </a:txBody>
                  <a:tcPr marL="9525" marR="9525" marT="9525" marB="0" anchor="ctr">
                    <a:noFill/>
                  </a:tcPr>
                </a:tc>
                <a:tc>
                  <a:txBody>
                    <a:bodyPr/>
                    <a:lstStyle/>
                    <a:p>
                      <a:pPr marL="0" marR="0" lvl="0" indent="0" algn="ctr" defTabSz="914378" rtl="0" eaLnBrk="1" fontAlgn="b" latinLnBrk="0" hangingPunct="1">
                        <a:lnSpc>
                          <a:spcPct val="100000"/>
                        </a:lnSpc>
                        <a:spcBef>
                          <a:spcPts val="0"/>
                        </a:spcBef>
                        <a:spcAft>
                          <a:spcPts val="0"/>
                        </a:spcAft>
                        <a:buClrTx/>
                        <a:buSzTx/>
                        <a:buFontTx/>
                        <a:buNone/>
                        <a:tabLst/>
                        <a:defRPr/>
                      </a:pPr>
                      <a:r>
                        <a:rPr lang="en-US" sz="1200" u="none" strike="noStrike" kern="1200" dirty="0">
                          <a:solidFill>
                            <a:schemeClr val="tx1"/>
                          </a:solidFill>
                          <a:effectLst/>
                          <a:latin typeface="Gotham Medium" panose="02000603030000020004" pitchFamily="2" charset="0"/>
                          <a:ea typeface="+mn-ea"/>
                          <a:cs typeface="+mn-cs"/>
                        </a:rPr>
                        <a:t>84324</a:t>
                      </a:r>
                    </a:p>
                  </a:txBody>
                  <a:tcPr marL="9525" marR="9525" marT="9525" marB="0" anchor="ctr">
                    <a:noFill/>
                  </a:tcPr>
                </a:tc>
                <a:extLst>
                  <a:ext uri="{0D108BD9-81ED-4DB2-BD59-A6C34878D82A}">
                    <a16:rowId xmlns:a16="http://schemas.microsoft.com/office/drawing/2014/main" val="10010"/>
                  </a:ext>
                </a:extLst>
              </a:tr>
            </a:tbl>
          </a:graphicData>
        </a:graphic>
      </p:graphicFrame>
      <p:graphicFrame>
        <p:nvGraphicFramePr>
          <p:cNvPr id="4" name="Table 3">
            <a:extLst>
              <a:ext uri="{FF2B5EF4-FFF2-40B4-BE49-F238E27FC236}">
                <a16:creationId xmlns:a16="http://schemas.microsoft.com/office/drawing/2014/main" id="{BA7BD97A-A40B-4024-B579-820C1F03BA20}"/>
              </a:ext>
            </a:extLst>
          </p:cNvPr>
          <p:cNvGraphicFramePr>
            <a:graphicFrameLocks noGrp="1"/>
          </p:cNvGraphicFramePr>
          <p:nvPr>
            <p:extLst>
              <p:ext uri="{D42A27DB-BD31-4B8C-83A1-F6EECF244321}">
                <p14:modId xmlns:p14="http://schemas.microsoft.com/office/powerpoint/2010/main" val="670061477"/>
              </p:ext>
            </p:extLst>
          </p:nvPr>
        </p:nvGraphicFramePr>
        <p:xfrm>
          <a:off x="476978" y="1276350"/>
          <a:ext cx="2696079" cy="3540656"/>
        </p:xfrm>
        <a:graphic>
          <a:graphicData uri="http://schemas.openxmlformats.org/drawingml/2006/table">
            <a:tbl>
              <a:tblPr firstRow="1" bandRow="1">
                <a:tableStyleId>{5940675A-B579-460E-94D1-54222C63F5DA}</a:tableStyleId>
              </a:tblPr>
              <a:tblGrid>
                <a:gridCol w="486280">
                  <a:extLst>
                    <a:ext uri="{9D8B030D-6E8A-4147-A177-3AD203B41FA5}">
                      <a16:colId xmlns:a16="http://schemas.microsoft.com/office/drawing/2014/main" val="1708638978"/>
                    </a:ext>
                  </a:extLst>
                </a:gridCol>
                <a:gridCol w="990600">
                  <a:extLst>
                    <a:ext uri="{9D8B030D-6E8A-4147-A177-3AD203B41FA5}">
                      <a16:colId xmlns:a16="http://schemas.microsoft.com/office/drawing/2014/main" val="3554994279"/>
                    </a:ext>
                  </a:extLst>
                </a:gridCol>
                <a:gridCol w="1219199">
                  <a:extLst>
                    <a:ext uri="{9D8B030D-6E8A-4147-A177-3AD203B41FA5}">
                      <a16:colId xmlns:a16="http://schemas.microsoft.com/office/drawing/2014/main" val="334082572"/>
                    </a:ext>
                  </a:extLst>
                </a:gridCol>
              </a:tblGrid>
              <a:tr h="461826">
                <a:tc>
                  <a:txBody>
                    <a:bodyPr/>
                    <a:lstStyle/>
                    <a:p>
                      <a:pPr algn="ctr"/>
                      <a:r>
                        <a:rPr lang="en-US" sz="1100" b="1" dirty="0">
                          <a:solidFill>
                            <a:schemeClr val="bg1"/>
                          </a:solidFill>
                          <a:latin typeface="Gotham Medium" panose="02000603030000020004" pitchFamily="2" charset="0"/>
                        </a:rPr>
                        <a:t>Sr. No.</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algn="ctr"/>
                      <a:r>
                        <a:rPr lang="en-IN" sz="1100" b="1" dirty="0">
                          <a:solidFill>
                            <a:schemeClr val="bg1"/>
                          </a:solidFill>
                          <a:latin typeface="Gotham Medium" panose="02000603030000020004" pitchFamily="2" charset="0"/>
                        </a:rPr>
                        <a:t>Percentile</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algn="ctr"/>
                      <a:r>
                        <a:rPr lang="en-IN" sz="1100" b="1" dirty="0">
                          <a:solidFill>
                            <a:schemeClr val="bg1"/>
                          </a:solidFill>
                          <a:latin typeface="Gotham Medium" panose="02000603030000020004" pitchFamily="2" charset="0"/>
                        </a:rPr>
                        <a:t>SML Number </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extLst>
                  <a:ext uri="{0D108BD9-81ED-4DB2-BD59-A6C34878D82A}">
                    <a16:rowId xmlns:a16="http://schemas.microsoft.com/office/drawing/2014/main" val="2308156"/>
                  </a:ext>
                </a:extLst>
              </a:tr>
              <a:tr h="307883">
                <a:tc>
                  <a:txBody>
                    <a:bodyPr/>
                    <a:lstStyle/>
                    <a:p>
                      <a:pPr algn="ctr"/>
                      <a:r>
                        <a:rPr lang="en-IN" sz="1200" b="1" dirty="0">
                          <a:solidFill>
                            <a:schemeClr val="bg1"/>
                          </a:solidFill>
                          <a:latin typeface="Gotham Medium" panose="02000603030000020004" pitchFamily="2" charset="0"/>
                        </a:rPr>
                        <a:t>1</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9.9</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18</a:t>
                      </a:r>
                    </a:p>
                  </a:txBody>
                  <a:tcPr marL="9525" marR="9525" marT="9525" marB="0" anchor="ctr">
                    <a:noFill/>
                  </a:tcPr>
                </a:tc>
                <a:extLst>
                  <a:ext uri="{0D108BD9-81ED-4DB2-BD59-A6C34878D82A}">
                    <a16:rowId xmlns:a16="http://schemas.microsoft.com/office/drawing/2014/main" val="393565384"/>
                  </a:ext>
                </a:extLst>
              </a:tr>
              <a:tr h="307883">
                <a:tc>
                  <a:txBody>
                    <a:bodyPr/>
                    <a:lstStyle/>
                    <a:p>
                      <a:pPr algn="ctr"/>
                      <a:r>
                        <a:rPr lang="en-IN" sz="1200" b="1" dirty="0">
                          <a:solidFill>
                            <a:schemeClr val="bg1"/>
                          </a:solidFill>
                          <a:latin typeface="Gotham Medium" panose="02000603030000020004" pitchFamily="2" charset="0"/>
                        </a:rPr>
                        <a:t>2</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9.8</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238</a:t>
                      </a:r>
                    </a:p>
                  </a:txBody>
                  <a:tcPr marL="9525" marR="9525" marT="9525" marB="0" anchor="ctr">
                    <a:noFill/>
                  </a:tcPr>
                </a:tc>
                <a:extLst>
                  <a:ext uri="{0D108BD9-81ED-4DB2-BD59-A6C34878D82A}">
                    <a16:rowId xmlns:a16="http://schemas.microsoft.com/office/drawing/2014/main" val="3571428122"/>
                  </a:ext>
                </a:extLst>
              </a:tr>
              <a:tr h="307883">
                <a:tc>
                  <a:txBody>
                    <a:bodyPr/>
                    <a:lstStyle/>
                    <a:p>
                      <a:pPr algn="ctr"/>
                      <a:r>
                        <a:rPr lang="en-IN" sz="1200" b="1" dirty="0">
                          <a:solidFill>
                            <a:schemeClr val="bg1"/>
                          </a:solidFill>
                          <a:latin typeface="Gotham Medium" panose="02000603030000020004" pitchFamily="2" charset="0"/>
                        </a:rPr>
                        <a:t>3</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9.7</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387</a:t>
                      </a:r>
                    </a:p>
                  </a:txBody>
                  <a:tcPr marL="9525" marR="9525" marT="9525" marB="0" anchor="ctr">
                    <a:noFill/>
                  </a:tcPr>
                </a:tc>
                <a:extLst>
                  <a:ext uri="{0D108BD9-81ED-4DB2-BD59-A6C34878D82A}">
                    <a16:rowId xmlns:a16="http://schemas.microsoft.com/office/drawing/2014/main" val="3615458207"/>
                  </a:ext>
                </a:extLst>
              </a:tr>
              <a:tr h="307883">
                <a:tc>
                  <a:txBody>
                    <a:bodyPr/>
                    <a:lstStyle/>
                    <a:p>
                      <a:pPr algn="ctr"/>
                      <a:r>
                        <a:rPr lang="en-IN" sz="1200" b="1" dirty="0">
                          <a:solidFill>
                            <a:schemeClr val="bg1"/>
                          </a:solidFill>
                          <a:latin typeface="Gotham Medium" panose="02000603030000020004" pitchFamily="2" charset="0"/>
                        </a:rPr>
                        <a:t>4</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9.6</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540</a:t>
                      </a:r>
                    </a:p>
                  </a:txBody>
                  <a:tcPr marL="9525" marR="9525" marT="9525" marB="0" anchor="ctr">
                    <a:noFill/>
                  </a:tcPr>
                </a:tc>
                <a:extLst>
                  <a:ext uri="{0D108BD9-81ED-4DB2-BD59-A6C34878D82A}">
                    <a16:rowId xmlns:a16="http://schemas.microsoft.com/office/drawing/2014/main" val="8503291"/>
                  </a:ext>
                </a:extLst>
              </a:tr>
              <a:tr h="307883">
                <a:tc>
                  <a:txBody>
                    <a:bodyPr/>
                    <a:lstStyle/>
                    <a:p>
                      <a:pPr algn="ctr"/>
                      <a:r>
                        <a:rPr lang="en-IN" sz="1200" b="1" dirty="0">
                          <a:solidFill>
                            <a:schemeClr val="bg1"/>
                          </a:solidFill>
                          <a:latin typeface="Gotham Medium" panose="02000603030000020004" pitchFamily="2" charset="0"/>
                        </a:rPr>
                        <a:t>5</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9.5</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665</a:t>
                      </a:r>
                    </a:p>
                  </a:txBody>
                  <a:tcPr marL="9525" marR="9525" marT="9525" marB="0" anchor="ctr">
                    <a:noFill/>
                  </a:tcPr>
                </a:tc>
                <a:extLst>
                  <a:ext uri="{0D108BD9-81ED-4DB2-BD59-A6C34878D82A}">
                    <a16:rowId xmlns:a16="http://schemas.microsoft.com/office/drawing/2014/main" val="3120030132"/>
                  </a:ext>
                </a:extLst>
              </a:tr>
              <a:tr h="307883">
                <a:tc>
                  <a:txBody>
                    <a:bodyPr/>
                    <a:lstStyle/>
                    <a:p>
                      <a:pPr algn="ctr"/>
                      <a:r>
                        <a:rPr lang="en-IN" sz="1200" b="1" dirty="0">
                          <a:solidFill>
                            <a:schemeClr val="bg1"/>
                          </a:solidFill>
                          <a:latin typeface="Gotham Medium" panose="02000603030000020004" pitchFamily="2" charset="0"/>
                        </a:rPr>
                        <a:t>6</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9.4</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820</a:t>
                      </a:r>
                    </a:p>
                  </a:txBody>
                  <a:tcPr marL="9525" marR="9525" marT="9525" marB="0" anchor="ctr">
                    <a:noFill/>
                  </a:tcPr>
                </a:tc>
                <a:extLst>
                  <a:ext uri="{0D108BD9-81ED-4DB2-BD59-A6C34878D82A}">
                    <a16:rowId xmlns:a16="http://schemas.microsoft.com/office/drawing/2014/main" val="1439378864"/>
                  </a:ext>
                </a:extLst>
              </a:tr>
              <a:tr h="307883">
                <a:tc>
                  <a:txBody>
                    <a:bodyPr/>
                    <a:lstStyle/>
                    <a:p>
                      <a:pPr algn="ctr"/>
                      <a:r>
                        <a:rPr lang="en-IN" sz="1200" b="1" dirty="0">
                          <a:solidFill>
                            <a:schemeClr val="bg1"/>
                          </a:solidFill>
                          <a:latin typeface="Gotham Medium" panose="02000603030000020004" pitchFamily="2" charset="0"/>
                        </a:rPr>
                        <a:t>7</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9.3</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33</a:t>
                      </a:r>
                    </a:p>
                  </a:txBody>
                  <a:tcPr marL="9525" marR="9525" marT="9525" marB="0" anchor="ctr">
                    <a:noFill/>
                  </a:tcPr>
                </a:tc>
                <a:extLst>
                  <a:ext uri="{0D108BD9-81ED-4DB2-BD59-A6C34878D82A}">
                    <a16:rowId xmlns:a16="http://schemas.microsoft.com/office/drawing/2014/main" val="4080489561"/>
                  </a:ext>
                </a:extLst>
              </a:tr>
              <a:tr h="307883">
                <a:tc>
                  <a:txBody>
                    <a:bodyPr/>
                    <a:lstStyle/>
                    <a:p>
                      <a:pPr algn="ctr"/>
                      <a:r>
                        <a:rPr lang="en-IN" sz="1200" b="1" dirty="0">
                          <a:solidFill>
                            <a:schemeClr val="bg1"/>
                          </a:solidFill>
                          <a:latin typeface="Gotham Medium" panose="02000603030000020004" pitchFamily="2" charset="0"/>
                        </a:rPr>
                        <a:t>8</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9.2</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058</a:t>
                      </a:r>
                    </a:p>
                  </a:txBody>
                  <a:tcPr marL="9525" marR="9525" marT="9525" marB="0" anchor="ctr">
                    <a:noFill/>
                  </a:tcPr>
                </a:tc>
                <a:extLst>
                  <a:ext uri="{0D108BD9-81ED-4DB2-BD59-A6C34878D82A}">
                    <a16:rowId xmlns:a16="http://schemas.microsoft.com/office/drawing/2014/main" val="166007139"/>
                  </a:ext>
                </a:extLst>
              </a:tr>
              <a:tr h="307883">
                <a:tc>
                  <a:txBody>
                    <a:bodyPr/>
                    <a:lstStyle/>
                    <a:p>
                      <a:pPr algn="ctr"/>
                      <a:r>
                        <a:rPr lang="en-IN" sz="1200" b="1" dirty="0">
                          <a:solidFill>
                            <a:schemeClr val="bg1"/>
                          </a:solidFill>
                          <a:latin typeface="Gotham Medium" panose="02000603030000020004" pitchFamily="2" charset="0"/>
                        </a:rPr>
                        <a:t>9</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9.1</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212</a:t>
                      </a:r>
                    </a:p>
                  </a:txBody>
                  <a:tcPr marL="9525" marR="9525" marT="9525" marB="0" anchor="ctr">
                    <a:noFill/>
                  </a:tcPr>
                </a:tc>
                <a:extLst>
                  <a:ext uri="{0D108BD9-81ED-4DB2-BD59-A6C34878D82A}">
                    <a16:rowId xmlns:a16="http://schemas.microsoft.com/office/drawing/2014/main" val="116115631"/>
                  </a:ext>
                </a:extLst>
              </a:tr>
              <a:tr h="307883">
                <a:tc>
                  <a:txBody>
                    <a:bodyPr/>
                    <a:lstStyle/>
                    <a:p>
                      <a:pPr algn="ctr"/>
                      <a:r>
                        <a:rPr lang="en-IN" sz="1200" b="1" dirty="0">
                          <a:solidFill>
                            <a:schemeClr val="bg1"/>
                          </a:solidFill>
                          <a:latin typeface="Gotham Medium" panose="02000603030000020004" pitchFamily="2" charset="0"/>
                        </a:rPr>
                        <a:t>10</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9</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226</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extLst>
                  <a:ext uri="{0D108BD9-81ED-4DB2-BD59-A6C34878D82A}">
                    <a16:rowId xmlns:a16="http://schemas.microsoft.com/office/drawing/2014/main" val="2765827119"/>
                  </a:ext>
                </a:extLst>
              </a:tr>
            </a:tbl>
          </a:graphicData>
        </a:graphic>
      </p:graphicFrame>
      <p:graphicFrame>
        <p:nvGraphicFramePr>
          <p:cNvPr id="5" name="Table 4">
            <a:extLst>
              <a:ext uri="{FF2B5EF4-FFF2-40B4-BE49-F238E27FC236}">
                <a16:creationId xmlns:a16="http://schemas.microsoft.com/office/drawing/2014/main" id="{3179A789-29A2-4602-8E78-4CE2D706A13E}"/>
              </a:ext>
            </a:extLst>
          </p:cNvPr>
          <p:cNvGraphicFramePr>
            <a:graphicFrameLocks noGrp="1"/>
          </p:cNvGraphicFramePr>
          <p:nvPr>
            <p:extLst>
              <p:ext uri="{D42A27DB-BD31-4B8C-83A1-F6EECF244321}">
                <p14:modId xmlns:p14="http://schemas.microsoft.com/office/powerpoint/2010/main" val="3527529074"/>
              </p:ext>
            </p:extLst>
          </p:nvPr>
        </p:nvGraphicFramePr>
        <p:xfrm>
          <a:off x="3372578" y="1276349"/>
          <a:ext cx="2743200" cy="3522940"/>
        </p:xfrm>
        <a:graphic>
          <a:graphicData uri="http://schemas.openxmlformats.org/drawingml/2006/table">
            <a:tbl>
              <a:tblPr firstRow="1" bandRow="1">
                <a:tableStyleId>{5940675A-B579-460E-94D1-54222C63F5DA}</a:tableStyleId>
              </a:tblPr>
              <a:tblGrid>
                <a:gridCol w="486280">
                  <a:extLst>
                    <a:ext uri="{9D8B030D-6E8A-4147-A177-3AD203B41FA5}">
                      <a16:colId xmlns:a16="http://schemas.microsoft.com/office/drawing/2014/main" val="3307544004"/>
                    </a:ext>
                  </a:extLst>
                </a:gridCol>
                <a:gridCol w="990600">
                  <a:extLst>
                    <a:ext uri="{9D8B030D-6E8A-4147-A177-3AD203B41FA5}">
                      <a16:colId xmlns:a16="http://schemas.microsoft.com/office/drawing/2014/main" val="1358531594"/>
                    </a:ext>
                  </a:extLst>
                </a:gridCol>
                <a:gridCol w="1266320">
                  <a:extLst>
                    <a:ext uri="{9D8B030D-6E8A-4147-A177-3AD203B41FA5}">
                      <a16:colId xmlns:a16="http://schemas.microsoft.com/office/drawing/2014/main" val="471222690"/>
                    </a:ext>
                  </a:extLst>
                </a:gridCol>
              </a:tblGrid>
              <a:tr h="461826">
                <a:tc>
                  <a:txBody>
                    <a:bodyPr/>
                    <a:lstStyle/>
                    <a:p>
                      <a:pPr algn="ctr"/>
                      <a:r>
                        <a:rPr lang="en-US" sz="1100" b="1" dirty="0">
                          <a:solidFill>
                            <a:schemeClr val="bg1"/>
                          </a:solidFill>
                          <a:latin typeface="Gotham Medium" panose="02000603030000020004" pitchFamily="2" charset="0"/>
                        </a:rPr>
                        <a:t>Sr. No.</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algn="ctr"/>
                      <a:r>
                        <a:rPr lang="en-IN" sz="1100" b="1" dirty="0">
                          <a:solidFill>
                            <a:schemeClr val="bg1"/>
                          </a:solidFill>
                          <a:latin typeface="Gotham Medium" panose="02000603030000020004" pitchFamily="2" charset="0"/>
                        </a:rPr>
                        <a:t>Percentile</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algn="ctr"/>
                      <a:r>
                        <a:rPr lang="en-IN" sz="1100" b="1" dirty="0">
                          <a:solidFill>
                            <a:schemeClr val="bg1"/>
                          </a:solidFill>
                          <a:latin typeface="Gotham Medium" panose="02000603030000020004" pitchFamily="2" charset="0"/>
                        </a:rPr>
                        <a:t>SML Number </a:t>
                      </a:r>
                      <a:endParaRPr lang="en-IN" sz="11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extLst>
                  <a:ext uri="{0D108BD9-81ED-4DB2-BD59-A6C34878D82A}">
                    <a16:rowId xmlns:a16="http://schemas.microsoft.com/office/drawing/2014/main" val="3231911854"/>
                  </a:ext>
                </a:extLst>
              </a:tr>
              <a:tr h="307883">
                <a:tc>
                  <a:txBody>
                    <a:bodyPr/>
                    <a:lstStyle/>
                    <a:p>
                      <a:pPr algn="ctr"/>
                      <a:r>
                        <a:rPr lang="en-IN" sz="1200" b="1" dirty="0">
                          <a:solidFill>
                            <a:schemeClr val="bg1"/>
                          </a:solidFill>
                          <a:latin typeface="Gotham Medium" panose="02000603030000020004" pitchFamily="2" charset="0"/>
                        </a:rPr>
                        <a:t>11</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8.5</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2041</a:t>
                      </a:r>
                    </a:p>
                  </a:txBody>
                  <a:tcPr marL="9525" marR="9525" marT="9525" marB="0" anchor="ctr">
                    <a:noFill/>
                  </a:tcPr>
                </a:tc>
                <a:extLst>
                  <a:ext uri="{0D108BD9-81ED-4DB2-BD59-A6C34878D82A}">
                    <a16:rowId xmlns:a16="http://schemas.microsoft.com/office/drawing/2014/main" val="3709345965"/>
                  </a:ext>
                </a:extLst>
              </a:tr>
              <a:tr h="307883">
                <a:tc>
                  <a:txBody>
                    <a:bodyPr/>
                    <a:lstStyle/>
                    <a:p>
                      <a:pPr algn="ctr"/>
                      <a:r>
                        <a:rPr lang="en-IN" sz="1200" b="1" dirty="0">
                          <a:solidFill>
                            <a:schemeClr val="bg1"/>
                          </a:solidFill>
                          <a:latin typeface="Gotham Medium" panose="02000603030000020004" pitchFamily="2" charset="0"/>
                        </a:rPr>
                        <a:t>12</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8</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2748</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extLst>
                  <a:ext uri="{0D108BD9-81ED-4DB2-BD59-A6C34878D82A}">
                    <a16:rowId xmlns:a16="http://schemas.microsoft.com/office/drawing/2014/main" val="712067061"/>
                  </a:ext>
                </a:extLst>
              </a:tr>
              <a:tr h="307883">
                <a:tc>
                  <a:txBody>
                    <a:bodyPr/>
                    <a:lstStyle/>
                    <a:p>
                      <a:pPr algn="ctr"/>
                      <a:r>
                        <a:rPr lang="en-IN" sz="1200" b="1" dirty="0">
                          <a:solidFill>
                            <a:schemeClr val="bg1"/>
                          </a:solidFill>
                          <a:latin typeface="Gotham Medium" panose="02000603030000020004" pitchFamily="2" charset="0"/>
                        </a:rPr>
                        <a:t>13</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7.5</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3440</a:t>
                      </a:r>
                    </a:p>
                  </a:txBody>
                  <a:tcPr marL="9525" marR="9525" marT="9525" marB="0" anchor="ctr">
                    <a:noFill/>
                  </a:tcPr>
                </a:tc>
                <a:extLst>
                  <a:ext uri="{0D108BD9-81ED-4DB2-BD59-A6C34878D82A}">
                    <a16:rowId xmlns:a16="http://schemas.microsoft.com/office/drawing/2014/main" val="504774695"/>
                  </a:ext>
                </a:extLst>
              </a:tr>
              <a:tr h="307883">
                <a:tc>
                  <a:txBody>
                    <a:bodyPr/>
                    <a:lstStyle/>
                    <a:p>
                      <a:pPr algn="ctr"/>
                      <a:r>
                        <a:rPr lang="en-IN" sz="1200" b="1" dirty="0">
                          <a:solidFill>
                            <a:schemeClr val="bg1"/>
                          </a:solidFill>
                          <a:latin typeface="Gotham Medium" panose="02000603030000020004" pitchFamily="2" charset="0"/>
                        </a:rPr>
                        <a:t>14</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7</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4245</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extLst>
                  <a:ext uri="{0D108BD9-81ED-4DB2-BD59-A6C34878D82A}">
                    <a16:rowId xmlns:a16="http://schemas.microsoft.com/office/drawing/2014/main" val="3892869270"/>
                  </a:ext>
                </a:extLst>
              </a:tr>
              <a:tr h="307883">
                <a:tc>
                  <a:txBody>
                    <a:bodyPr/>
                    <a:lstStyle/>
                    <a:p>
                      <a:pPr algn="ctr"/>
                      <a:r>
                        <a:rPr lang="en-IN" sz="1200" b="1" dirty="0">
                          <a:solidFill>
                            <a:schemeClr val="bg1"/>
                          </a:solidFill>
                          <a:latin typeface="Gotham Medium" panose="02000603030000020004" pitchFamily="2" charset="0"/>
                        </a:rPr>
                        <a:t>15</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6.5</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4930</a:t>
                      </a:r>
                    </a:p>
                  </a:txBody>
                  <a:tcPr marL="9525" marR="9525" marT="9525" marB="0" anchor="ctr">
                    <a:noFill/>
                  </a:tcPr>
                </a:tc>
                <a:extLst>
                  <a:ext uri="{0D108BD9-81ED-4DB2-BD59-A6C34878D82A}">
                    <a16:rowId xmlns:a16="http://schemas.microsoft.com/office/drawing/2014/main" val="2328716474"/>
                  </a:ext>
                </a:extLst>
              </a:tr>
              <a:tr h="307883">
                <a:tc>
                  <a:txBody>
                    <a:bodyPr/>
                    <a:lstStyle/>
                    <a:p>
                      <a:pPr algn="ctr"/>
                      <a:r>
                        <a:rPr lang="en-IN" sz="1200" b="1" dirty="0">
                          <a:solidFill>
                            <a:schemeClr val="bg1"/>
                          </a:solidFill>
                          <a:latin typeface="Gotham Medium" panose="02000603030000020004" pitchFamily="2" charset="0"/>
                        </a:rPr>
                        <a:t>16</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6</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5635</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extLst>
                  <a:ext uri="{0D108BD9-81ED-4DB2-BD59-A6C34878D82A}">
                    <a16:rowId xmlns:a16="http://schemas.microsoft.com/office/drawing/2014/main" val="2189272051"/>
                  </a:ext>
                </a:extLst>
              </a:tr>
              <a:tr h="307883">
                <a:tc>
                  <a:txBody>
                    <a:bodyPr/>
                    <a:lstStyle/>
                    <a:p>
                      <a:pPr algn="ctr"/>
                      <a:r>
                        <a:rPr lang="en-IN" sz="1200" b="1" dirty="0">
                          <a:solidFill>
                            <a:schemeClr val="bg1"/>
                          </a:solidFill>
                          <a:latin typeface="Gotham Medium" panose="02000603030000020004" pitchFamily="2" charset="0"/>
                        </a:rPr>
                        <a:t>17</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5.5</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6386</a:t>
                      </a:r>
                    </a:p>
                  </a:txBody>
                  <a:tcPr marL="9525" marR="9525" marT="9525" marB="0" anchor="ctr">
                    <a:noFill/>
                  </a:tcPr>
                </a:tc>
                <a:extLst>
                  <a:ext uri="{0D108BD9-81ED-4DB2-BD59-A6C34878D82A}">
                    <a16:rowId xmlns:a16="http://schemas.microsoft.com/office/drawing/2014/main" val="1842699130"/>
                  </a:ext>
                </a:extLst>
              </a:tr>
              <a:tr h="307883">
                <a:tc>
                  <a:txBody>
                    <a:bodyPr/>
                    <a:lstStyle/>
                    <a:p>
                      <a:pPr algn="ctr"/>
                      <a:r>
                        <a:rPr lang="en-IN" sz="1200" b="1" dirty="0">
                          <a:solidFill>
                            <a:schemeClr val="bg1"/>
                          </a:solidFill>
                          <a:latin typeface="Gotham Medium" panose="02000603030000020004" pitchFamily="2" charset="0"/>
                        </a:rPr>
                        <a:t>18</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5</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7083</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extLst>
                  <a:ext uri="{0D108BD9-81ED-4DB2-BD59-A6C34878D82A}">
                    <a16:rowId xmlns:a16="http://schemas.microsoft.com/office/drawing/2014/main" val="1663374961"/>
                  </a:ext>
                </a:extLst>
              </a:tr>
              <a:tr h="307883">
                <a:tc>
                  <a:txBody>
                    <a:bodyPr/>
                    <a:lstStyle/>
                    <a:p>
                      <a:pPr algn="ctr"/>
                      <a:r>
                        <a:rPr lang="en-IN" sz="1200" b="1" dirty="0">
                          <a:solidFill>
                            <a:schemeClr val="bg1"/>
                          </a:solidFill>
                          <a:latin typeface="Gotham Medium" panose="02000603030000020004" pitchFamily="2" charset="0"/>
                        </a:rPr>
                        <a:t>19</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4</a:t>
                      </a:r>
                    </a:p>
                  </a:txBody>
                  <a:tcPr marL="9525" marR="9525" marT="9525" marB="0" anchor="ctr">
                    <a:no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8529</a:t>
                      </a:r>
                    </a:p>
                  </a:txBody>
                  <a:tcPr marL="9525" marR="9525" marT="9525" marB="0" anchor="ctr">
                    <a:noFill/>
                  </a:tcPr>
                </a:tc>
                <a:extLst>
                  <a:ext uri="{0D108BD9-81ED-4DB2-BD59-A6C34878D82A}">
                    <a16:rowId xmlns:a16="http://schemas.microsoft.com/office/drawing/2014/main" val="2423346456"/>
                  </a:ext>
                </a:extLst>
              </a:tr>
              <a:tr h="290167">
                <a:tc>
                  <a:txBody>
                    <a:bodyPr/>
                    <a:lstStyle/>
                    <a:p>
                      <a:pPr algn="ctr"/>
                      <a:r>
                        <a:rPr lang="en-IN" sz="1200" b="1" dirty="0">
                          <a:solidFill>
                            <a:schemeClr val="bg1"/>
                          </a:solidFill>
                          <a:latin typeface="Gotham Medium" panose="02000603030000020004" pitchFamily="2" charset="0"/>
                        </a:rPr>
                        <a:t>20</a:t>
                      </a:r>
                      <a:endParaRPr lang="en-IN" sz="1200" b="1" dirty="0">
                        <a:solidFill>
                          <a:schemeClr val="bg1"/>
                        </a:solidFill>
                        <a:latin typeface="Gotham Medium" panose="02000603030000020004" pitchFamily="2" charset="0"/>
                        <a:cs typeface="Times New Roman" pitchFamily="18" charset="0"/>
                      </a:endParaRPr>
                    </a:p>
                  </a:txBody>
                  <a:tcPr marL="91437" marR="91437" marT="45718" marB="45718" anchor="ctr">
                    <a:solidFill>
                      <a:schemeClr val="bg1">
                        <a:lumMod val="65000"/>
                      </a:schemeClr>
                    </a:soli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93</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tc>
                  <a:txBody>
                    <a:bodyPr/>
                    <a:lstStyle/>
                    <a:p>
                      <a:pPr marL="0" algn="ctr" defTabSz="914378" rtl="0" eaLnBrk="1" fontAlgn="b" latinLnBrk="0" hangingPunct="1"/>
                      <a:r>
                        <a:rPr lang="en-US" sz="1200" u="none" strike="noStrike" kern="1200" dirty="0">
                          <a:solidFill>
                            <a:schemeClr val="tx1"/>
                          </a:solidFill>
                          <a:effectLst/>
                          <a:latin typeface="Gotham Medium" panose="02000603030000020004" pitchFamily="2" charset="0"/>
                          <a:ea typeface="+mn-ea"/>
                          <a:cs typeface="+mn-cs"/>
                        </a:rPr>
                        <a:t>10081</a:t>
                      </a:r>
                    </a:p>
                  </a:txBody>
                  <a:tcPr marL="9525" marR="9525" marT="9525" marB="0" anchor="ctr">
                    <a:gradFill flip="none" rotWithShape="1">
                      <a:gsLst>
                        <a:gs pos="0">
                          <a:srgbClr val="FF5969">
                            <a:tint val="66000"/>
                            <a:satMod val="160000"/>
                          </a:srgbClr>
                        </a:gs>
                        <a:gs pos="50000">
                          <a:srgbClr val="FF5969">
                            <a:tint val="44500"/>
                            <a:satMod val="160000"/>
                          </a:srgbClr>
                        </a:gs>
                        <a:gs pos="100000">
                          <a:srgbClr val="FF5969">
                            <a:tint val="23500"/>
                            <a:satMod val="160000"/>
                          </a:srgbClr>
                        </a:gs>
                      </a:gsLst>
                      <a:path path="circle">
                        <a:fillToRect l="50000" t="50000" r="50000" b="50000"/>
                      </a:path>
                      <a:tileRect/>
                    </a:gradFill>
                  </a:tcPr>
                </a:tc>
                <a:extLst>
                  <a:ext uri="{0D108BD9-81ED-4DB2-BD59-A6C34878D82A}">
                    <a16:rowId xmlns:a16="http://schemas.microsoft.com/office/drawing/2014/main" val="2486944401"/>
                  </a:ext>
                </a:extLst>
              </a:tr>
            </a:tbl>
          </a:graphicData>
        </a:graphic>
      </p:graphicFrame>
      <p:sp>
        <p:nvSpPr>
          <p:cNvPr id="11" name="Rectangle 10">
            <a:extLst>
              <a:ext uri="{FF2B5EF4-FFF2-40B4-BE49-F238E27FC236}">
                <a16:creationId xmlns:a16="http://schemas.microsoft.com/office/drawing/2014/main" id="{6C774EB8-F7AB-4285-B450-DE0BFCFF6719}"/>
              </a:ext>
            </a:extLst>
          </p:cNvPr>
          <p:cNvSpPr/>
          <p:nvPr/>
        </p:nvSpPr>
        <p:spPr>
          <a:xfrm>
            <a:off x="152399" y="431668"/>
            <a:ext cx="221805" cy="4280164"/>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12" name="Rectangle 11">
            <a:extLst>
              <a:ext uri="{FF2B5EF4-FFF2-40B4-BE49-F238E27FC236}">
                <a16:creationId xmlns:a16="http://schemas.microsoft.com/office/drawing/2014/main" id="{2FE1C9B8-9349-4A41-AD27-52BD7087F5FB}"/>
              </a:ext>
            </a:extLst>
          </p:cNvPr>
          <p:cNvSpPr/>
          <p:nvPr/>
        </p:nvSpPr>
        <p:spPr>
          <a:xfrm rot="16200000" flipV="1">
            <a:off x="4346272" y="-3216578"/>
            <a:ext cx="70456" cy="8763000"/>
          </a:xfrm>
          <a:prstGeom prst="rect">
            <a:avLst/>
          </a:prstGeom>
          <a:solidFill>
            <a:srgbClr val="92D0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b="1" dirty="0">
              <a:solidFill>
                <a:prstClr val="white"/>
              </a:solidFill>
              <a:latin typeface="Calibri Light"/>
            </a:endParaRPr>
          </a:p>
        </p:txBody>
      </p:sp>
      <p:sp>
        <p:nvSpPr>
          <p:cNvPr id="13" name="Title 1">
            <a:extLst>
              <a:ext uri="{FF2B5EF4-FFF2-40B4-BE49-F238E27FC236}">
                <a16:creationId xmlns:a16="http://schemas.microsoft.com/office/drawing/2014/main" id="{0B0FE92F-DBA6-406F-A839-CDEDE0F10D43}"/>
              </a:ext>
            </a:extLst>
          </p:cNvPr>
          <p:cNvSpPr>
            <a:spLocks noGrp="1"/>
          </p:cNvSpPr>
          <p:nvPr>
            <p:ph type="title"/>
          </p:nvPr>
        </p:nvSpPr>
        <p:spPr>
          <a:xfrm>
            <a:off x="371553" y="431668"/>
            <a:ext cx="8712346" cy="685204"/>
          </a:xfrm>
          <a:effectLst/>
        </p:spPr>
        <p:txBody>
          <a:bodyPr vert="horz" lIns="91440" tIns="45720" rIns="91440" bIns="45720" rtlCol="0" anchor="ctr">
            <a:noAutofit/>
          </a:bodyPr>
          <a:lstStyle/>
          <a:p>
            <a:pPr algn="l"/>
            <a:r>
              <a:rPr lang="en-US" altLang="en-US" sz="2800" dirty="0">
                <a:solidFill>
                  <a:srgbClr val="FF5969"/>
                </a:solidFill>
                <a:latin typeface="Gotham Bold" panose="02000803030000020004" pitchFamily="2" charset="0"/>
              </a:rPr>
              <a:t>CAP 2020  </a:t>
            </a:r>
            <a:r>
              <a:rPr lang="en-US" altLang="en-US" sz="2800" dirty="0">
                <a:solidFill>
                  <a:srgbClr val="FEC630"/>
                </a:solidFill>
                <a:latin typeface="Gotham Bold" panose="02000803030000020004" pitchFamily="2" charset="0"/>
              </a:rPr>
              <a:t>SML Numbers </a:t>
            </a:r>
            <a:endParaRPr lang="en-US" sz="2800" dirty="0">
              <a:solidFill>
                <a:srgbClr val="FEC630"/>
              </a:solidFill>
              <a:latin typeface="Gotham Bold" panose="02000803030000020004" pitchFamily="2" charset="0"/>
            </a:endParaRPr>
          </a:p>
        </p:txBody>
      </p:sp>
    </p:spTree>
    <p:extLst>
      <p:ext uri="{BB962C8B-B14F-4D97-AF65-F5344CB8AC3E}">
        <p14:creationId xmlns:p14="http://schemas.microsoft.com/office/powerpoint/2010/main" val="599609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77" descr="Presentations background 3D model - TurboSquid 1163407">
            <a:extLst>
              <a:ext uri="{FF2B5EF4-FFF2-40B4-BE49-F238E27FC236}">
                <a16:creationId xmlns:a16="http://schemas.microsoft.com/office/drawing/2014/main" id="{775483CA-EB5F-4073-BC7E-36C73D3BCEEA}"/>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0" y="-1"/>
            <a:ext cx="9142412" cy="51435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6BAE015D-47D1-4E48-8E90-3697142C75CA}"/>
              </a:ext>
            </a:extLst>
          </p:cNvPr>
          <p:cNvSpPr/>
          <p:nvPr/>
        </p:nvSpPr>
        <p:spPr>
          <a:xfrm>
            <a:off x="2057400" y="1872476"/>
            <a:ext cx="7086600" cy="1496146"/>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grpSp>
        <p:nvGrpSpPr>
          <p:cNvPr id="2" name="Group 1">
            <a:extLst>
              <a:ext uri="{FF2B5EF4-FFF2-40B4-BE49-F238E27FC236}">
                <a16:creationId xmlns:a16="http://schemas.microsoft.com/office/drawing/2014/main" id="{54EEDD90-704E-4878-AF8D-68076816A27C}"/>
              </a:ext>
            </a:extLst>
          </p:cNvPr>
          <p:cNvGrpSpPr/>
          <p:nvPr/>
        </p:nvGrpSpPr>
        <p:grpSpPr>
          <a:xfrm>
            <a:off x="268941" y="742950"/>
            <a:ext cx="2438400" cy="3496230"/>
            <a:chOff x="457200" y="590550"/>
            <a:chExt cx="2979057" cy="4182030"/>
          </a:xfrm>
        </p:grpSpPr>
        <p:sp>
          <p:nvSpPr>
            <p:cNvPr id="12" name="Freeform: Shape 11">
              <a:extLst>
                <a:ext uri="{FF2B5EF4-FFF2-40B4-BE49-F238E27FC236}">
                  <a16:creationId xmlns:a16="http://schemas.microsoft.com/office/drawing/2014/main" id="{07097967-BC15-498E-939C-AE11970C5D94}"/>
                </a:ext>
              </a:extLst>
            </p:cNvPr>
            <p:cNvSpPr>
              <a:spLocks/>
            </p:cNvSpPr>
            <p:nvPr/>
          </p:nvSpPr>
          <p:spPr bwMode="auto">
            <a:xfrm rot="410959" flipH="1">
              <a:off x="794188" y="1474662"/>
              <a:ext cx="2305082" cy="3297918"/>
            </a:xfrm>
            <a:custGeom>
              <a:avLst/>
              <a:gdLst>
                <a:gd name="connsiteX0" fmla="*/ 1696267 w 2854049"/>
                <a:gd name="connsiteY0" fmla="*/ 3431657 h 4135471"/>
                <a:gd name="connsiteX1" fmla="*/ 1344360 w 2854049"/>
                <a:gd name="connsiteY1" fmla="*/ 3783564 h 4135471"/>
                <a:gd name="connsiteX2" fmla="*/ 1696267 w 2854049"/>
                <a:gd name="connsiteY2" fmla="*/ 4135471 h 4135471"/>
                <a:gd name="connsiteX3" fmla="*/ 2048174 w 2854049"/>
                <a:gd name="connsiteY3" fmla="*/ 3783564 h 4135471"/>
                <a:gd name="connsiteX4" fmla="*/ 1696267 w 2854049"/>
                <a:gd name="connsiteY4" fmla="*/ 3431657 h 4135471"/>
                <a:gd name="connsiteX5" fmla="*/ 1470680 w 2854049"/>
                <a:gd name="connsiteY5" fmla="*/ 0 h 4135471"/>
                <a:gd name="connsiteX6" fmla="*/ 1360088 w 2854049"/>
                <a:gd name="connsiteY6" fmla="*/ 9020 h 4135471"/>
                <a:gd name="connsiteX7" fmla="*/ 1082638 w 2854049"/>
                <a:gd name="connsiteY7" fmla="*/ 72152 h 4135471"/>
                <a:gd name="connsiteX8" fmla="*/ 1000179 w 2854049"/>
                <a:gd name="connsiteY8" fmla="*/ 103217 h 4135471"/>
                <a:gd name="connsiteX9" fmla="*/ 918691 w 2854049"/>
                <a:gd name="connsiteY9" fmla="*/ 138291 h 4135471"/>
                <a:gd name="connsiteX10" fmla="*/ 839141 w 2854049"/>
                <a:gd name="connsiteY10" fmla="*/ 180379 h 4135471"/>
                <a:gd name="connsiteX11" fmla="*/ 765414 w 2854049"/>
                <a:gd name="connsiteY11" fmla="*/ 227479 h 4135471"/>
                <a:gd name="connsiteX12" fmla="*/ 694595 w 2854049"/>
                <a:gd name="connsiteY12" fmla="*/ 280591 h 4135471"/>
                <a:gd name="connsiteX13" fmla="*/ 629599 w 2854049"/>
                <a:gd name="connsiteY13" fmla="*/ 338714 h 4135471"/>
                <a:gd name="connsiteX14" fmla="*/ 569452 w 2854049"/>
                <a:gd name="connsiteY14" fmla="*/ 401847 h 4135471"/>
                <a:gd name="connsiteX15" fmla="*/ 515126 w 2854049"/>
                <a:gd name="connsiteY15" fmla="*/ 470992 h 4135471"/>
                <a:gd name="connsiteX16" fmla="*/ 467591 w 2854049"/>
                <a:gd name="connsiteY16" fmla="*/ 544147 h 4135471"/>
                <a:gd name="connsiteX17" fmla="*/ 426847 w 2854049"/>
                <a:gd name="connsiteY17" fmla="*/ 622311 h 4135471"/>
                <a:gd name="connsiteX18" fmla="*/ 392893 w 2854049"/>
                <a:gd name="connsiteY18" fmla="*/ 706488 h 4135471"/>
                <a:gd name="connsiteX19" fmla="*/ 338568 w 2854049"/>
                <a:gd name="connsiteY19" fmla="*/ 937976 h 4135471"/>
                <a:gd name="connsiteX20" fmla="*/ 333717 w 2854049"/>
                <a:gd name="connsiteY20" fmla="*/ 994094 h 4135471"/>
                <a:gd name="connsiteX21" fmla="*/ 331776 w 2854049"/>
                <a:gd name="connsiteY21" fmla="*/ 1047206 h 4135471"/>
                <a:gd name="connsiteX22" fmla="*/ 333717 w 2854049"/>
                <a:gd name="connsiteY22" fmla="*/ 1096308 h 4135471"/>
                <a:gd name="connsiteX23" fmla="*/ 334686 w 2854049"/>
                <a:gd name="connsiteY23" fmla="*/ 1145413 h 4135471"/>
                <a:gd name="connsiteX24" fmla="*/ 334686 w 2854049"/>
                <a:gd name="connsiteY24" fmla="*/ 1191509 h 4135471"/>
                <a:gd name="connsiteX25" fmla="*/ 329836 w 2854049"/>
                <a:gd name="connsiteY25" fmla="*/ 1234599 h 4135471"/>
                <a:gd name="connsiteX26" fmla="*/ 315284 w 2854049"/>
                <a:gd name="connsiteY26" fmla="*/ 1278693 h 4135471"/>
                <a:gd name="connsiteX27" fmla="*/ 289092 w 2854049"/>
                <a:gd name="connsiteY27" fmla="*/ 1331805 h 4135471"/>
                <a:gd name="connsiteX28" fmla="*/ 257078 w 2854049"/>
                <a:gd name="connsiteY28" fmla="*/ 1380908 h 4135471"/>
                <a:gd name="connsiteX29" fmla="*/ 222155 w 2854049"/>
                <a:gd name="connsiteY29" fmla="*/ 1423998 h 4135471"/>
                <a:gd name="connsiteX30" fmla="*/ 185291 w 2854049"/>
                <a:gd name="connsiteY30" fmla="*/ 1468092 h 4135471"/>
                <a:gd name="connsiteX31" fmla="*/ 146487 w 2854049"/>
                <a:gd name="connsiteY31" fmla="*/ 1508176 h 4135471"/>
                <a:gd name="connsiteX32" fmla="*/ 107683 w 2854049"/>
                <a:gd name="connsiteY32" fmla="*/ 1548261 h 4135471"/>
                <a:gd name="connsiteX33" fmla="*/ 70819 w 2854049"/>
                <a:gd name="connsiteY33" fmla="*/ 1592354 h 4135471"/>
                <a:gd name="connsiteX34" fmla="*/ 58206 w 2854049"/>
                <a:gd name="connsiteY34" fmla="*/ 1604378 h 4135471"/>
                <a:gd name="connsiteX35" fmla="*/ 42684 w 2854049"/>
                <a:gd name="connsiteY35" fmla="*/ 1619410 h 4135471"/>
                <a:gd name="connsiteX36" fmla="*/ 26193 w 2854049"/>
                <a:gd name="connsiteY36" fmla="*/ 1637448 h 4135471"/>
                <a:gd name="connsiteX37" fmla="*/ 12611 w 2854049"/>
                <a:gd name="connsiteY37" fmla="*/ 1655486 h 4135471"/>
                <a:gd name="connsiteX38" fmla="*/ 3882 w 2854049"/>
                <a:gd name="connsiteY38" fmla="*/ 1677533 h 4135471"/>
                <a:gd name="connsiteX39" fmla="*/ 0 w 2854049"/>
                <a:gd name="connsiteY39" fmla="*/ 1701583 h 4135471"/>
                <a:gd name="connsiteX40" fmla="*/ 4851 w 2854049"/>
                <a:gd name="connsiteY40" fmla="*/ 1726636 h 4135471"/>
                <a:gd name="connsiteX41" fmla="*/ 17462 w 2854049"/>
                <a:gd name="connsiteY41" fmla="*/ 1750687 h 4135471"/>
                <a:gd name="connsiteX42" fmla="*/ 38806 w 2854049"/>
                <a:gd name="connsiteY42" fmla="*/ 1770728 h 4135471"/>
                <a:gd name="connsiteX43" fmla="*/ 63057 w 2854049"/>
                <a:gd name="connsiteY43" fmla="*/ 1784759 h 4135471"/>
                <a:gd name="connsiteX44" fmla="*/ 93130 w 2854049"/>
                <a:gd name="connsiteY44" fmla="*/ 1797786 h 4135471"/>
                <a:gd name="connsiteX45" fmla="*/ 125143 w 2854049"/>
                <a:gd name="connsiteY45" fmla="*/ 1808809 h 4135471"/>
                <a:gd name="connsiteX46" fmla="*/ 157158 w 2854049"/>
                <a:gd name="connsiteY46" fmla="*/ 1819833 h 4135471"/>
                <a:gd name="connsiteX47" fmla="*/ 188201 w 2854049"/>
                <a:gd name="connsiteY47" fmla="*/ 1830855 h 4135471"/>
                <a:gd name="connsiteX48" fmla="*/ 218273 w 2854049"/>
                <a:gd name="connsiteY48" fmla="*/ 1843883 h 4135471"/>
                <a:gd name="connsiteX49" fmla="*/ 245437 w 2854049"/>
                <a:gd name="connsiteY49" fmla="*/ 1857912 h 4135471"/>
                <a:gd name="connsiteX50" fmla="*/ 264839 w 2854049"/>
                <a:gd name="connsiteY50" fmla="*/ 1875951 h 4135471"/>
                <a:gd name="connsiteX51" fmla="*/ 259018 w 2854049"/>
                <a:gd name="connsiteY51" fmla="*/ 1900001 h 4135471"/>
                <a:gd name="connsiteX52" fmla="*/ 248347 w 2854049"/>
                <a:gd name="connsiteY52" fmla="*/ 1922047 h 4135471"/>
                <a:gd name="connsiteX53" fmla="*/ 237676 w 2854049"/>
                <a:gd name="connsiteY53" fmla="*/ 1945097 h 4135471"/>
                <a:gd name="connsiteX54" fmla="*/ 226035 w 2854049"/>
                <a:gd name="connsiteY54" fmla="*/ 1967142 h 4135471"/>
                <a:gd name="connsiteX55" fmla="*/ 215364 w 2854049"/>
                <a:gd name="connsiteY55" fmla="*/ 1989189 h 4135471"/>
                <a:gd name="connsiteX56" fmla="*/ 207602 w 2854049"/>
                <a:gd name="connsiteY56" fmla="*/ 2011236 h 4135471"/>
                <a:gd name="connsiteX57" fmla="*/ 204693 w 2854049"/>
                <a:gd name="connsiteY57" fmla="*/ 2031277 h 4135471"/>
                <a:gd name="connsiteX58" fmla="*/ 206633 w 2854049"/>
                <a:gd name="connsiteY58" fmla="*/ 2053324 h 4135471"/>
                <a:gd name="connsiteX59" fmla="*/ 217304 w 2854049"/>
                <a:gd name="connsiteY59" fmla="*/ 2073366 h 4135471"/>
                <a:gd name="connsiteX60" fmla="*/ 236706 w 2854049"/>
                <a:gd name="connsiteY60" fmla="*/ 2093409 h 4135471"/>
                <a:gd name="connsiteX61" fmla="*/ 264839 w 2854049"/>
                <a:gd name="connsiteY61" fmla="*/ 2113450 h 4135471"/>
                <a:gd name="connsiteX62" fmla="*/ 259018 w 2854049"/>
                <a:gd name="connsiteY62" fmla="*/ 2129483 h 4135471"/>
                <a:gd name="connsiteX63" fmla="*/ 250288 w 2854049"/>
                <a:gd name="connsiteY63" fmla="*/ 2145517 h 4135471"/>
                <a:gd name="connsiteX64" fmla="*/ 243497 w 2854049"/>
                <a:gd name="connsiteY64" fmla="*/ 2164557 h 4135471"/>
                <a:gd name="connsiteX65" fmla="*/ 241557 w 2854049"/>
                <a:gd name="connsiteY65" fmla="*/ 2184601 h 4135471"/>
                <a:gd name="connsiteX66" fmla="*/ 245437 w 2854049"/>
                <a:gd name="connsiteY66" fmla="*/ 2204642 h 4135471"/>
                <a:gd name="connsiteX67" fmla="*/ 256109 w 2854049"/>
                <a:gd name="connsiteY67" fmla="*/ 2222680 h 4135471"/>
                <a:gd name="connsiteX68" fmla="*/ 269690 w 2854049"/>
                <a:gd name="connsiteY68" fmla="*/ 2236709 h 4135471"/>
                <a:gd name="connsiteX69" fmla="*/ 287151 w 2854049"/>
                <a:gd name="connsiteY69" fmla="*/ 2249737 h 4135471"/>
                <a:gd name="connsiteX70" fmla="*/ 304613 w 2854049"/>
                <a:gd name="connsiteY70" fmla="*/ 2258756 h 4135471"/>
                <a:gd name="connsiteX71" fmla="*/ 321105 w 2854049"/>
                <a:gd name="connsiteY71" fmla="*/ 2269780 h 4135471"/>
                <a:gd name="connsiteX72" fmla="*/ 336627 w 2854049"/>
                <a:gd name="connsiteY72" fmla="*/ 2284810 h 4135471"/>
                <a:gd name="connsiteX73" fmla="*/ 345358 w 2854049"/>
                <a:gd name="connsiteY73" fmla="*/ 2300845 h 4135471"/>
                <a:gd name="connsiteX74" fmla="*/ 354089 w 2854049"/>
                <a:gd name="connsiteY74" fmla="*/ 2329906 h 4135471"/>
                <a:gd name="connsiteX75" fmla="*/ 354089 w 2854049"/>
                <a:gd name="connsiteY75" fmla="*/ 2362976 h 4135471"/>
                <a:gd name="connsiteX76" fmla="*/ 351179 w 2854049"/>
                <a:gd name="connsiteY76" fmla="*/ 2394041 h 4135471"/>
                <a:gd name="connsiteX77" fmla="*/ 343417 w 2854049"/>
                <a:gd name="connsiteY77" fmla="*/ 2426108 h 4135471"/>
                <a:gd name="connsiteX78" fmla="*/ 336627 w 2854049"/>
                <a:gd name="connsiteY78" fmla="*/ 2457173 h 4135471"/>
                <a:gd name="connsiteX79" fmla="*/ 331776 w 2854049"/>
                <a:gd name="connsiteY79" fmla="*/ 2485233 h 4135471"/>
                <a:gd name="connsiteX80" fmla="*/ 327896 w 2854049"/>
                <a:gd name="connsiteY80" fmla="*/ 2525318 h 4135471"/>
                <a:gd name="connsiteX81" fmla="*/ 331776 w 2854049"/>
                <a:gd name="connsiteY81" fmla="*/ 2561393 h 4135471"/>
                <a:gd name="connsiteX82" fmla="*/ 342447 w 2854049"/>
                <a:gd name="connsiteY82" fmla="*/ 2594464 h 4135471"/>
                <a:gd name="connsiteX83" fmla="*/ 356029 w 2854049"/>
                <a:gd name="connsiteY83" fmla="*/ 2623524 h 4135471"/>
                <a:gd name="connsiteX84" fmla="*/ 375432 w 2854049"/>
                <a:gd name="connsiteY84" fmla="*/ 2646572 h 4135471"/>
                <a:gd name="connsiteX85" fmla="*/ 400654 w 2854049"/>
                <a:gd name="connsiteY85" fmla="*/ 2668619 h 4135471"/>
                <a:gd name="connsiteX86" fmla="*/ 424906 w 2854049"/>
                <a:gd name="connsiteY86" fmla="*/ 2686657 h 4135471"/>
                <a:gd name="connsiteX87" fmla="*/ 453040 w 2854049"/>
                <a:gd name="connsiteY87" fmla="*/ 2701688 h 4135471"/>
                <a:gd name="connsiteX88" fmla="*/ 481173 w 2854049"/>
                <a:gd name="connsiteY88" fmla="*/ 2714717 h 4135471"/>
                <a:gd name="connsiteX89" fmla="*/ 509306 w 2854049"/>
                <a:gd name="connsiteY89" fmla="*/ 2721731 h 4135471"/>
                <a:gd name="connsiteX90" fmla="*/ 560721 w 2854049"/>
                <a:gd name="connsiteY90" fmla="*/ 2730751 h 4135471"/>
                <a:gd name="connsiteX91" fmla="*/ 615047 w 2854049"/>
                <a:gd name="connsiteY91" fmla="*/ 2734758 h 4135471"/>
                <a:gd name="connsiteX92" fmla="*/ 672284 w 2854049"/>
                <a:gd name="connsiteY92" fmla="*/ 2732755 h 4135471"/>
                <a:gd name="connsiteX93" fmla="*/ 728550 w 2854049"/>
                <a:gd name="connsiteY93" fmla="*/ 2726742 h 4135471"/>
                <a:gd name="connsiteX94" fmla="*/ 784816 w 2854049"/>
                <a:gd name="connsiteY94" fmla="*/ 2719726 h 4135471"/>
                <a:gd name="connsiteX95" fmla="*/ 838171 w 2854049"/>
                <a:gd name="connsiteY95" fmla="*/ 2708704 h 4135471"/>
                <a:gd name="connsiteX96" fmla="*/ 885706 w 2854049"/>
                <a:gd name="connsiteY96" fmla="*/ 2695677 h 4135471"/>
                <a:gd name="connsiteX97" fmla="*/ 927421 w 2854049"/>
                <a:gd name="connsiteY97" fmla="*/ 2681646 h 4135471"/>
                <a:gd name="connsiteX98" fmla="*/ 944882 w 2854049"/>
                <a:gd name="connsiteY98" fmla="*/ 2675633 h 4135471"/>
                <a:gd name="connsiteX99" fmla="*/ 968165 w 2854049"/>
                <a:gd name="connsiteY99" fmla="*/ 2668619 h 4135471"/>
                <a:gd name="connsiteX100" fmla="*/ 993388 w 2854049"/>
                <a:gd name="connsiteY100" fmla="*/ 2661605 h 4135471"/>
                <a:gd name="connsiteX101" fmla="*/ 1019581 w 2854049"/>
                <a:gd name="connsiteY101" fmla="*/ 2654590 h 4135471"/>
                <a:gd name="connsiteX102" fmla="*/ 1047714 w 2854049"/>
                <a:gd name="connsiteY102" fmla="*/ 2650582 h 4135471"/>
                <a:gd name="connsiteX103" fmla="*/ 1075847 w 2854049"/>
                <a:gd name="connsiteY103" fmla="*/ 2648577 h 4135471"/>
                <a:gd name="connsiteX104" fmla="*/ 1100100 w 2854049"/>
                <a:gd name="connsiteY104" fmla="*/ 2652585 h 4135471"/>
                <a:gd name="connsiteX105" fmla="*/ 1121442 w 2854049"/>
                <a:gd name="connsiteY105" fmla="*/ 2661605 h 4135471"/>
                <a:gd name="connsiteX106" fmla="*/ 1140844 w 2854049"/>
                <a:gd name="connsiteY106" fmla="*/ 2679643 h 4135471"/>
                <a:gd name="connsiteX107" fmla="*/ 1158306 w 2854049"/>
                <a:gd name="connsiteY107" fmla="*/ 2708704 h 4135471"/>
                <a:gd name="connsiteX108" fmla="*/ 1174797 w 2854049"/>
                <a:gd name="connsiteY108" fmla="*/ 2745782 h 4135471"/>
                <a:gd name="connsiteX109" fmla="*/ 1190319 w 2854049"/>
                <a:gd name="connsiteY109" fmla="*/ 2788872 h 4135471"/>
                <a:gd name="connsiteX110" fmla="*/ 1202931 w 2854049"/>
                <a:gd name="connsiteY110" fmla="*/ 2837975 h 4135471"/>
                <a:gd name="connsiteX111" fmla="*/ 1215541 w 2854049"/>
                <a:gd name="connsiteY111" fmla="*/ 2889083 h 4135471"/>
                <a:gd name="connsiteX112" fmla="*/ 1226212 w 2854049"/>
                <a:gd name="connsiteY112" fmla="*/ 2942195 h 4135471"/>
                <a:gd name="connsiteX113" fmla="*/ 1235914 w 2854049"/>
                <a:gd name="connsiteY113" fmla="*/ 2996309 h 4135471"/>
                <a:gd name="connsiteX114" fmla="*/ 1245616 w 2854049"/>
                <a:gd name="connsiteY114" fmla="*/ 3049421 h 4135471"/>
                <a:gd name="connsiteX115" fmla="*/ 1252407 w 2854049"/>
                <a:gd name="connsiteY115" fmla="*/ 3098524 h 4135471"/>
                <a:gd name="connsiteX116" fmla="*/ 1261138 w 2854049"/>
                <a:gd name="connsiteY116" fmla="*/ 3144621 h 4135471"/>
                <a:gd name="connsiteX117" fmla="*/ 1267927 w 2854049"/>
                <a:gd name="connsiteY117" fmla="*/ 3182701 h 4135471"/>
                <a:gd name="connsiteX118" fmla="*/ 1273749 w 2854049"/>
                <a:gd name="connsiteY118" fmla="*/ 3215771 h 4135471"/>
                <a:gd name="connsiteX119" fmla="*/ 1405683 w 2854049"/>
                <a:gd name="connsiteY119" fmla="*/ 3238820 h 4135471"/>
                <a:gd name="connsiteX120" fmla="*/ 1539558 w 2854049"/>
                <a:gd name="connsiteY120" fmla="*/ 3251847 h 4135471"/>
                <a:gd name="connsiteX121" fmla="*/ 1677312 w 2854049"/>
                <a:gd name="connsiteY121" fmla="*/ 3253851 h 4135471"/>
                <a:gd name="connsiteX122" fmla="*/ 1817977 w 2854049"/>
                <a:gd name="connsiteY122" fmla="*/ 3246837 h 4135471"/>
                <a:gd name="connsiteX123" fmla="*/ 1963493 w 2854049"/>
                <a:gd name="connsiteY123" fmla="*/ 3226793 h 4135471"/>
                <a:gd name="connsiteX124" fmla="*/ 1998071 w 2854049"/>
                <a:gd name="connsiteY124" fmla="*/ 3220300 h 4135471"/>
                <a:gd name="connsiteX125" fmla="*/ 1972544 w 2854049"/>
                <a:gd name="connsiteY125" fmla="*/ 2990832 h 4135471"/>
                <a:gd name="connsiteX126" fmla="*/ 1866104 w 2854049"/>
                <a:gd name="connsiteY126" fmla="*/ 2529483 h 4135471"/>
                <a:gd name="connsiteX127" fmla="*/ 1085631 w 2854049"/>
                <a:gd name="connsiteY127" fmla="*/ 1773024 h 4135471"/>
                <a:gd name="connsiteX128" fmla="*/ 1277747 w 2854049"/>
                <a:gd name="connsiteY128" fmla="*/ 968535 h 4135471"/>
                <a:gd name="connsiteX129" fmla="*/ 1914134 w 2854049"/>
                <a:gd name="connsiteY129" fmla="*/ 872477 h 4135471"/>
                <a:gd name="connsiteX130" fmla="*/ 2334389 w 2854049"/>
                <a:gd name="connsiteY130" fmla="*/ 1316747 h 4135471"/>
                <a:gd name="connsiteX131" fmla="*/ 2850702 w 2854049"/>
                <a:gd name="connsiteY131" fmla="*/ 1256710 h 4135471"/>
                <a:gd name="connsiteX132" fmla="*/ 2851858 w 2854049"/>
                <a:gd name="connsiteY132" fmla="*/ 1288484 h 4135471"/>
                <a:gd name="connsiteX133" fmla="*/ 2854049 w 2854049"/>
                <a:gd name="connsiteY133" fmla="*/ 1252639 h 4135471"/>
                <a:gd name="connsiteX134" fmla="*/ 2852109 w 2854049"/>
                <a:gd name="connsiteY134" fmla="*/ 1156435 h 4135471"/>
                <a:gd name="connsiteX135" fmla="*/ 2845318 w 2854049"/>
                <a:gd name="connsiteY135" fmla="*/ 1062236 h 4135471"/>
                <a:gd name="connsiteX136" fmla="*/ 2830767 w 2854049"/>
                <a:gd name="connsiteY136" fmla="*/ 971045 h 4135471"/>
                <a:gd name="connsiteX137" fmla="*/ 2811365 w 2854049"/>
                <a:gd name="connsiteY137" fmla="*/ 881857 h 4135471"/>
                <a:gd name="connsiteX138" fmla="*/ 2787112 w 2854049"/>
                <a:gd name="connsiteY138" fmla="*/ 799684 h 4135471"/>
                <a:gd name="connsiteX139" fmla="*/ 2759950 w 2854049"/>
                <a:gd name="connsiteY139" fmla="*/ 724526 h 4135471"/>
                <a:gd name="connsiteX140" fmla="*/ 2728906 w 2854049"/>
                <a:gd name="connsiteY140" fmla="*/ 657385 h 4135471"/>
                <a:gd name="connsiteX141" fmla="*/ 2682340 w 2854049"/>
                <a:gd name="connsiteY141" fmla="*/ 577215 h 4135471"/>
                <a:gd name="connsiteX142" fmla="*/ 2631895 w 2854049"/>
                <a:gd name="connsiteY142" fmla="*/ 501055 h 4135471"/>
                <a:gd name="connsiteX143" fmla="*/ 2574659 w 2854049"/>
                <a:gd name="connsiteY143" fmla="*/ 429907 h 4135471"/>
                <a:gd name="connsiteX144" fmla="*/ 2513543 w 2854049"/>
                <a:gd name="connsiteY144" fmla="*/ 361762 h 4135471"/>
                <a:gd name="connsiteX145" fmla="*/ 2446606 w 2854049"/>
                <a:gd name="connsiteY145" fmla="*/ 300634 h 4135471"/>
                <a:gd name="connsiteX146" fmla="*/ 2371907 w 2854049"/>
                <a:gd name="connsiteY146" fmla="*/ 243513 h 4135471"/>
                <a:gd name="connsiteX147" fmla="*/ 2294299 w 2854049"/>
                <a:gd name="connsiteY147" fmla="*/ 192406 h 4135471"/>
                <a:gd name="connsiteX148" fmla="*/ 2211840 w 2854049"/>
                <a:gd name="connsiteY148" fmla="*/ 147311 h 4135471"/>
                <a:gd name="connsiteX149" fmla="*/ 2121620 w 2854049"/>
                <a:gd name="connsiteY149" fmla="*/ 109230 h 4135471"/>
                <a:gd name="connsiteX150" fmla="*/ 2028490 w 2854049"/>
                <a:gd name="connsiteY150" fmla="*/ 74157 h 4135471"/>
                <a:gd name="connsiteX151" fmla="*/ 1927599 w 2854049"/>
                <a:gd name="connsiteY151" fmla="*/ 47099 h 4135471"/>
                <a:gd name="connsiteX152" fmla="*/ 1821858 w 2854049"/>
                <a:gd name="connsiteY152" fmla="*/ 25053 h 4135471"/>
                <a:gd name="connsiteX153" fmla="*/ 1711265 w 2854049"/>
                <a:gd name="connsiteY153" fmla="*/ 10021 h 4135471"/>
                <a:gd name="connsiteX154" fmla="*/ 1594853 w 2854049"/>
                <a:gd name="connsiteY154" fmla="*/ 1002 h 413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854049" h="4135471">
                  <a:moveTo>
                    <a:pt x="1696267" y="3431657"/>
                  </a:moveTo>
                  <a:cubicBezTo>
                    <a:pt x="1501914" y="3431657"/>
                    <a:pt x="1344360" y="3589211"/>
                    <a:pt x="1344360" y="3783564"/>
                  </a:cubicBezTo>
                  <a:cubicBezTo>
                    <a:pt x="1344360" y="3977917"/>
                    <a:pt x="1501914" y="4135471"/>
                    <a:pt x="1696267" y="4135471"/>
                  </a:cubicBezTo>
                  <a:cubicBezTo>
                    <a:pt x="1890620" y="4135471"/>
                    <a:pt x="2048174" y="3977917"/>
                    <a:pt x="2048174" y="3783564"/>
                  </a:cubicBezTo>
                  <a:cubicBezTo>
                    <a:pt x="2048174" y="3589211"/>
                    <a:pt x="1890620" y="3431657"/>
                    <a:pt x="1696267" y="3431657"/>
                  </a:cubicBezTo>
                  <a:close/>
                  <a:moveTo>
                    <a:pt x="1470680" y="0"/>
                  </a:moveTo>
                  <a:lnTo>
                    <a:pt x="1360088" y="9020"/>
                  </a:lnTo>
                  <a:lnTo>
                    <a:pt x="1082638" y="72152"/>
                  </a:lnTo>
                  <a:lnTo>
                    <a:pt x="1000179" y="103217"/>
                  </a:lnTo>
                  <a:lnTo>
                    <a:pt x="918691" y="138291"/>
                  </a:lnTo>
                  <a:lnTo>
                    <a:pt x="839141" y="180379"/>
                  </a:lnTo>
                  <a:lnTo>
                    <a:pt x="765414" y="227479"/>
                  </a:lnTo>
                  <a:lnTo>
                    <a:pt x="694595" y="280591"/>
                  </a:lnTo>
                  <a:lnTo>
                    <a:pt x="629599" y="338714"/>
                  </a:lnTo>
                  <a:lnTo>
                    <a:pt x="569452" y="401847"/>
                  </a:lnTo>
                  <a:lnTo>
                    <a:pt x="515126" y="470992"/>
                  </a:lnTo>
                  <a:lnTo>
                    <a:pt x="467591" y="544147"/>
                  </a:lnTo>
                  <a:lnTo>
                    <a:pt x="426847" y="622311"/>
                  </a:lnTo>
                  <a:lnTo>
                    <a:pt x="392893" y="706488"/>
                  </a:lnTo>
                  <a:lnTo>
                    <a:pt x="338568" y="937976"/>
                  </a:lnTo>
                  <a:lnTo>
                    <a:pt x="333717" y="994094"/>
                  </a:lnTo>
                  <a:lnTo>
                    <a:pt x="331776" y="1047206"/>
                  </a:lnTo>
                  <a:lnTo>
                    <a:pt x="333717" y="1096308"/>
                  </a:lnTo>
                  <a:lnTo>
                    <a:pt x="334686" y="1145413"/>
                  </a:lnTo>
                  <a:lnTo>
                    <a:pt x="334686" y="1191509"/>
                  </a:lnTo>
                  <a:lnTo>
                    <a:pt x="329836" y="1234599"/>
                  </a:lnTo>
                  <a:lnTo>
                    <a:pt x="315284" y="1278693"/>
                  </a:lnTo>
                  <a:lnTo>
                    <a:pt x="289092" y="1331805"/>
                  </a:lnTo>
                  <a:lnTo>
                    <a:pt x="257078" y="1380908"/>
                  </a:lnTo>
                  <a:lnTo>
                    <a:pt x="222155" y="1423998"/>
                  </a:lnTo>
                  <a:lnTo>
                    <a:pt x="185291" y="1468092"/>
                  </a:lnTo>
                  <a:lnTo>
                    <a:pt x="146487" y="1508176"/>
                  </a:lnTo>
                  <a:lnTo>
                    <a:pt x="107683" y="1548261"/>
                  </a:lnTo>
                  <a:lnTo>
                    <a:pt x="70819" y="1592354"/>
                  </a:lnTo>
                  <a:lnTo>
                    <a:pt x="58206" y="1604378"/>
                  </a:lnTo>
                  <a:lnTo>
                    <a:pt x="42684" y="1619410"/>
                  </a:lnTo>
                  <a:lnTo>
                    <a:pt x="26193" y="1637448"/>
                  </a:lnTo>
                  <a:lnTo>
                    <a:pt x="12611" y="1655486"/>
                  </a:lnTo>
                  <a:lnTo>
                    <a:pt x="3882" y="1677533"/>
                  </a:lnTo>
                  <a:lnTo>
                    <a:pt x="0" y="1701583"/>
                  </a:lnTo>
                  <a:lnTo>
                    <a:pt x="4851" y="1726636"/>
                  </a:lnTo>
                  <a:lnTo>
                    <a:pt x="17462" y="1750687"/>
                  </a:lnTo>
                  <a:lnTo>
                    <a:pt x="38806" y="1770728"/>
                  </a:lnTo>
                  <a:lnTo>
                    <a:pt x="63057" y="1784759"/>
                  </a:lnTo>
                  <a:lnTo>
                    <a:pt x="93130" y="1797786"/>
                  </a:lnTo>
                  <a:lnTo>
                    <a:pt x="125143" y="1808809"/>
                  </a:lnTo>
                  <a:lnTo>
                    <a:pt x="157158" y="1819833"/>
                  </a:lnTo>
                  <a:lnTo>
                    <a:pt x="188201" y="1830855"/>
                  </a:lnTo>
                  <a:lnTo>
                    <a:pt x="218273" y="1843883"/>
                  </a:lnTo>
                  <a:lnTo>
                    <a:pt x="245437" y="1857912"/>
                  </a:lnTo>
                  <a:lnTo>
                    <a:pt x="264839" y="1875951"/>
                  </a:lnTo>
                  <a:lnTo>
                    <a:pt x="259018" y="1900001"/>
                  </a:lnTo>
                  <a:lnTo>
                    <a:pt x="248347" y="1922047"/>
                  </a:lnTo>
                  <a:lnTo>
                    <a:pt x="237676" y="1945097"/>
                  </a:lnTo>
                  <a:lnTo>
                    <a:pt x="226035" y="1967142"/>
                  </a:lnTo>
                  <a:lnTo>
                    <a:pt x="215364" y="1989189"/>
                  </a:lnTo>
                  <a:lnTo>
                    <a:pt x="207602" y="2011236"/>
                  </a:lnTo>
                  <a:lnTo>
                    <a:pt x="204693" y="2031277"/>
                  </a:lnTo>
                  <a:lnTo>
                    <a:pt x="206633" y="2053324"/>
                  </a:lnTo>
                  <a:lnTo>
                    <a:pt x="217304" y="2073366"/>
                  </a:lnTo>
                  <a:lnTo>
                    <a:pt x="236706" y="2093409"/>
                  </a:lnTo>
                  <a:lnTo>
                    <a:pt x="264839" y="2113450"/>
                  </a:lnTo>
                  <a:lnTo>
                    <a:pt x="259018" y="2129483"/>
                  </a:lnTo>
                  <a:lnTo>
                    <a:pt x="250288" y="2145517"/>
                  </a:lnTo>
                  <a:lnTo>
                    <a:pt x="243497" y="2164557"/>
                  </a:lnTo>
                  <a:lnTo>
                    <a:pt x="241557" y="2184601"/>
                  </a:lnTo>
                  <a:lnTo>
                    <a:pt x="245437" y="2204642"/>
                  </a:lnTo>
                  <a:lnTo>
                    <a:pt x="256109" y="2222680"/>
                  </a:lnTo>
                  <a:lnTo>
                    <a:pt x="269690" y="2236709"/>
                  </a:lnTo>
                  <a:lnTo>
                    <a:pt x="287151" y="2249737"/>
                  </a:lnTo>
                  <a:lnTo>
                    <a:pt x="304613" y="2258756"/>
                  </a:lnTo>
                  <a:lnTo>
                    <a:pt x="321105" y="2269780"/>
                  </a:lnTo>
                  <a:lnTo>
                    <a:pt x="336627" y="2284810"/>
                  </a:lnTo>
                  <a:lnTo>
                    <a:pt x="345358" y="2300845"/>
                  </a:lnTo>
                  <a:lnTo>
                    <a:pt x="354089" y="2329906"/>
                  </a:lnTo>
                  <a:lnTo>
                    <a:pt x="354089" y="2362976"/>
                  </a:lnTo>
                  <a:lnTo>
                    <a:pt x="351179" y="2394041"/>
                  </a:lnTo>
                  <a:lnTo>
                    <a:pt x="343417" y="2426108"/>
                  </a:lnTo>
                  <a:lnTo>
                    <a:pt x="336627" y="2457173"/>
                  </a:lnTo>
                  <a:lnTo>
                    <a:pt x="331776" y="2485233"/>
                  </a:lnTo>
                  <a:lnTo>
                    <a:pt x="327896" y="2525318"/>
                  </a:lnTo>
                  <a:lnTo>
                    <a:pt x="331776" y="2561393"/>
                  </a:lnTo>
                  <a:lnTo>
                    <a:pt x="342447" y="2594464"/>
                  </a:lnTo>
                  <a:lnTo>
                    <a:pt x="356029" y="2623524"/>
                  </a:lnTo>
                  <a:lnTo>
                    <a:pt x="375432" y="2646572"/>
                  </a:lnTo>
                  <a:lnTo>
                    <a:pt x="400654" y="2668619"/>
                  </a:lnTo>
                  <a:lnTo>
                    <a:pt x="424906" y="2686657"/>
                  </a:lnTo>
                  <a:lnTo>
                    <a:pt x="453040" y="2701688"/>
                  </a:lnTo>
                  <a:lnTo>
                    <a:pt x="481173" y="2714717"/>
                  </a:lnTo>
                  <a:lnTo>
                    <a:pt x="509306" y="2721731"/>
                  </a:lnTo>
                  <a:lnTo>
                    <a:pt x="560721" y="2730751"/>
                  </a:lnTo>
                  <a:lnTo>
                    <a:pt x="615047" y="2734758"/>
                  </a:lnTo>
                  <a:lnTo>
                    <a:pt x="672284" y="2732755"/>
                  </a:lnTo>
                  <a:lnTo>
                    <a:pt x="728550" y="2726742"/>
                  </a:lnTo>
                  <a:lnTo>
                    <a:pt x="784816" y="2719726"/>
                  </a:lnTo>
                  <a:lnTo>
                    <a:pt x="838171" y="2708704"/>
                  </a:lnTo>
                  <a:lnTo>
                    <a:pt x="885706" y="2695677"/>
                  </a:lnTo>
                  <a:lnTo>
                    <a:pt x="927421" y="2681646"/>
                  </a:lnTo>
                  <a:lnTo>
                    <a:pt x="944882" y="2675633"/>
                  </a:lnTo>
                  <a:lnTo>
                    <a:pt x="968165" y="2668619"/>
                  </a:lnTo>
                  <a:lnTo>
                    <a:pt x="993388" y="2661605"/>
                  </a:lnTo>
                  <a:lnTo>
                    <a:pt x="1019581" y="2654590"/>
                  </a:lnTo>
                  <a:lnTo>
                    <a:pt x="1047714" y="2650582"/>
                  </a:lnTo>
                  <a:lnTo>
                    <a:pt x="1075847" y="2648577"/>
                  </a:lnTo>
                  <a:lnTo>
                    <a:pt x="1100100" y="2652585"/>
                  </a:lnTo>
                  <a:lnTo>
                    <a:pt x="1121442" y="2661605"/>
                  </a:lnTo>
                  <a:lnTo>
                    <a:pt x="1140844" y="2679643"/>
                  </a:lnTo>
                  <a:lnTo>
                    <a:pt x="1158306" y="2708704"/>
                  </a:lnTo>
                  <a:lnTo>
                    <a:pt x="1174797" y="2745782"/>
                  </a:lnTo>
                  <a:lnTo>
                    <a:pt x="1190319" y="2788872"/>
                  </a:lnTo>
                  <a:lnTo>
                    <a:pt x="1202931" y="2837975"/>
                  </a:lnTo>
                  <a:lnTo>
                    <a:pt x="1215541" y="2889083"/>
                  </a:lnTo>
                  <a:lnTo>
                    <a:pt x="1226212" y="2942195"/>
                  </a:lnTo>
                  <a:lnTo>
                    <a:pt x="1235914" y="2996309"/>
                  </a:lnTo>
                  <a:lnTo>
                    <a:pt x="1245616" y="3049421"/>
                  </a:lnTo>
                  <a:lnTo>
                    <a:pt x="1252407" y="3098524"/>
                  </a:lnTo>
                  <a:lnTo>
                    <a:pt x="1261138" y="3144621"/>
                  </a:lnTo>
                  <a:lnTo>
                    <a:pt x="1267927" y="3182701"/>
                  </a:lnTo>
                  <a:lnTo>
                    <a:pt x="1273749" y="3215771"/>
                  </a:lnTo>
                  <a:lnTo>
                    <a:pt x="1405683" y="3238820"/>
                  </a:lnTo>
                  <a:lnTo>
                    <a:pt x="1539558" y="3251847"/>
                  </a:lnTo>
                  <a:lnTo>
                    <a:pt x="1677312" y="3253851"/>
                  </a:lnTo>
                  <a:lnTo>
                    <a:pt x="1817977" y="3246837"/>
                  </a:lnTo>
                  <a:lnTo>
                    <a:pt x="1963493" y="3226793"/>
                  </a:lnTo>
                  <a:lnTo>
                    <a:pt x="1998071" y="3220300"/>
                  </a:lnTo>
                  <a:lnTo>
                    <a:pt x="1972544" y="2990832"/>
                  </a:lnTo>
                  <a:cubicBezTo>
                    <a:pt x="1951990" y="2824419"/>
                    <a:pt x="1923973" y="2664322"/>
                    <a:pt x="1866104" y="2529483"/>
                  </a:cubicBezTo>
                  <a:cubicBezTo>
                    <a:pt x="1798827" y="2378364"/>
                    <a:pt x="1318234" y="2057324"/>
                    <a:pt x="1085631" y="1773024"/>
                  </a:cubicBezTo>
                  <a:cubicBezTo>
                    <a:pt x="1039452" y="1683967"/>
                    <a:pt x="924385" y="1218329"/>
                    <a:pt x="1277747" y="968535"/>
                  </a:cubicBezTo>
                  <a:cubicBezTo>
                    <a:pt x="1430175" y="835482"/>
                    <a:pt x="1702005" y="831017"/>
                    <a:pt x="1914134" y="872477"/>
                  </a:cubicBezTo>
                  <a:cubicBezTo>
                    <a:pt x="2031257" y="905756"/>
                    <a:pt x="2240228" y="1053847"/>
                    <a:pt x="2334389" y="1316747"/>
                  </a:cubicBezTo>
                  <a:lnTo>
                    <a:pt x="2850702" y="1256710"/>
                  </a:lnTo>
                  <a:lnTo>
                    <a:pt x="2851858" y="1288484"/>
                  </a:lnTo>
                  <a:lnTo>
                    <a:pt x="2854049" y="1252639"/>
                  </a:lnTo>
                  <a:lnTo>
                    <a:pt x="2852109" y="1156435"/>
                  </a:lnTo>
                  <a:lnTo>
                    <a:pt x="2845318" y="1062236"/>
                  </a:lnTo>
                  <a:lnTo>
                    <a:pt x="2830767" y="971045"/>
                  </a:lnTo>
                  <a:lnTo>
                    <a:pt x="2811365" y="881857"/>
                  </a:lnTo>
                  <a:lnTo>
                    <a:pt x="2787112" y="799684"/>
                  </a:lnTo>
                  <a:lnTo>
                    <a:pt x="2759950" y="724526"/>
                  </a:lnTo>
                  <a:lnTo>
                    <a:pt x="2728906" y="657385"/>
                  </a:lnTo>
                  <a:lnTo>
                    <a:pt x="2682340" y="577215"/>
                  </a:lnTo>
                  <a:lnTo>
                    <a:pt x="2631895" y="501055"/>
                  </a:lnTo>
                  <a:lnTo>
                    <a:pt x="2574659" y="429907"/>
                  </a:lnTo>
                  <a:lnTo>
                    <a:pt x="2513543" y="361762"/>
                  </a:lnTo>
                  <a:lnTo>
                    <a:pt x="2446606" y="300634"/>
                  </a:lnTo>
                  <a:lnTo>
                    <a:pt x="2371907" y="243513"/>
                  </a:lnTo>
                  <a:lnTo>
                    <a:pt x="2294299" y="192406"/>
                  </a:lnTo>
                  <a:lnTo>
                    <a:pt x="2211840" y="147311"/>
                  </a:lnTo>
                  <a:lnTo>
                    <a:pt x="2121620" y="109230"/>
                  </a:lnTo>
                  <a:lnTo>
                    <a:pt x="2028490" y="74157"/>
                  </a:lnTo>
                  <a:lnTo>
                    <a:pt x="1927599" y="47099"/>
                  </a:lnTo>
                  <a:lnTo>
                    <a:pt x="1821858" y="25053"/>
                  </a:lnTo>
                  <a:lnTo>
                    <a:pt x="1711265" y="10021"/>
                  </a:lnTo>
                  <a:lnTo>
                    <a:pt x="1594853" y="1002"/>
                  </a:lnTo>
                  <a:close/>
                </a:path>
              </a:pathLst>
            </a:custGeom>
            <a:solidFill>
              <a:schemeClr val="tx1">
                <a:lumMod val="75000"/>
                <a:lumOff val="25000"/>
              </a:schemeClr>
            </a:solidFill>
            <a:ln>
              <a:solidFill>
                <a:srgbClr val="163F74"/>
              </a:solid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anchor="t" anchorCtr="0" compatLnSpc="1">
              <a:prstTxWarp prst="textNoShape">
                <a:avLst/>
              </a:prstTxWarp>
              <a:noAutofit/>
            </a:bodyPr>
            <a:lstStyle/>
            <a:p>
              <a:endParaRPr lang="ko-KR" altLang="en-US" sz="2026" dirty="0"/>
            </a:p>
          </p:txBody>
        </p:sp>
        <p:sp>
          <p:nvSpPr>
            <p:cNvPr id="16" name="Freeform: Shape 15">
              <a:extLst>
                <a:ext uri="{FF2B5EF4-FFF2-40B4-BE49-F238E27FC236}">
                  <a16:creationId xmlns:a16="http://schemas.microsoft.com/office/drawing/2014/main" id="{68C7E696-0B18-41D8-BADC-63197E0C7B5D}"/>
                </a:ext>
              </a:extLst>
            </p:cNvPr>
            <p:cNvSpPr/>
            <p:nvPr/>
          </p:nvSpPr>
          <p:spPr>
            <a:xfrm flipH="1">
              <a:off x="457200" y="590550"/>
              <a:ext cx="2979057" cy="1921717"/>
            </a:xfrm>
            <a:custGeom>
              <a:avLst/>
              <a:gdLst>
                <a:gd name="connsiteX0" fmla="*/ 1547519 w 3095038"/>
                <a:gd name="connsiteY0" fmla="*/ 0 h 2022026"/>
                <a:gd name="connsiteX1" fmla="*/ 3095038 w 3095038"/>
                <a:gd name="connsiteY1" fmla="*/ 627509 h 2022026"/>
                <a:gd name="connsiteX2" fmla="*/ 2825277 w 3095038"/>
                <a:gd name="connsiteY2" fmla="*/ 736897 h 2022026"/>
                <a:gd name="connsiteX3" fmla="*/ 2825277 w 3095038"/>
                <a:gd name="connsiteY3" fmla="*/ 1583608 h 2022026"/>
                <a:gd name="connsiteX4" fmla="*/ 2829142 w 3095038"/>
                <a:gd name="connsiteY4" fmla="*/ 1585209 h 2022026"/>
                <a:gd name="connsiteX5" fmla="*/ 2841509 w 3095038"/>
                <a:gd name="connsiteY5" fmla="*/ 1615067 h 2022026"/>
                <a:gd name="connsiteX6" fmla="*/ 2829142 w 3095038"/>
                <a:gd name="connsiteY6" fmla="*/ 1644926 h 2022026"/>
                <a:gd name="connsiteX7" fmla="*/ 2826092 w 3095038"/>
                <a:gd name="connsiteY7" fmla="*/ 1646189 h 2022026"/>
                <a:gd name="connsiteX8" fmla="*/ 2876626 w 3095038"/>
                <a:gd name="connsiteY8" fmla="*/ 2022026 h 2022026"/>
                <a:gd name="connsiteX9" fmla="*/ 2721940 w 3095038"/>
                <a:gd name="connsiteY9" fmla="*/ 2022026 h 2022026"/>
                <a:gd name="connsiteX10" fmla="*/ 2772475 w 3095038"/>
                <a:gd name="connsiteY10" fmla="*/ 1646189 h 2022026"/>
                <a:gd name="connsiteX11" fmla="*/ 2769425 w 3095038"/>
                <a:gd name="connsiteY11" fmla="*/ 1644926 h 2022026"/>
                <a:gd name="connsiteX12" fmla="*/ 2757057 w 3095038"/>
                <a:gd name="connsiteY12" fmla="*/ 1615067 h 2022026"/>
                <a:gd name="connsiteX13" fmla="*/ 2769425 w 3095038"/>
                <a:gd name="connsiteY13" fmla="*/ 1585209 h 2022026"/>
                <a:gd name="connsiteX14" fmla="*/ 2773289 w 3095038"/>
                <a:gd name="connsiteY14" fmla="*/ 1583608 h 2022026"/>
                <a:gd name="connsiteX15" fmla="*/ 2773289 w 3095038"/>
                <a:gd name="connsiteY15" fmla="*/ 757978 h 2022026"/>
                <a:gd name="connsiteX16" fmla="*/ 2747752 w 3095038"/>
                <a:gd name="connsiteY16" fmla="*/ 768333 h 2022026"/>
                <a:gd name="connsiteX17" fmla="*/ 2473970 w 3095038"/>
                <a:gd name="connsiteY17" fmla="*/ 981499 h 2022026"/>
                <a:gd name="connsiteX18" fmla="*/ 2473970 w 3095038"/>
                <a:gd name="connsiteY18" fmla="*/ 1333096 h 2022026"/>
                <a:gd name="connsiteX19" fmla="*/ 1442377 w 3095038"/>
                <a:gd name="connsiteY19" fmla="*/ 1553521 h 2022026"/>
                <a:gd name="connsiteX20" fmla="*/ 628675 w 3095038"/>
                <a:gd name="connsiteY20" fmla="*/ 1422110 h 2022026"/>
                <a:gd name="connsiteX21" fmla="*/ 635755 w 3095038"/>
                <a:gd name="connsiteY21" fmla="*/ 1406334 h 2022026"/>
                <a:gd name="connsiteX22" fmla="*/ 621068 w 3095038"/>
                <a:gd name="connsiteY22" fmla="*/ 1402746 h 2022026"/>
                <a:gd name="connsiteX23" fmla="*/ 621068 w 3095038"/>
                <a:gd name="connsiteY23" fmla="*/ 981499 h 2022026"/>
                <a:gd name="connsiteX24" fmla="*/ 0 w 3095038"/>
                <a:gd name="connsiteY24" fmla="*/ 627509 h 202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95038" h="2022026">
                  <a:moveTo>
                    <a:pt x="1547519" y="0"/>
                  </a:moveTo>
                  <a:lnTo>
                    <a:pt x="3095038" y="627509"/>
                  </a:lnTo>
                  <a:lnTo>
                    <a:pt x="2825277" y="736897"/>
                  </a:lnTo>
                  <a:lnTo>
                    <a:pt x="2825277" y="1583608"/>
                  </a:lnTo>
                  <a:lnTo>
                    <a:pt x="2829142" y="1585209"/>
                  </a:lnTo>
                  <a:cubicBezTo>
                    <a:pt x="2836783" y="1592850"/>
                    <a:pt x="2841509" y="1603406"/>
                    <a:pt x="2841509" y="1615067"/>
                  </a:cubicBezTo>
                  <a:cubicBezTo>
                    <a:pt x="2841509" y="1626728"/>
                    <a:pt x="2836783" y="1637284"/>
                    <a:pt x="2829142" y="1644926"/>
                  </a:cubicBezTo>
                  <a:lnTo>
                    <a:pt x="2826092" y="1646189"/>
                  </a:lnTo>
                  <a:lnTo>
                    <a:pt x="2876626" y="2022026"/>
                  </a:lnTo>
                  <a:lnTo>
                    <a:pt x="2721940" y="2022026"/>
                  </a:lnTo>
                  <a:lnTo>
                    <a:pt x="2772475" y="1646189"/>
                  </a:lnTo>
                  <a:lnTo>
                    <a:pt x="2769425" y="1644926"/>
                  </a:lnTo>
                  <a:cubicBezTo>
                    <a:pt x="2761784" y="1637284"/>
                    <a:pt x="2757057" y="1626728"/>
                    <a:pt x="2757057" y="1615067"/>
                  </a:cubicBezTo>
                  <a:cubicBezTo>
                    <a:pt x="2757057" y="1603406"/>
                    <a:pt x="2761784" y="1592850"/>
                    <a:pt x="2769425" y="1585209"/>
                  </a:cubicBezTo>
                  <a:lnTo>
                    <a:pt x="2773289" y="1583608"/>
                  </a:lnTo>
                  <a:lnTo>
                    <a:pt x="2773289" y="757978"/>
                  </a:lnTo>
                  <a:lnTo>
                    <a:pt x="2747752" y="768333"/>
                  </a:lnTo>
                  <a:lnTo>
                    <a:pt x="2473970" y="981499"/>
                  </a:lnTo>
                  <a:lnTo>
                    <a:pt x="2473970" y="1333096"/>
                  </a:lnTo>
                  <a:cubicBezTo>
                    <a:pt x="2176456" y="1474039"/>
                    <a:pt x="1822001" y="1553521"/>
                    <a:pt x="1442377" y="1553521"/>
                  </a:cubicBezTo>
                  <a:cubicBezTo>
                    <a:pt x="1151810" y="1553521"/>
                    <a:pt x="875988" y="1506956"/>
                    <a:pt x="628675" y="1422110"/>
                  </a:cubicBezTo>
                  <a:cubicBezTo>
                    <a:pt x="630298" y="1416654"/>
                    <a:pt x="632987" y="1411486"/>
                    <a:pt x="635755" y="1406334"/>
                  </a:cubicBezTo>
                  <a:cubicBezTo>
                    <a:pt x="631035" y="1404608"/>
                    <a:pt x="626049" y="1403669"/>
                    <a:pt x="621068" y="1402746"/>
                  </a:cubicBezTo>
                  <a:lnTo>
                    <a:pt x="621068" y="981499"/>
                  </a:lnTo>
                  <a:lnTo>
                    <a:pt x="0" y="62750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sz="2026" dirty="0"/>
            </a:p>
          </p:txBody>
        </p:sp>
      </p:grpSp>
      <p:graphicFrame>
        <p:nvGraphicFramePr>
          <p:cNvPr id="5" name="Object 4" hidden="1">
            <a:extLst>
              <a:ext uri="{FF2B5EF4-FFF2-40B4-BE49-F238E27FC236}">
                <a16:creationId xmlns:a16="http://schemas.microsoft.com/office/drawing/2014/main" id="{A9E43DCD-F115-4EC7-90AE-5F5E6C473889}"/>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7868" name="think-cell Slide" r:id="rId8" imgW="383" imgH="384" progId="TCLayout.ActiveDocument.1">
                  <p:embed/>
                </p:oleObj>
              </mc:Choice>
              <mc:Fallback>
                <p:oleObj name="think-cell Slide" r:id="rId8" imgW="383" imgH="384" progId="TCLayout.ActiveDocument.1">
                  <p:embed/>
                  <p:pic>
                    <p:nvPicPr>
                      <p:cNvPr id="5" name="Object 4" hidden="1">
                        <a:extLst>
                          <a:ext uri="{FF2B5EF4-FFF2-40B4-BE49-F238E27FC236}">
                            <a16:creationId xmlns:a16="http://schemas.microsoft.com/office/drawing/2014/main" id="{A9E43DCD-F115-4EC7-90AE-5F5E6C473889}"/>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140B3F-4BDA-4FDA-A9EE-3C673CDF2373}"/>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b="1" dirty="0">
              <a:latin typeface="Segoe UI" panose="020B0502040204020203" pitchFamily="34" charset="0"/>
              <a:ea typeface="+mj-ea"/>
              <a:cs typeface="Segoe UI" panose="020B0502040204020203" pitchFamily="34" charset="0"/>
              <a:sym typeface="Segoe UI" panose="020B0502040204020203" pitchFamily="34" charset="0"/>
            </a:endParaRPr>
          </a:p>
        </p:txBody>
      </p:sp>
      <p:cxnSp>
        <p:nvCxnSpPr>
          <p:cNvPr id="8" name="Straight Connector 7">
            <a:extLst>
              <a:ext uri="{FF2B5EF4-FFF2-40B4-BE49-F238E27FC236}">
                <a16:creationId xmlns:a16="http://schemas.microsoft.com/office/drawing/2014/main" id="{FDDCB1DF-AB7E-4220-9C07-5A95CD99AED5}"/>
              </a:ext>
            </a:extLst>
          </p:cNvPr>
          <p:cNvCxnSpPr>
            <a:cxnSpLocks/>
          </p:cNvCxnSpPr>
          <p:nvPr/>
        </p:nvCxnSpPr>
        <p:spPr>
          <a:xfrm flipH="1">
            <a:off x="264252" y="4162255"/>
            <a:ext cx="712513" cy="9885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544301-48A2-4C9C-9CBF-01A720F732C0}"/>
              </a:ext>
            </a:extLst>
          </p:cNvPr>
          <p:cNvCxnSpPr>
            <a:cxnSpLocks/>
          </p:cNvCxnSpPr>
          <p:nvPr/>
        </p:nvCxnSpPr>
        <p:spPr>
          <a:xfrm flipH="1">
            <a:off x="725918" y="1"/>
            <a:ext cx="501694" cy="69604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E0D0D9FA-3DBB-4185-910C-1F200143EFAC}"/>
              </a:ext>
            </a:extLst>
          </p:cNvPr>
          <p:cNvSpPr>
            <a:spLocks noGrp="1"/>
          </p:cNvSpPr>
          <p:nvPr>
            <p:ph type="title"/>
          </p:nvPr>
        </p:nvSpPr>
        <p:spPr>
          <a:xfrm>
            <a:off x="2716719" y="2248584"/>
            <a:ext cx="6436659" cy="646331"/>
          </a:xfrm>
        </p:spPr>
        <p:txBody>
          <a:bodyPr vert="horz" wrap="square" lIns="91440" tIns="45720" rIns="91440" bIns="45720" rtlCol="0" anchor="t">
            <a:spAutoFit/>
          </a:bodyPr>
          <a:lstStyle/>
          <a:p>
            <a:pPr marL="11545" algn="l">
              <a:spcBef>
                <a:spcPts val="72"/>
              </a:spcBef>
            </a:pPr>
            <a:r>
              <a:rPr lang="en-US" sz="3600"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rPr>
              <a:t>Cut Offs of Top Colleges</a:t>
            </a:r>
          </a:p>
        </p:txBody>
      </p:sp>
      <p:sp>
        <p:nvSpPr>
          <p:cNvPr id="17" name="Rectangle 16">
            <a:extLst>
              <a:ext uri="{FF2B5EF4-FFF2-40B4-BE49-F238E27FC236}">
                <a16:creationId xmlns:a16="http://schemas.microsoft.com/office/drawing/2014/main" id="{E481DB9C-92EC-43E7-B4B1-F15D6B9CE47D}"/>
              </a:ext>
            </a:extLst>
          </p:cNvPr>
          <p:cNvSpPr/>
          <p:nvPr/>
        </p:nvSpPr>
        <p:spPr>
          <a:xfrm>
            <a:off x="2707341" y="3430160"/>
            <a:ext cx="6436659" cy="48896"/>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pic>
        <p:nvPicPr>
          <p:cNvPr id="18" name="Picture 17">
            <a:extLst>
              <a:ext uri="{FF2B5EF4-FFF2-40B4-BE49-F238E27FC236}">
                <a16:creationId xmlns:a16="http://schemas.microsoft.com/office/drawing/2014/main" id="{BC34FC69-C8DC-41CB-951E-2190D3AB0C16}"/>
              </a:ext>
            </a:extLst>
          </p:cNvPr>
          <p:cNvPicPr>
            <a:picLocks noChangeAspect="1"/>
          </p:cNvPicPr>
          <p:nvPr/>
        </p:nvPicPr>
        <p:blipFill rotWithShape="1">
          <a:blip r:embed="rId10"/>
          <a:srcRect l="86667" b="81138"/>
          <a:stretch/>
        </p:blipFill>
        <p:spPr>
          <a:xfrm>
            <a:off x="7924800" y="-1"/>
            <a:ext cx="1219200" cy="971551"/>
          </a:xfrm>
          <a:prstGeom prst="rect">
            <a:avLst/>
          </a:prstGeom>
        </p:spPr>
      </p:pic>
    </p:spTree>
    <p:extLst>
      <p:ext uri="{BB962C8B-B14F-4D97-AF65-F5344CB8AC3E}">
        <p14:creationId xmlns:p14="http://schemas.microsoft.com/office/powerpoint/2010/main" val="2235199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5076" y="291973"/>
            <a:ext cx="6869724" cy="536971"/>
          </a:xfrm>
          <a:effectLst/>
        </p:spPr>
        <p:txBody>
          <a:bodyPr vert="horz" lIns="91440" tIns="45720" rIns="91440" bIns="45720" rtlCol="0" anchor="ctr">
            <a:noAutofit/>
          </a:bodyPr>
          <a:lstStyle/>
          <a:p>
            <a:pPr algn="l"/>
            <a:r>
              <a:rPr lang="en-US" sz="2800" dirty="0">
                <a:solidFill>
                  <a:srgbClr val="FF5969"/>
                </a:solidFill>
                <a:latin typeface="Gotham Bold" panose="02000803030000020004" pitchFamily="2" charset="0"/>
              </a:rPr>
              <a:t>Last Year Cut Offs – </a:t>
            </a:r>
            <a:r>
              <a:rPr lang="en-US" sz="2800" dirty="0">
                <a:solidFill>
                  <a:srgbClr val="FEC630"/>
                </a:solidFill>
                <a:latin typeface="Gotham Bold" panose="02000803030000020004" pitchFamily="2" charset="0"/>
              </a:rPr>
              <a:t>CAP Round-I</a:t>
            </a:r>
          </a:p>
        </p:txBody>
      </p:sp>
      <p:sp>
        <p:nvSpPr>
          <p:cNvPr id="5" name="Rectangle 4">
            <a:extLst>
              <a:ext uri="{FF2B5EF4-FFF2-40B4-BE49-F238E27FC236}">
                <a16:creationId xmlns:a16="http://schemas.microsoft.com/office/drawing/2014/main" id="{3646952C-B567-40F2-BF21-892BC722BA20}"/>
              </a:ext>
            </a:extLst>
          </p:cNvPr>
          <p:cNvSpPr/>
          <p:nvPr/>
        </p:nvSpPr>
        <p:spPr>
          <a:xfrm>
            <a:off x="0" y="4847008"/>
            <a:ext cx="8763000" cy="72605"/>
          </a:xfrm>
          <a:prstGeom prst="rect">
            <a:avLst/>
          </a:prstGeom>
          <a:solidFill>
            <a:srgbClr val="FF596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 name="Rectangle 5">
            <a:extLst>
              <a:ext uri="{FF2B5EF4-FFF2-40B4-BE49-F238E27FC236}">
                <a16:creationId xmlns:a16="http://schemas.microsoft.com/office/drawing/2014/main" id="{12EE2977-7873-4D38-AA73-ECF010AB134D}"/>
              </a:ext>
            </a:extLst>
          </p:cNvPr>
          <p:cNvSpPr/>
          <p:nvPr/>
        </p:nvSpPr>
        <p:spPr>
          <a:xfrm flipV="1">
            <a:off x="1055076" y="940141"/>
            <a:ext cx="8088923" cy="80072"/>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7" name="Group 6">
            <a:extLst>
              <a:ext uri="{FF2B5EF4-FFF2-40B4-BE49-F238E27FC236}">
                <a16:creationId xmlns:a16="http://schemas.microsoft.com/office/drawing/2014/main" id="{A3FF1D4E-DD54-40A3-90D6-56321FA99EEC}"/>
              </a:ext>
            </a:extLst>
          </p:cNvPr>
          <p:cNvGrpSpPr/>
          <p:nvPr/>
        </p:nvGrpSpPr>
        <p:grpSpPr>
          <a:xfrm>
            <a:off x="0" y="412822"/>
            <a:ext cx="226687" cy="378645"/>
            <a:chOff x="0" y="412822"/>
            <a:chExt cx="226687" cy="378645"/>
          </a:xfrm>
        </p:grpSpPr>
        <p:sp>
          <p:nvSpPr>
            <p:cNvPr id="8" name="Rectangle 7">
              <a:extLst>
                <a:ext uri="{FF2B5EF4-FFF2-40B4-BE49-F238E27FC236}">
                  <a16:creationId xmlns:a16="http://schemas.microsoft.com/office/drawing/2014/main" id="{45395F98-246D-4897-95FC-038FB636E47C}"/>
                </a:ext>
              </a:extLst>
            </p:cNvPr>
            <p:cNvSpPr/>
            <p:nvPr/>
          </p:nvSpPr>
          <p:spPr>
            <a:xfrm flipH="1">
              <a:off x="84527" y="412822"/>
              <a:ext cx="142160" cy="378645"/>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 name="Rectangle 8">
              <a:extLst>
                <a:ext uri="{FF2B5EF4-FFF2-40B4-BE49-F238E27FC236}">
                  <a16:creationId xmlns:a16="http://schemas.microsoft.com/office/drawing/2014/main" id="{7B76B8E0-470D-4B0D-B24D-BDB45A09AE44}"/>
                </a:ext>
              </a:extLst>
            </p:cNvPr>
            <p:cNvSpPr/>
            <p:nvPr/>
          </p:nvSpPr>
          <p:spPr>
            <a:xfrm flipH="1">
              <a:off x="0" y="412822"/>
              <a:ext cx="142160" cy="378645"/>
            </a:xfrm>
            <a:prstGeom prst="rect">
              <a:avLst/>
            </a:prstGeom>
            <a:solidFill>
              <a:srgbClr val="FF596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Light"/>
                <a:ea typeface="+mn-ea"/>
                <a:cs typeface="+mn-cs"/>
              </a:endParaRPr>
            </a:p>
          </p:txBody>
        </p:sp>
      </p:grpSp>
      <p:graphicFrame>
        <p:nvGraphicFramePr>
          <p:cNvPr id="12" name="Table 11">
            <a:extLst>
              <a:ext uri="{FF2B5EF4-FFF2-40B4-BE49-F238E27FC236}">
                <a16:creationId xmlns:a16="http://schemas.microsoft.com/office/drawing/2014/main" id="{9BF549EB-981E-4088-9966-ECE470EBD49B}"/>
              </a:ext>
            </a:extLst>
          </p:cNvPr>
          <p:cNvGraphicFramePr>
            <a:graphicFrameLocks noGrp="1"/>
          </p:cNvGraphicFramePr>
          <p:nvPr>
            <p:extLst>
              <p:ext uri="{D42A27DB-BD31-4B8C-83A1-F6EECF244321}">
                <p14:modId xmlns:p14="http://schemas.microsoft.com/office/powerpoint/2010/main" val="3664633562"/>
              </p:ext>
            </p:extLst>
          </p:nvPr>
        </p:nvGraphicFramePr>
        <p:xfrm>
          <a:off x="210312" y="1109879"/>
          <a:ext cx="8723376" cy="3474720"/>
        </p:xfrm>
        <a:graphic>
          <a:graphicData uri="http://schemas.openxmlformats.org/drawingml/2006/table">
            <a:tbl>
              <a:tblPr firstRow="1" bandRow="1">
                <a:tableStyleId>{5940675A-B579-460E-94D1-54222C63F5DA}</a:tableStyleId>
              </a:tblPr>
              <a:tblGrid>
                <a:gridCol w="969264">
                  <a:extLst>
                    <a:ext uri="{9D8B030D-6E8A-4147-A177-3AD203B41FA5}">
                      <a16:colId xmlns:a16="http://schemas.microsoft.com/office/drawing/2014/main" val="20000"/>
                    </a:ext>
                  </a:extLst>
                </a:gridCol>
                <a:gridCol w="969264">
                  <a:extLst>
                    <a:ext uri="{9D8B030D-6E8A-4147-A177-3AD203B41FA5}">
                      <a16:colId xmlns:a16="http://schemas.microsoft.com/office/drawing/2014/main" val="20001"/>
                    </a:ext>
                  </a:extLst>
                </a:gridCol>
                <a:gridCol w="969264">
                  <a:extLst>
                    <a:ext uri="{9D8B030D-6E8A-4147-A177-3AD203B41FA5}">
                      <a16:colId xmlns:a16="http://schemas.microsoft.com/office/drawing/2014/main" val="20002"/>
                    </a:ext>
                  </a:extLst>
                </a:gridCol>
                <a:gridCol w="969264">
                  <a:extLst>
                    <a:ext uri="{9D8B030D-6E8A-4147-A177-3AD203B41FA5}">
                      <a16:colId xmlns:a16="http://schemas.microsoft.com/office/drawing/2014/main" val="20003"/>
                    </a:ext>
                  </a:extLst>
                </a:gridCol>
                <a:gridCol w="969264">
                  <a:extLst>
                    <a:ext uri="{9D8B030D-6E8A-4147-A177-3AD203B41FA5}">
                      <a16:colId xmlns:a16="http://schemas.microsoft.com/office/drawing/2014/main" val="20004"/>
                    </a:ext>
                  </a:extLst>
                </a:gridCol>
                <a:gridCol w="969264">
                  <a:extLst>
                    <a:ext uri="{9D8B030D-6E8A-4147-A177-3AD203B41FA5}">
                      <a16:colId xmlns:a16="http://schemas.microsoft.com/office/drawing/2014/main" val="20005"/>
                    </a:ext>
                  </a:extLst>
                </a:gridCol>
                <a:gridCol w="969264">
                  <a:extLst>
                    <a:ext uri="{9D8B030D-6E8A-4147-A177-3AD203B41FA5}">
                      <a16:colId xmlns:a16="http://schemas.microsoft.com/office/drawing/2014/main" val="20006"/>
                    </a:ext>
                  </a:extLst>
                </a:gridCol>
                <a:gridCol w="969264">
                  <a:extLst>
                    <a:ext uri="{9D8B030D-6E8A-4147-A177-3AD203B41FA5}">
                      <a16:colId xmlns:a16="http://schemas.microsoft.com/office/drawing/2014/main" val="20007"/>
                    </a:ext>
                  </a:extLst>
                </a:gridCol>
                <a:gridCol w="969264">
                  <a:extLst>
                    <a:ext uri="{9D8B030D-6E8A-4147-A177-3AD203B41FA5}">
                      <a16:colId xmlns:a16="http://schemas.microsoft.com/office/drawing/2014/main" val="20008"/>
                    </a:ext>
                  </a:extLst>
                </a:gridCol>
              </a:tblGrid>
              <a:tr h="457200">
                <a:tc>
                  <a:txBody>
                    <a:bodyPr/>
                    <a:lstStyle/>
                    <a:p>
                      <a:pPr algn="ctr"/>
                      <a:r>
                        <a:rPr lang="en-IN" sz="1400" b="1" dirty="0">
                          <a:solidFill>
                            <a:schemeClr val="bg1"/>
                          </a:solidFill>
                          <a:latin typeface="Gotham Medium" panose="02000603030000020004" pitchFamily="2" charset="0"/>
                        </a:rPr>
                        <a:t>College</a:t>
                      </a:r>
                      <a:endParaRPr lang="en-IN" sz="14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tc>
                  <a:txBody>
                    <a:bodyPr/>
                    <a:lstStyle/>
                    <a:p>
                      <a:pPr algn="ctr"/>
                      <a:r>
                        <a:rPr lang="en-IN" sz="1400" b="1" dirty="0">
                          <a:solidFill>
                            <a:schemeClr val="bg1"/>
                          </a:solidFill>
                          <a:latin typeface="Gotham Medium" panose="02000603030000020004" pitchFamily="2" charset="0"/>
                        </a:rPr>
                        <a:t>CIVIL</a:t>
                      </a:r>
                      <a:endParaRPr lang="en-IN" sz="14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tc>
                  <a:txBody>
                    <a:bodyPr/>
                    <a:lstStyle/>
                    <a:p>
                      <a:pPr algn="ctr"/>
                      <a:r>
                        <a:rPr lang="en-IN" sz="1400" b="1" dirty="0">
                          <a:solidFill>
                            <a:schemeClr val="bg1"/>
                          </a:solidFill>
                          <a:latin typeface="Gotham Medium" panose="02000603030000020004" pitchFamily="2" charset="0"/>
                        </a:rPr>
                        <a:t>COMP</a:t>
                      </a:r>
                      <a:endParaRPr lang="en-IN" sz="14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tc>
                  <a:txBody>
                    <a:bodyPr/>
                    <a:lstStyle/>
                    <a:p>
                      <a:pPr algn="ctr"/>
                      <a:r>
                        <a:rPr lang="en-IN" sz="1400" b="1" dirty="0">
                          <a:solidFill>
                            <a:schemeClr val="bg1"/>
                          </a:solidFill>
                          <a:latin typeface="Gotham Medium" panose="02000603030000020004" pitchFamily="2" charset="0"/>
                        </a:rPr>
                        <a:t>IT</a:t>
                      </a:r>
                      <a:endParaRPr lang="en-IN" sz="14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tc>
                  <a:txBody>
                    <a:bodyPr/>
                    <a:lstStyle/>
                    <a:p>
                      <a:pPr algn="ctr"/>
                      <a:r>
                        <a:rPr lang="en-IN" sz="1200" b="1" dirty="0">
                          <a:solidFill>
                            <a:schemeClr val="bg1"/>
                          </a:solidFill>
                          <a:latin typeface="Gotham Medium" panose="02000603030000020004" pitchFamily="2" charset="0"/>
                        </a:rPr>
                        <a:t>Electrical</a:t>
                      </a:r>
                      <a:endParaRPr lang="en-IN" sz="12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tc>
                  <a:txBody>
                    <a:bodyPr/>
                    <a:lstStyle/>
                    <a:p>
                      <a:pPr algn="ctr"/>
                      <a:r>
                        <a:rPr lang="en-IN" sz="1400" b="1" dirty="0">
                          <a:solidFill>
                            <a:schemeClr val="bg1"/>
                          </a:solidFill>
                          <a:latin typeface="Gotham Medium" panose="02000603030000020004" pitchFamily="2" charset="0"/>
                        </a:rPr>
                        <a:t>ETRX</a:t>
                      </a:r>
                      <a:endParaRPr lang="en-IN" sz="14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tc>
                  <a:txBody>
                    <a:bodyPr/>
                    <a:lstStyle/>
                    <a:p>
                      <a:pPr algn="ctr"/>
                      <a:r>
                        <a:rPr lang="en-IN" sz="1400" b="1" dirty="0">
                          <a:solidFill>
                            <a:schemeClr val="bg1"/>
                          </a:solidFill>
                          <a:latin typeface="Gotham Medium" panose="02000603030000020004" pitchFamily="2" charset="0"/>
                        </a:rPr>
                        <a:t>ETC</a:t>
                      </a:r>
                      <a:endParaRPr lang="en-IN" sz="14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tc>
                  <a:txBody>
                    <a:bodyPr/>
                    <a:lstStyle/>
                    <a:p>
                      <a:pPr algn="ctr"/>
                      <a:r>
                        <a:rPr lang="en-IN" sz="1400" b="1" dirty="0">
                          <a:solidFill>
                            <a:schemeClr val="bg1"/>
                          </a:solidFill>
                          <a:latin typeface="Gotham Medium" panose="02000603030000020004" pitchFamily="2" charset="0"/>
                        </a:rPr>
                        <a:t>MECH</a:t>
                      </a:r>
                      <a:endParaRPr lang="en-IN" sz="14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tc>
                  <a:txBody>
                    <a:bodyPr/>
                    <a:lstStyle/>
                    <a:p>
                      <a:pPr algn="ctr"/>
                      <a:r>
                        <a:rPr lang="en-IN" sz="1400" b="1" dirty="0">
                          <a:solidFill>
                            <a:schemeClr val="bg1"/>
                          </a:solidFill>
                          <a:latin typeface="Gotham Medium" panose="02000603030000020004" pitchFamily="2" charset="0"/>
                        </a:rPr>
                        <a:t>PROD</a:t>
                      </a:r>
                      <a:endParaRPr lang="en-IN" sz="14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extLst>
                  <a:ext uri="{0D108BD9-81ED-4DB2-BD59-A6C34878D82A}">
                    <a16:rowId xmlns:a16="http://schemas.microsoft.com/office/drawing/2014/main" val="10000"/>
                  </a:ext>
                </a:extLst>
              </a:tr>
              <a:tr h="1005840">
                <a:tc>
                  <a:txBody>
                    <a:bodyPr/>
                    <a:lstStyle/>
                    <a:p>
                      <a:pPr marL="0" algn="ctr" defTabSz="914400" rtl="0" eaLnBrk="1" latinLnBrk="0" hangingPunct="1"/>
                      <a:r>
                        <a:rPr lang="en-IN" sz="1800" b="1" kern="1200" dirty="0">
                          <a:solidFill>
                            <a:schemeClr val="bg1"/>
                          </a:solidFill>
                          <a:latin typeface="Gotham Medium" panose="02000603030000020004" pitchFamily="2" charset="0"/>
                        </a:rPr>
                        <a:t>COEP</a:t>
                      </a:r>
                      <a:endParaRPr lang="en-IN" sz="1800" b="1" kern="1200" dirty="0">
                        <a:solidFill>
                          <a:schemeClr val="bg1"/>
                        </a:solidFill>
                        <a:latin typeface="Gotham Medium" panose="02000603030000020004" pitchFamily="2" charset="0"/>
                        <a:ea typeface="+mn-ea"/>
                        <a:cs typeface="+mn-cs"/>
                      </a:endParaRP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630</a:t>
                      </a: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90</a:t>
                      </a: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812</a:t>
                      </a: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285</a:t>
                      </a: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828</a:t>
                      </a: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extLst>
                  <a:ext uri="{0D108BD9-81ED-4DB2-BD59-A6C34878D82A}">
                    <a16:rowId xmlns:a16="http://schemas.microsoft.com/office/drawing/2014/main" val="10001"/>
                  </a:ext>
                </a:extLst>
              </a:tr>
              <a:tr h="1005840">
                <a:tc>
                  <a:txBody>
                    <a:bodyPr/>
                    <a:lstStyle/>
                    <a:p>
                      <a:pPr marL="0" algn="ctr" defTabSz="914400" rtl="0" eaLnBrk="1" latinLnBrk="0" hangingPunct="1"/>
                      <a:r>
                        <a:rPr lang="en-IN" sz="1800" b="1" kern="1200" dirty="0">
                          <a:solidFill>
                            <a:schemeClr val="bg1"/>
                          </a:solidFill>
                          <a:latin typeface="Gotham Medium" panose="02000603030000020004" pitchFamily="2" charset="0"/>
                        </a:rPr>
                        <a:t>VJTI</a:t>
                      </a:r>
                      <a:endParaRPr lang="en-IN" sz="1800" b="1" kern="1200" dirty="0">
                        <a:solidFill>
                          <a:schemeClr val="bg1"/>
                        </a:solidFill>
                        <a:latin typeface="Gotham Medium" panose="02000603030000020004" pitchFamily="2" charset="0"/>
                        <a:ea typeface="+mn-ea"/>
                        <a:cs typeface="+mn-cs"/>
                      </a:endParaRP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2511</a:t>
                      </a: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88</a:t>
                      </a: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69</a:t>
                      </a: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333</a:t>
                      </a: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054</a:t>
                      </a: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497</a:t>
                      </a: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175</a:t>
                      </a: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4385</a:t>
                      </a:r>
                    </a:p>
                  </a:txBody>
                  <a:tcPr marL="91441" marR="91441" marT="45727" marB="45727" anchor="ctr"/>
                </a:tc>
                <a:extLst>
                  <a:ext uri="{0D108BD9-81ED-4DB2-BD59-A6C34878D82A}">
                    <a16:rowId xmlns:a16="http://schemas.microsoft.com/office/drawing/2014/main" val="10002"/>
                  </a:ext>
                </a:extLst>
              </a:tr>
              <a:tr h="1005840">
                <a:tc>
                  <a:txBody>
                    <a:bodyPr/>
                    <a:lstStyle/>
                    <a:p>
                      <a:pPr marL="0" algn="ctr" defTabSz="914400" rtl="0" eaLnBrk="1" latinLnBrk="0" hangingPunct="1"/>
                      <a:r>
                        <a:rPr lang="en-IN" sz="1800" b="1" kern="1200" dirty="0">
                          <a:solidFill>
                            <a:schemeClr val="bg1"/>
                          </a:solidFill>
                          <a:latin typeface="Gotham Medium" panose="02000603030000020004" pitchFamily="2" charset="0"/>
                        </a:rPr>
                        <a:t>SPIT</a:t>
                      </a:r>
                      <a:endParaRPr lang="en-IN" sz="1800" b="1" kern="1200" dirty="0">
                        <a:solidFill>
                          <a:schemeClr val="bg1"/>
                        </a:solidFill>
                        <a:latin typeface="Gotham Medium" panose="02000603030000020004" pitchFamily="2" charset="0"/>
                        <a:ea typeface="+mn-ea"/>
                        <a:cs typeface="+mn-cs"/>
                      </a:endParaRPr>
                    </a:p>
                  </a:txBody>
                  <a:tcPr marL="91441" marR="91441" marT="45727" marB="45727" anchor="ctr">
                    <a:solidFill>
                      <a:schemeClr val="tx1">
                        <a:lumMod val="50000"/>
                        <a:lumOff val="50000"/>
                      </a:schemeClr>
                    </a:solidFill>
                  </a:tcP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238</a:t>
                      </a: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387</a:t>
                      </a: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2082</a:t>
                      </a: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351</a:t>
                      </a: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844233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5076" y="291973"/>
            <a:ext cx="7022124" cy="536971"/>
          </a:xfrm>
          <a:effectLst/>
        </p:spPr>
        <p:txBody>
          <a:bodyPr vert="horz" lIns="91440" tIns="45720" rIns="91440" bIns="45720" rtlCol="0" anchor="ctr">
            <a:noAutofit/>
          </a:bodyPr>
          <a:lstStyle/>
          <a:p>
            <a:pPr algn="l"/>
            <a:r>
              <a:rPr lang="en-US" sz="2800" dirty="0">
                <a:solidFill>
                  <a:srgbClr val="FF5969"/>
                </a:solidFill>
                <a:latin typeface="Gotham Bold" panose="02000803030000020004" pitchFamily="2" charset="0"/>
              </a:rPr>
              <a:t>Last Year Cut Offs – </a:t>
            </a:r>
            <a:r>
              <a:rPr lang="en-US" sz="2800" dirty="0">
                <a:solidFill>
                  <a:srgbClr val="FEC630"/>
                </a:solidFill>
                <a:latin typeface="Gotham Bold" panose="02000803030000020004" pitchFamily="2" charset="0"/>
              </a:rPr>
              <a:t>CAP Round-I</a:t>
            </a:r>
          </a:p>
        </p:txBody>
      </p:sp>
      <p:sp>
        <p:nvSpPr>
          <p:cNvPr id="5" name="Rectangle 4">
            <a:extLst>
              <a:ext uri="{FF2B5EF4-FFF2-40B4-BE49-F238E27FC236}">
                <a16:creationId xmlns:a16="http://schemas.microsoft.com/office/drawing/2014/main" id="{3646952C-B567-40F2-BF21-892BC722BA20}"/>
              </a:ext>
            </a:extLst>
          </p:cNvPr>
          <p:cNvSpPr/>
          <p:nvPr/>
        </p:nvSpPr>
        <p:spPr>
          <a:xfrm>
            <a:off x="0" y="4847008"/>
            <a:ext cx="8763000" cy="72605"/>
          </a:xfrm>
          <a:prstGeom prst="rect">
            <a:avLst/>
          </a:prstGeom>
          <a:solidFill>
            <a:srgbClr val="FF596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 name="Rectangle 5">
            <a:extLst>
              <a:ext uri="{FF2B5EF4-FFF2-40B4-BE49-F238E27FC236}">
                <a16:creationId xmlns:a16="http://schemas.microsoft.com/office/drawing/2014/main" id="{12EE2977-7873-4D38-AA73-ECF010AB134D}"/>
              </a:ext>
            </a:extLst>
          </p:cNvPr>
          <p:cNvSpPr/>
          <p:nvPr/>
        </p:nvSpPr>
        <p:spPr>
          <a:xfrm flipV="1">
            <a:off x="1055076" y="940141"/>
            <a:ext cx="8088923" cy="80072"/>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7" name="Group 6">
            <a:extLst>
              <a:ext uri="{FF2B5EF4-FFF2-40B4-BE49-F238E27FC236}">
                <a16:creationId xmlns:a16="http://schemas.microsoft.com/office/drawing/2014/main" id="{A3FF1D4E-DD54-40A3-90D6-56321FA99EEC}"/>
              </a:ext>
            </a:extLst>
          </p:cNvPr>
          <p:cNvGrpSpPr/>
          <p:nvPr/>
        </p:nvGrpSpPr>
        <p:grpSpPr>
          <a:xfrm>
            <a:off x="0" y="412822"/>
            <a:ext cx="226687" cy="378645"/>
            <a:chOff x="0" y="412822"/>
            <a:chExt cx="226687" cy="378645"/>
          </a:xfrm>
        </p:grpSpPr>
        <p:sp>
          <p:nvSpPr>
            <p:cNvPr id="8" name="Rectangle 7">
              <a:extLst>
                <a:ext uri="{FF2B5EF4-FFF2-40B4-BE49-F238E27FC236}">
                  <a16:creationId xmlns:a16="http://schemas.microsoft.com/office/drawing/2014/main" id="{45395F98-246D-4897-95FC-038FB636E47C}"/>
                </a:ext>
              </a:extLst>
            </p:cNvPr>
            <p:cNvSpPr/>
            <p:nvPr/>
          </p:nvSpPr>
          <p:spPr>
            <a:xfrm flipH="1">
              <a:off x="84527" y="412822"/>
              <a:ext cx="142160" cy="378645"/>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 name="Rectangle 8">
              <a:extLst>
                <a:ext uri="{FF2B5EF4-FFF2-40B4-BE49-F238E27FC236}">
                  <a16:creationId xmlns:a16="http://schemas.microsoft.com/office/drawing/2014/main" id="{7B76B8E0-470D-4B0D-B24D-BDB45A09AE44}"/>
                </a:ext>
              </a:extLst>
            </p:cNvPr>
            <p:cNvSpPr/>
            <p:nvPr/>
          </p:nvSpPr>
          <p:spPr>
            <a:xfrm flipH="1">
              <a:off x="0" y="412822"/>
              <a:ext cx="142160" cy="378645"/>
            </a:xfrm>
            <a:prstGeom prst="rect">
              <a:avLst/>
            </a:prstGeom>
            <a:solidFill>
              <a:srgbClr val="FF596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Light"/>
                <a:ea typeface="+mn-ea"/>
                <a:cs typeface="+mn-cs"/>
              </a:endParaRPr>
            </a:p>
          </p:txBody>
        </p:sp>
      </p:grpSp>
      <p:graphicFrame>
        <p:nvGraphicFramePr>
          <p:cNvPr id="12" name="Table 11">
            <a:extLst>
              <a:ext uri="{FF2B5EF4-FFF2-40B4-BE49-F238E27FC236}">
                <a16:creationId xmlns:a16="http://schemas.microsoft.com/office/drawing/2014/main" id="{9BF549EB-981E-4088-9966-ECE470EBD49B}"/>
              </a:ext>
            </a:extLst>
          </p:cNvPr>
          <p:cNvGraphicFramePr>
            <a:graphicFrameLocks noGrp="1"/>
          </p:cNvGraphicFramePr>
          <p:nvPr>
            <p:extLst>
              <p:ext uri="{D42A27DB-BD31-4B8C-83A1-F6EECF244321}">
                <p14:modId xmlns:p14="http://schemas.microsoft.com/office/powerpoint/2010/main" val="1206293385"/>
              </p:ext>
            </p:extLst>
          </p:nvPr>
        </p:nvGraphicFramePr>
        <p:xfrm>
          <a:off x="210312" y="1109880"/>
          <a:ext cx="8723376" cy="3474720"/>
        </p:xfrm>
        <a:graphic>
          <a:graphicData uri="http://schemas.openxmlformats.org/drawingml/2006/table">
            <a:tbl>
              <a:tblPr firstRow="1" bandRow="1">
                <a:tableStyleId>{5940675A-B579-460E-94D1-54222C63F5DA}</a:tableStyleId>
              </a:tblPr>
              <a:tblGrid>
                <a:gridCol w="969264">
                  <a:extLst>
                    <a:ext uri="{9D8B030D-6E8A-4147-A177-3AD203B41FA5}">
                      <a16:colId xmlns:a16="http://schemas.microsoft.com/office/drawing/2014/main" val="20000"/>
                    </a:ext>
                  </a:extLst>
                </a:gridCol>
                <a:gridCol w="969264">
                  <a:extLst>
                    <a:ext uri="{9D8B030D-6E8A-4147-A177-3AD203B41FA5}">
                      <a16:colId xmlns:a16="http://schemas.microsoft.com/office/drawing/2014/main" val="20001"/>
                    </a:ext>
                  </a:extLst>
                </a:gridCol>
                <a:gridCol w="969264">
                  <a:extLst>
                    <a:ext uri="{9D8B030D-6E8A-4147-A177-3AD203B41FA5}">
                      <a16:colId xmlns:a16="http://schemas.microsoft.com/office/drawing/2014/main" val="20002"/>
                    </a:ext>
                  </a:extLst>
                </a:gridCol>
                <a:gridCol w="969264">
                  <a:extLst>
                    <a:ext uri="{9D8B030D-6E8A-4147-A177-3AD203B41FA5}">
                      <a16:colId xmlns:a16="http://schemas.microsoft.com/office/drawing/2014/main" val="20003"/>
                    </a:ext>
                  </a:extLst>
                </a:gridCol>
                <a:gridCol w="969264">
                  <a:extLst>
                    <a:ext uri="{9D8B030D-6E8A-4147-A177-3AD203B41FA5}">
                      <a16:colId xmlns:a16="http://schemas.microsoft.com/office/drawing/2014/main" val="20004"/>
                    </a:ext>
                  </a:extLst>
                </a:gridCol>
                <a:gridCol w="969264">
                  <a:extLst>
                    <a:ext uri="{9D8B030D-6E8A-4147-A177-3AD203B41FA5}">
                      <a16:colId xmlns:a16="http://schemas.microsoft.com/office/drawing/2014/main" val="20005"/>
                    </a:ext>
                  </a:extLst>
                </a:gridCol>
                <a:gridCol w="969264">
                  <a:extLst>
                    <a:ext uri="{9D8B030D-6E8A-4147-A177-3AD203B41FA5}">
                      <a16:colId xmlns:a16="http://schemas.microsoft.com/office/drawing/2014/main" val="20006"/>
                    </a:ext>
                  </a:extLst>
                </a:gridCol>
                <a:gridCol w="969264">
                  <a:extLst>
                    <a:ext uri="{9D8B030D-6E8A-4147-A177-3AD203B41FA5}">
                      <a16:colId xmlns:a16="http://schemas.microsoft.com/office/drawing/2014/main" val="20007"/>
                    </a:ext>
                  </a:extLst>
                </a:gridCol>
                <a:gridCol w="969264">
                  <a:extLst>
                    <a:ext uri="{9D8B030D-6E8A-4147-A177-3AD203B41FA5}">
                      <a16:colId xmlns:a16="http://schemas.microsoft.com/office/drawing/2014/main" val="20008"/>
                    </a:ext>
                  </a:extLst>
                </a:gridCol>
              </a:tblGrid>
              <a:tr h="457200">
                <a:tc>
                  <a:txBody>
                    <a:bodyPr/>
                    <a:lstStyle/>
                    <a:p>
                      <a:pPr algn="ctr"/>
                      <a:r>
                        <a:rPr lang="en-IN" sz="1400" b="1" kern="1200" dirty="0">
                          <a:solidFill>
                            <a:schemeClr val="bg1"/>
                          </a:solidFill>
                          <a:latin typeface="Gotham Medium" panose="02000603030000020004" pitchFamily="2" charset="0"/>
                          <a:ea typeface="+mn-ea"/>
                          <a:cs typeface="+mn-cs"/>
                        </a:rPr>
                        <a:t>College</a:t>
                      </a:r>
                    </a:p>
                  </a:txBody>
                  <a:tcPr marL="91441" marR="91441" marT="45727" marB="45727" anchor="ctr">
                    <a:solidFill>
                      <a:schemeClr val="tx1">
                        <a:lumMod val="50000"/>
                        <a:lumOff val="50000"/>
                      </a:schemeClr>
                    </a:solidFill>
                  </a:tcPr>
                </a:tc>
                <a:tc>
                  <a:txBody>
                    <a:bodyPr/>
                    <a:lstStyle/>
                    <a:p>
                      <a:pPr algn="ctr"/>
                      <a:r>
                        <a:rPr lang="en-IN" sz="1400" b="1" dirty="0">
                          <a:solidFill>
                            <a:schemeClr val="bg1"/>
                          </a:solidFill>
                          <a:latin typeface="Gotham Medium" panose="02000603030000020004" pitchFamily="2" charset="0"/>
                        </a:rPr>
                        <a:t>CIVIL</a:t>
                      </a:r>
                      <a:endParaRPr lang="en-IN" sz="14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tc>
                  <a:txBody>
                    <a:bodyPr/>
                    <a:lstStyle/>
                    <a:p>
                      <a:pPr algn="ctr"/>
                      <a:r>
                        <a:rPr lang="en-IN" sz="1400" b="1" dirty="0">
                          <a:solidFill>
                            <a:schemeClr val="bg1"/>
                          </a:solidFill>
                          <a:latin typeface="Gotham Medium" panose="02000603030000020004" pitchFamily="2" charset="0"/>
                        </a:rPr>
                        <a:t>COMP</a:t>
                      </a:r>
                      <a:endParaRPr lang="en-IN" sz="14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tc>
                  <a:txBody>
                    <a:bodyPr/>
                    <a:lstStyle/>
                    <a:p>
                      <a:pPr algn="ctr"/>
                      <a:r>
                        <a:rPr lang="en-IN" sz="1400" b="1" dirty="0">
                          <a:solidFill>
                            <a:schemeClr val="bg1"/>
                          </a:solidFill>
                          <a:latin typeface="Gotham Medium" panose="02000603030000020004" pitchFamily="2" charset="0"/>
                        </a:rPr>
                        <a:t>IT</a:t>
                      </a:r>
                      <a:endParaRPr lang="en-IN" sz="14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tc>
                  <a:txBody>
                    <a:bodyPr/>
                    <a:lstStyle/>
                    <a:p>
                      <a:pPr algn="ctr"/>
                      <a:r>
                        <a:rPr lang="en-IN" sz="1200" b="1" dirty="0">
                          <a:solidFill>
                            <a:schemeClr val="bg1"/>
                          </a:solidFill>
                          <a:latin typeface="Gotham Medium" panose="02000603030000020004" pitchFamily="2" charset="0"/>
                        </a:rPr>
                        <a:t>Electrical</a:t>
                      </a:r>
                      <a:endParaRPr lang="en-IN" sz="12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tc>
                  <a:txBody>
                    <a:bodyPr/>
                    <a:lstStyle/>
                    <a:p>
                      <a:pPr algn="ctr"/>
                      <a:r>
                        <a:rPr lang="en-IN" sz="1400" b="1" dirty="0">
                          <a:solidFill>
                            <a:schemeClr val="bg1"/>
                          </a:solidFill>
                          <a:latin typeface="Gotham Medium" panose="02000603030000020004" pitchFamily="2" charset="0"/>
                        </a:rPr>
                        <a:t>ETRX</a:t>
                      </a:r>
                      <a:endParaRPr lang="en-IN" sz="14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tc>
                  <a:txBody>
                    <a:bodyPr/>
                    <a:lstStyle/>
                    <a:p>
                      <a:pPr algn="ctr"/>
                      <a:r>
                        <a:rPr lang="en-IN" sz="1400" b="1" dirty="0">
                          <a:solidFill>
                            <a:schemeClr val="bg1"/>
                          </a:solidFill>
                          <a:latin typeface="Gotham Medium" panose="02000603030000020004" pitchFamily="2" charset="0"/>
                        </a:rPr>
                        <a:t>ETC</a:t>
                      </a:r>
                      <a:endParaRPr lang="en-IN" sz="14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tc>
                  <a:txBody>
                    <a:bodyPr/>
                    <a:lstStyle/>
                    <a:p>
                      <a:pPr algn="ctr"/>
                      <a:r>
                        <a:rPr lang="en-IN" sz="1400" b="1" dirty="0">
                          <a:solidFill>
                            <a:schemeClr val="bg1"/>
                          </a:solidFill>
                          <a:latin typeface="Gotham Medium" panose="02000603030000020004" pitchFamily="2" charset="0"/>
                        </a:rPr>
                        <a:t>MECH</a:t>
                      </a:r>
                      <a:endParaRPr lang="en-IN" sz="14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tc>
                  <a:txBody>
                    <a:bodyPr/>
                    <a:lstStyle/>
                    <a:p>
                      <a:pPr algn="ctr"/>
                      <a:r>
                        <a:rPr lang="en-IN" sz="1400" b="1" dirty="0">
                          <a:solidFill>
                            <a:schemeClr val="bg1"/>
                          </a:solidFill>
                          <a:latin typeface="Gotham Medium" panose="02000603030000020004" pitchFamily="2" charset="0"/>
                        </a:rPr>
                        <a:t>PROD</a:t>
                      </a:r>
                      <a:endParaRPr lang="en-IN" sz="1400" b="1" dirty="0">
                        <a:solidFill>
                          <a:schemeClr val="bg1"/>
                        </a:solidFill>
                        <a:latin typeface="Gotham Medium" panose="02000603030000020004" pitchFamily="2" charset="0"/>
                        <a:cs typeface="Times New Roman" pitchFamily="18" charset="0"/>
                      </a:endParaRPr>
                    </a:p>
                  </a:txBody>
                  <a:tcPr marL="91441" marR="91441" marT="45727" marB="45727" anchor="ctr">
                    <a:solidFill>
                      <a:schemeClr val="tx1">
                        <a:lumMod val="50000"/>
                        <a:lumOff val="50000"/>
                      </a:schemeClr>
                    </a:solidFill>
                  </a:tcPr>
                </a:tc>
                <a:extLst>
                  <a:ext uri="{0D108BD9-81ED-4DB2-BD59-A6C34878D82A}">
                    <a16:rowId xmlns:a16="http://schemas.microsoft.com/office/drawing/2014/main" val="10000"/>
                  </a:ext>
                </a:extLst>
              </a:tr>
              <a:tr h="1005840">
                <a:tc>
                  <a:txBody>
                    <a:bodyPr/>
                    <a:lstStyle/>
                    <a:p>
                      <a:pPr marL="0" algn="ctr" defTabSz="914400" rtl="0" eaLnBrk="1" latinLnBrk="0" hangingPunct="1"/>
                      <a:r>
                        <a:rPr lang="en-IN" sz="1800" b="1" kern="1200" dirty="0">
                          <a:solidFill>
                            <a:schemeClr val="bg1"/>
                          </a:solidFill>
                          <a:latin typeface="Gotham Medium" panose="02000603030000020004" pitchFamily="2" charset="0"/>
                        </a:rPr>
                        <a:t>SPCE</a:t>
                      </a:r>
                      <a:endParaRPr lang="en-IN" sz="1800" b="1" kern="1200" dirty="0">
                        <a:solidFill>
                          <a:schemeClr val="bg1"/>
                        </a:solidFill>
                        <a:latin typeface="Gotham Medium" panose="02000603030000020004" pitchFamily="2" charset="0"/>
                        <a:ea typeface="+mn-ea"/>
                        <a:cs typeface="+mn-cs"/>
                      </a:endParaRP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5187</a:t>
                      </a: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2979</a:t>
                      </a: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2135</a:t>
                      </a: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extLst>
                  <a:ext uri="{0D108BD9-81ED-4DB2-BD59-A6C34878D82A}">
                    <a16:rowId xmlns:a16="http://schemas.microsoft.com/office/drawing/2014/main" val="10004"/>
                  </a:ext>
                </a:extLst>
              </a:tr>
              <a:tr h="1005840">
                <a:tc>
                  <a:txBody>
                    <a:bodyPr/>
                    <a:lstStyle/>
                    <a:p>
                      <a:pPr marL="0" algn="ctr" defTabSz="914400" rtl="0" eaLnBrk="1" latinLnBrk="0" hangingPunct="1"/>
                      <a:r>
                        <a:rPr lang="en-IN" sz="1800" b="1" kern="1200" dirty="0">
                          <a:solidFill>
                            <a:schemeClr val="bg1"/>
                          </a:solidFill>
                          <a:latin typeface="Gotham Medium" panose="02000603030000020004" pitchFamily="2" charset="0"/>
                        </a:rPr>
                        <a:t>PICT</a:t>
                      </a:r>
                      <a:endParaRPr lang="en-IN" sz="1800" b="1" kern="1200" dirty="0">
                        <a:solidFill>
                          <a:schemeClr val="bg1"/>
                        </a:solidFill>
                        <a:latin typeface="Gotham Medium" panose="02000603030000020004" pitchFamily="2" charset="0"/>
                        <a:ea typeface="+mn-ea"/>
                        <a:cs typeface="+mn-cs"/>
                      </a:endParaRPr>
                    </a:p>
                  </a:txBody>
                  <a:tcPr marL="91441" marR="91441" marT="45727" marB="45727" anchor="ctr">
                    <a:solidFill>
                      <a:schemeClr val="tx1">
                        <a:lumMod val="50000"/>
                        <a:lumOff val="50000"/>
                      </a:schemeClr>
                    </a:solidFill>
                  </a:tcP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546</a:t>
                      </a:r>
                    </a:p>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669</a:t>
                      </a: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183</a:t>
                      </a: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2408</a:t>
                      </a:r>
                    </a:p>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2838</a:t>
                      </a: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extLst>
                  <a:ext uri="{0D108BD9-81ED-4DB2-BD59-A6C34878D82A}">
                    <a16:rowId xmlns:a16="http://schemas.microsoft.com/office/drawing/2014/main" val="10005"/>
                  </a:ext>
                </a:extLst>
              </a:tr>
              <a:tr h="1005840">
                <a:tc>
                  <a:txBody>
                    <a:bodyPr/>
                    <a:lstStyle/>
                    <a:p>
                      <a:pPr marL="0" algn="ctr" defTabSz="914400" rtl="0" eaLnBrk="1" latinLnBrk="0" hangingPunct="1"/>
                      <a:r>
                        <a:rPr lang="en-IN" sz="1800" b="1" kern="1200" dirty="0">
                          <a:solidFill>
                            <a:schemeClr val="bg1"/>
                          </a:solidFill>
                          <a:latin typeface="Gotham Medium" panose="02000603030000020004" pitchFamily="2" charset="0"/>
                        </a:rPr>
                        <a:t>KJS</a:t>
                      </a:r>
                      <a:endParaRPr lang="en-IN" sz="1800" b="1" kern="1200" dirty="0">
                        <a:solidFill>
                          <a:schemeClr val="bg1"/>
                        </a:solidFill>
                        <a:latin typeface="Gotham Medium" panose="02000603030000020004" pitchFamily="2" charset="0"/>
                        <a:ea typeface="+mn-ea"/>
                        <a:cs typeface="+mn-cs"/>
                      </a:endParaRPr>
                    </a:p>
                  </a:txBody>
                  <a:tcPr marL="91441" marR="91441" marT="45727" marB="45727" anchor="ctr">
                    <a:solidFill>
                      <a:schemeClr val="tx1">
                        <a:lumMod val="50000"/>
                        <a:lumOff val="50000"/>
                      </a:schemeClr>
                    </a:solidFill>
                  </a:tcP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3893</a:t>
                      </a: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5357</a:t>
                      </a: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0768</a:t>
                      </a: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727" marB="45727"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568211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5076" y="291973"/>
            <a:ext cx="7098324" cy="536971"/>
          </a:xfrm>
          <a:effectLst/>
        </p:spPr>
        <p:txBody>
          <a:bodyPr vert="horz" lIns="91440" tIns="45720" rIns="91440" bIns="45720" rtlCol="0" anchor="ctr">
            <a:noAutofit/>
          </a:bodyPr>
          <a:lstStyle/>
          <a:p>
            <a:pPr algn="l"/>
            <a:r>
              <a:rPr lang="en-US" sz="2800" dirty="0">
                <a:solidFill>
                  <a:srgbClr val="FF5969"/>
                </a:solidFill>
                <a:latin typeface="Gotham Bold" panose="02000803030000020004" pitchFamily="2" charset="0"/>
              </a:rPr>
              <a:t>Last Year Cut Offs – </a:t>
            </a:r>
            <a:r>
              <a:rPr lang="en-US" sz="2800" dirty="0">
                <a:solidFill>
                  <a:srgbClr val="FEC630"/>
                </a:solidFill>
                <a:latin typeface="Gotham Bold" panose="02000803030000020004" pitchFamily="2" charset="0"/>
              </a:rPr>
              <a:t>CAP Round-I</a:t>
            </a:r>
          </a:p>
        </p:txBody>
      </p:sp>
      <p:sp>
        <p:nvSpPr>
          <p:cNvPr id="5" name="Rectangle 4">
            <a:extLst>
              <a:ext uri="{FF2B5EF4-FFF2-40B4-BE49-F238E27FC236}">
                <a16:creationId xmlns:a16="http://schemas.microsoft.com/office/drawing/2014/main" id="{3646952C-B567-40F2-BF21-892BC722BA20}"/>
              </a:ext>
            </a:extLst>
          </p:cNvPr>
          <p:cNvSpPr/>
          <p:nvPr/>
        </p:nvSpPr>
        <p:spPr>
          <a:xfrm>
            <a:off x="0" y="4847008"/>
            <a:ext cx="8763000" cy="72605"/>
          </a:xfrm>
          <a:prstGeom prst="rect">
            <a:avLst/>
          </a:prstGeom>
          <a:solidFill>
            <a:srgbClr val="FF596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 name="Rectangle 5">
            <a:extLst>
              <a:ext uri="{FF2B5EF4-FFF2-40B4-BE49-F238E27FC236}">
                <a16:creationId xmlns:a16="http://schemas.microsoft.com/office/drawing/2014/main" id="{12EE2977-7873-4D38-AA73-ECF010AB134D}"/>
              </a:ext>
            </a:extLst>
          </p:cNvPr>
          <p:cNvSpPr/>
          <p:nvPr/>
        </p:nvSpPr>
        <p:spPr>
          <a:xfrm flipV="1">
            <a:off x="1055076" y="940141"/>
            <a:ext cx="8088923" cy="80072"/>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7" name="Group 6">
            <a:extLst>
              <a:ext uri="{FF2B5EF4-FFF2-40B4-BE49-F238E27FC236}">
                <a16:creationId xmlns:a16="http://schemas.microsoft.com/office/drawing/2014/main" id="{A3FF1D4E-DD54-40A3-90D6-56321FA99EEC}"/>
              </a:ext>
            </a:extLst>
          </p:cNvPr>
          <p:cNvGrpSpPr/>
          <p:nvPr/>
        </p:nvGrpSpPr>
        <p:grpSpPr>
          <a:xfrm>
            <a:off x="0" y="412822"/>
            <a:ext cx="226687" cy="378645"/>
            <a:chOff x="0" y="412822"/>
            <a:chExt cx="226687" cy="378645"/>
          </a:xfrm>
        </p:grpSpPr>
        <p:sp>
          <p:nvSpPr>
            <p:cNvPr id="8" name="Rectangle 7">
              <a:extLst>
                <a:ext uri="{FF2B5EF4-FFF2-40B4-BE49-F238E27FC236}">
                  <a16:creationId xmlns:a16="http://schemas.microsoft.com/office/drawing/2014/main" id="{45395F98-246D-4897-95FC-038FB636E47C}"/>
                </a:ext>
              </a:extLst>
            </p:cNvPr>
            <p:cNvSpPr/>
            <p:nvPr/>
          </p:nvSpPr>
          <p:spPr>
            <a:xfrm flipH="1">
              <a:off x="84527" y="412822"/>
              <a:ext cx="142160" cy="378645"/>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 name="Rectangle 8">
              <a:extLst>
                <a:ext uri="{FF2B5EF4-FFF2-40B4-BE49-F238E27FC236}">
                  <a16:creationId xmlns:a16="http://schemas.microsoft.com/office/drawing/2014/main" id="{7B76B8E0-470D-4B0D-B24D-BDB45A09AE44}"/>
                </a:ext>
              </a:extLst>
            </p:cNvPr>
            <p:cNvSpPr/>
            <p:nvPr/>
          </p:nvSpPr>
          <p:spPr>
            <a:xfrm flipH="1">
              <a:off x="0" y="412822"/>
              <a:ext cx="142160" cy="378645"/>
            </a:xfrm>
            <a:prstGeom prst="rect">
              <a:avLst/>
            </a:prstGeom>
            <a:solidFill>
              <a:srgbClr val="FF596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Light"/>
                <a:ea typeface="+mn-ea"/>
                <a:cs typeface="+mn-cs"/>
              </a:endParaRPr>
            </a:p>
          </p:txBody>
        </p:sp>
      </p:grpSp>
      <p:graphicFrame>
        <p:nvGraphicFramePr>
          <p:cNvPr id="10" name="Table 9">
            <a:extLst>
              <a:ext uri="{FF2B5EF4-FFF2-40B4-BE49-F238E27FC236}">
                <a16:creationId xmlns:a16="http://schemas.microsoft.com/office/drawing/2014/main" id="{065E0207-7202-4DA9-9DEB-9B3019C258FF}"/>
              </a:ext>
            </a:extLst>
          </p:cNvPr>
          <p:cNvGraphicFramePr>
            <a:graphicFrameLocks noGrp="1"/>
          </p:cNvGraphicFramePr>
          <p:nvPr>
            <p:extLst>
              <p:ext uri="{D42A27DB-BD31-4B8C-83A1-F6EECF244321}">
                <p14:modId xmlns:p14="http://schemas.microsoft.com/office/powerpoint/2010/main" val="1322932597"/>
              </p:ext>
            </p:extLst>
          </p:nvPr>
        </p:nvGraphicFramePr>
        <p:xfrm>
          <a:off x="228600" y="1122495"/>
          <a:ext cx="8686800" cy="3474720"/>
        </p:xfrm>
        <a:graphic>
          <a:graphicData uri="http://schemas.openxmlformats.org/drawingml/2006/table">
            <a:tbl>
              <a:tblPr firstRow="1" bandRow="1">
                <a:tableStyleId>{5940675A-B579-460E-94D1-54222C63F5DA}</a:tableStyleId>
              </a:tblPr>
              <a:tblGrid>
                <a:gridCol w="965200">
                  <a:extLst>
                    <a:ext uri="{9D8B030D-6E8A-4147-A177-3AD203B41FA5}">
                      <a16:colId xmlns:a16="http://schemas.microsoft.com/office/drawing/2014/main" val="20000"/>
                    </a:ext>
                  </a:extLst>
                </a:gridCol>
                <a:gridCol w="965200">
                  <a:extLst>
                    <a:ext uri="{9D8B030D-6E8A-4147-A177-3AD203B41FA5}">
                      <a16:colId xmlns:a16="http://schemas.microsoft.com/office/drawing/2014/main" val="20001"/>
                    </a:ext>
                  </a:extLst>
                </a:gridCol>
                <a:gridCol w="965200">
                  <a:extLst>
                    <a:ext uri="{9D8B030D-6E8A-4147-A177-3AD203B41FA5}">
                      <a16:colId xmlns:a16="http://schemas.microsoft.com/office/drawing/2014/main" val="20002"/>
                    </a:ext>
                  </a:extLst>
                </a:gridCol>
                <a:gridCol w="965200">
                  <a:extLst>
                    <a:ext uri="{9D8B030D-6E8A-4147-A177-3AD203B41FA5}">
                      <a16:colId xmlns:a16="http://schemas.microsoft.com/office/drawing/2014/main" val="20003"/>
                    </a:ext>
                  </a:extLst>
                </a:gridCol>
                <a:gridCol w="965200">
                  <a:extLst>
                    <a:ext uri="{9D8B030D-6E8A-4147-A177-3AD203B41FA5}">
                      <a16:colId xmlns:a16="http://schemas.microsoft.com/office/drawing/2014/main" val="20004"/>
                    </a:ext>
                  </a:extLst>
                </a:gridCol>
                <a:gridCol w="965200">
                  <a:extLst>
                    <a:ext uri="{9D8B030D-6E8A-4147-A177-3AD203B41FA5}">
                      <a16:colId xmlns:a16="http://schemas.microsoft.com/office/drawing/2014/main" val="20005"/>
                    </a:ext>
                  </a:extLst>
                </a:gridCol>
                <a:gridCol w="965200">
                  <a:extLst>
                    <a:ext uri="{9D8B030D-6E8A-4147-A177-3AD203B41FA5}">
                      <a16:colId xmlns:a16="http://schemas.microsoft.com/office/drawing/2014/main" val="20006"/>
                    </a:ext>
                  </a:extLst>
                </a:gridCol>
                <a:gridCol w="965200">
                  <a:extLst>
                    <a:ext uri="{9D8B030D-6E8A-4147-A177-3AD203B41FA5}">
                      <a16:colId xmlns:a16="http://schemas.microsoft.com/office/drawing/2014/main" val="20007"/>
                    </a:ext>
                  </a:extLst>
                </a:gridCol>
                <a:gridCol w="965200">
                  <a:extLst>
                    <a:ext uri="{9D8B030D-6E8A-4147-A177-3AD203B41FA5}">
                      <a16:colId xmlns:a16="http://schemas.microsoft.com/office/drawing/2014/main" val="20008"/>
                    </a:ext>
                  </a:extLst>
                </a:gridCol>
              </a:tblGrid>
              <a:tr h="457200">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College</a:t>
                      </a: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CIVIL</a:t>
                      </a: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COMP</a:t>
                      </a: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IT</a:t>
                      </a: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200" b="1" kern="1200" dirty="0">
                          <a:solidFill>
                            <a:schemeClr val="bg1"/>
                          </a:solidFill>
                          <a:latin typeface="Gotham Medium" panose="02000603030000020004" pitchFamily="2" charset="0"/>
                          <a:ea typeface="+mn-ea"/>
                          <a:cs typeface="+mn-cs"/>
                        </a:rPr>
                        <a:t>Electrical</a:t>
                      </a: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ETRX</a:t>
                      </a: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ETC</a:t>
                      </a: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MECH</a:t>
                      </a: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PROD</a:t>
                      </a:r>
                    </a:p>
                  </a:txBody>
                  <a:tcPr marL="91441" marR="91441" marT="45727" marB="45727" anchor="ctr">
                    <a:solidFill>
                      <a:schemeClr val="tx1">
                        <a:lumMod val="50000"/>
                        <a:lumOff val="50000"/>
                      </a:schemeClr>
                    </a:solidFill>
                  </a:tcPr>
                </a:tc>
                <a:extLst>
                  <a:ext uri="{0D108BD9-81ED-4DB2-BD59-A6C34878D82A}">
                    <a16:rowId xmlns:a16="http://schemas.microsoft.com/office/drawing/2014/main" val="10000"/>
                  </a:ext>
                </a:extLst>
              </a:tr>
              <a:tr h="1005840">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VIT</a:t>
                      </a:r>
                    </a:p>
                  </a:txBody>
                  <a:tcPr marL="91441" marR="91441" marT="45694" marB="45694" anchor="ctr">
                    <a:solidFill>
                      <a:schemeClr val="tx1">
                        <a:lumMod val="50000"/>
                        <a:lumOff val="50000"/>
                      </a:schemeClr>
                    </a:solidFill>
                  </a:tcP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302</a:t>
                      </a:r>
                    </a:p>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456</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675</a:t>
                      </a:r>
                    </a:p>
                  </a:txBody>
                  <a:tcPr marL="91441" marR="91441" marT="45694" marB="45694"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4070</a:t>
                      </a:r>
                    </a:p>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4624</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5509</a:t>
                      </a:r>
                    </a:p>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6696</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22622</a:t>
                      </a:r>
                    </a:p>
                  </a:txBody>
                  <a:tcPr marL="91441" marR="91441" marT="45694" marB="45694" anchor="ctr"/>
                </a:tc>
                <a:extLst>
                  <a:ext uri="{0D108BD9-81ED-4DB2-BD59-A6C34878D82A}">
                    <a16:rowId xmlns:a16="http://schemas.microsoft.com/office/drawing/2014/main" val="10001"/>
                  </a:ext>
                </a:extLst>
              </a:tr>
              <a:tr h="1005840">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WCE</a:t>
                      </a:r>
                    </a:p>
                  </a:txBody>
                  <a:tcPr marL="91441" marR="91441" marT="45694" marB="45694" anchor="ctr">
                    <a:solidFill>
                      <a:schemeClr val="tx1">
                        <a:lumMod val="50000"/>
                        <a:lumOff val="50000"/>
                      </a:schemeClr>
                    </a:solidFill>
                  </a:tcP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6225</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096</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604</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4245</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3743</a:t>
                      </a:r>
                    </a:p>
                  </a:txBody>
                  <a:tcPr marL="91441" marR="91441" marT="45694" marB="45694"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3209</a:t>
                      </a:r>
                    </a:p>
                  </a:txBody>
                  <a:tcPr marL="91441" marR="91441" marT="45694" marB="45694"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extLst>
                  <a:ext uri="{0D108BD9-81ED-4DB2-BD59-A6C34878D82A}">
                    <a16:rowId xmlns:a16="http://schemas.microsoft.com/office/drawing/2014/main" val="10002"/>
                  </a:ext>
                </a:extLst>
              </a:tr>
              <a:tr h="1005840">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DJS</a:t>
                      </a:r>
                    </a:p>
                  </a:txBody>
                  <a:tcPr marL="91441" marR="91441" marT="45694" marB="45694" anchor="ctr">
                    <a:solidFill>
                      <a:schemeClr val="tx1">
                        <a:lumMod val="50000"/>
                        <a:lumOff val="50000"/>
                      </a:schemeClr>
                    </a:solidFill>
                  </a:tcP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933</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650</a:t>
                      </a:r>
                    </a:p>
                  </a:txBody>
                  <a:tcPr marL="91441" marR="91441" marT="45694" marB="45694"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4959</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4180</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5919</a:t>
                      </a:r>
                    </a:p>
                  </a:txBody>
                  <a:tcPr marL="91441" marR="91441" marT="45694" marB="45694"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07996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F77BE39-466F-459A-8B1C-97E3461CBC30}"/>
              </a:ext>
            </a:extLst>
          </p:cNvPr>
          <p:cNvSpPr/>
          <p:nvPr/>
        </p:nvSpPr>
        <p:spPr>
          <a:xfrm>
            <a:off x="437911" y="150496"/>
            <a:ext cx="1676400" cy="4842510"/>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sp>
        <p:nvSpPr>
          <p:cNvPr id="2" name="Title 1"/>
          <p:cNvSpPr>
            <a:spLocks noGrp="1"/>
          </p:cNvSpPr>
          <p:nvPr>
            <p:ph type="title"/>
          </p:nvPr>
        </p:nvSpPr>
        <p:spPr>
          <a:xfrm>
            <a:off x="2813050" y="150495"/>
            <a:ext cx="5340350" cy="440189"/>
          </a:xfrm>
          <a:effectLst/>
        </p:spPr>
        <p:txBody>
          <a:bodyPr vert="horz" lIns="91440" tIns="45720" rIns="91440" bIns="45720" rtlCol="0" anchor="ctr">
            <a:noAutofit/>
          </a:bodyPr>
          <a:lstStyle/>
          <a:p>
            <a:pPr algn="r"/>
            <a:r>
              <a:rPr lang="en-US" sz="2800" dirty="0">
                <a:solidFill>
                  <a:srgbClr val="FF5969"/>
                </a:solidFill>
                <a:latin typeface="Gotham Bold" panose="02000803030000020004" pitchFamily="2" charset="0"/>
              </a:rPr>
              <a:t>Engineering at its Best</a:t>
            </a:r>
          </a:p>
        </p:txBody>
      </p:sp>
      <p:pic>
        <p:nvPicPr>
          <p:cNvPr id="9" name="Picture 2">
            <a:extLst>
              <a:ext uri="{FF2B5EF4-FFF2-40B4-BE49-F238E27FC236}">
                <a16:creationId xmlns:a16="http://schemas.microsoft.com/office/drawing/2014/main" id="{8F6AEE48-0A10-4837-8811-C67CC8EB6C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756747"/>
            <a:ext cx="7315200" cy="42362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4252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5076" y="291973"/>
            <a:ext cx="7022124" cy="536971"/>
          </a:xfrm>
          <a:effectLst/>
        </p:spPr>
        <p:txBody>
          <a:bodyPr vert="horz" lIns="91440" tIns="45720" rIns="91440" bIns="45720" rtlCol="0" anchor="ctr">
            <a:noAutofit/>
          </a:bodyPr>
          <a:lstStyle/>
          <a:p>
            <a:pPr algn="l"/>
            <a:r>
              <a:rPr lang="en-US" sz="2800" dirty="0">
                <a:solidFill>
                  <a:srgbClr val="FF5969"/>
                </a:solidFill>
                <a:latin typeface="Gotham Bold" panose="02000803030000020004" pitchFamily="2" charset="0"/>
              </a:rPr>
              <a:t>Last Year Cut Offs – </a:t>
            </a:r>
            <a:r>
              <a:rPr lang="en-US" sz="2800" dirty="0">
                <a:solidFill>
                  <a:srgbClr val="FEC630"/>
                </a:solidFill>
                <a:latin typeface="Gotham Bold" panose="02000803030000020004" pitchFamily="2" charset="0"/>
              </a:rPr>
              <a:t>CAP Round-I</a:t>
            </a:r>
          </a:p>
        </p:txBody>
      </p:sp>
      <p:sp>
        <p:nvSpPr>
          <p:cNvPr id="5" name="Rectangle 4">
            <a:extLst>
              <a:ext uri="{FF2B5EF4-FFF2-40B4-BE49-F238E27FC236}">
                <a16:creationId xmlns:a16="http://schemas.microsoft.com/office/drawing/2014/main" id="{3646952C-B567-40F2-BF21-892BC722BA20}"/>
              </a:ext>
            </a:extLst>
          </p:cNvPr>
          <p:cNvSpPr/>
          <p:nvPr/>
        </p:nvSpPr>
        <p:spPr>
          <a:xfrm>
            <a:off x="0" y="4847008"/>
            <a:ext cx="8763000" cy="72605"/>
          </a:xfrm>
          <a:prstGeom prst="rect">
            <a:avLst/>
          </a:prstGeom>
          <a:solidFill>
            <a:srgbClr val="FF596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 name="Rectangle 5">
            <a:extLst>
              <a:ext uri="{FF2B5EF4-FFF2-40B4-BE49-F238E27FC236}">
                <a16:creationId xmlns:a16="http://schemas.microsoft.com/office/drawing/2014/main" id="{12EE2977-7873-4D38-AA73-ECF010AB134D}"/>
              </a:ext>
            </a:extLst>
          </p:cNvPr>
          <p:cNvSpPr/>
          <p:nvPr/>
        </p:nvSpPr>
        <p:spPr>
          <a:xfrm flipV="1">
            <a:off x="1055076" y="940141"/>
            <a:ext cx="8088923" cy="80072"/>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7" name="Group 6">
            <a:extLst>
              <a:ext uri="{FF2B5EF4-FFF2-40B4-BE49-F238E27FC236}">
                <a16:creationId xmlns:a16="http://schemas.microsoft.com/office/drawing/2014/main" id="{A3FF1D4E-DD54-40A3-90D6-56321FA99EEC}"/>
              </a:ext>
            </a:extLst>
          </p:cNvPr>
          <p:cNvGrpSpPr/>
          <p:nvPr/>
        </p:nvGrpSpPr>
        <p:grpSpPr>
          <a:xfrm>
            <a:off x="0" y="412822"/>
            <a:ext cx="226687" cy="378645"/>
            <a:chOff x="0" y="412822"/>
            <a:chExt cx="226687" cy="378645"/>
          </a:xfrm>
        </p:grpSpPr>
        <p:sp>
          <p:nvSpPr>
            <p:cNvPr id="8" name="Rectangle 7">
              <a:extLst>
                <a:ext uri="{FF2B5EF4-FFF2-40B4-BE49-F238E27FC236}">
                  <a16:creationId xmlns:a16="http://schemas.microsoft.com/office/drawing/2014/main" id="{45395F98-246D-4897-95FC-038FB636E47C}"/>
                </a:ext>
              </a:extLst>
            </p:cNvPr>
            <p:cNvSpPr/>
            <p:nvPr/>
          </p:nvSpPr>
          <p:spPr>
            <a:xfrm flipH="1">
              <a:off x="84527" y="412822"/>
              <a:ext cx="142160" cy="378645"/>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 name="Rectangle 8">
              <a:extLst>
                <a:ext uri="{FF2B5EF4-FFF2-40B4-BE49-F238E27FC236}">
                  <a16:creationId xmlns:a16="http://schemas.microsoft.com/office/drawing/2014/main" id="{7B76B8E0-470D-4B0D-B24D-BDB45A09AE44}"/>
                </a:ext>
              </a:extLst>
            </p:cNvPr>
            <p:cNvSpPr/>
            <p:nvPr/>
          </p:nvSpPr>
          <p:spPr>
            <a:xfrm flipH="1">
              <a:off x="0" y="412822"/>
              <a:ext cx="142160" cy="378645"/>
            </a:xfrm>
            <a:prstGeom prst="rect">
              <a:avLst/>
            </a:prstGeom>
            <a:solidFill>
              <a:srgbClr val="FF596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Light"/>
                <a:ea typeface="+mn-ea"/>
                <a:cs typeface="+mn-cs"/>
              </a:endParaRPr>
            </a:p>
          </p:txBody>
        </p:sp>
      </p:grpSp>
      <p:graphicFrame>
        <p:nvGraphicFramePr>
          <p:cNvPr id="10" name="Table 9">
            <a:extLst>
              <a:ext uri="{FF2B5EF4-FFF2-40B4-BE49-F238E27FC236}">
                <a16:creationId xmlns:a16="http://schemas.microsoft.com/office/drawing/2014/main" id="{065E0207-7202-4DA9-9DEB-9B3019C258FF}"/>
              </a:ext>
            </a:extLst>
          </p:cNvPr>
          <p:cNvGraphicFramePr>
            <a:graphicFrameLocks noGrp="1"/>
          </p:cNvGraphicFramePr>
          <p:nvPr>
            <p:extLst>
              <p:ext uri="{D42A27DB-BD31-4B8C-83A1-F6EECF244321}">
                <p14:modId xmlns:p14="http://schemas.microsoft.com/office/powerpoint/2010/main" val="2320221082"/>
              </p:ext>
            </p:extLst>
          </p:nvPr>
        </p:nvGraphicFramePr>
        <p:xfrm>
          <a:off x="228600" y="1122493"/>
          <a:ext cx="8686800" cy="3474720"/>
        </p:xfrm>
        <a:graphic>
          <a:graphicData uri="http://schemas.openxmlformats.org/drawingml/2006/table">
            <a:tbl>
              <a:tblPr firstRow="1" bandRow="1">
                <a:tableStyleId>{5940675A-B579-460E-94D1-54222C63F5DA}</a:tableStyleId>
              </a:tblPr>
              <a:tblGrid>
                <a:gridCol w="965200">
                  <a:extLst>
                    <a:ext uri="{9D8B030D-6E8A-4147-A177-3AD203B41FA5}">
                      <a16:colId xmlns:a16="http://schemas.microsoft.com/office/drawing/2014/main" val="20000"/>
                    </a:ext>
                  </a:extLst>
                </a:gridCol>
                <a:gridCol w="965200">
                  <a:extLst>
                    <a:ext uri="{9D8B030D-6E8A-4147-A177-3AD203B41FA5}">
                      <a16:colId xmlns:a16="http://schemas.microsoft.com/office/drawing/2014/main" val="20001"/>
                    </a:ext>
                  </a:extLst>
                </a:gridCol>
                <a:gridCol w="965200">
                  <a:extLst>
                    <a:ext uri="{9D8B030D-6E8A-4147-A177-3AD203B41FA5}">
                      <a16:colId xmlns:a16="http://schemas.microsoft.com/office/drawing/2014/main" val="20002"/>
                    </a:ext>
                  </a:extLst>
                </a:gridCol>
                <a:gridCol w="965200">
                  <a:extLst>
                    <a:ext uri="{9D8B030D-6E8A-4147-A177-3AD203B41FA5}">
                      <a16:colId xmlns:a16="http://schemas.microsoft.com/office/drawing/2014/main" val="20003"/>
                    </a:ext>
                  </a:extLst>
                </a:gridCol>
                <a:gridCol w="965200">
                  <a:extLst>
                    <a:ext uri="{9D8B030D-6E8A-4147-A177-3AD203B41FA5}">
                      <a16:colId xmlns:a16="http://schemas.microsoft.com/office/drawing/2014/main" val="20004"/>
                    </a:ext>
                  </a:extLst>
                </a:gridCol>
                <a:gridCol w="965200">
                  <a:extLst>
                    <a:ext uri="{9D8B030D-6E8A-4147-A177-3AD203B41FA5}">
                      <a16:colId xmlns:a16="http://schemas.microsoft.com/office/drawing/2014/main" val="20005"/>
                    </a:ext>
                  </a:extLst>
                </a:gridCol>
                <a:gridCol w="965200">
                  <a:extLst>
                    <a:ext uri="{9D8B030D-6E8A-4147-A177-3AD203B41FA5}">
                      <a16:colId xmlns:a16="http://schemas.microsoft.com/office/drawing/2014/main" val="20006"/>
                    </a:ext>
                  </a:extLst>
                </a:gridCol>
                <a:gridCol w="965200">
                  <a:extLst>
                    <a:ext uri="{9D8B030D-6E8A-4147-A177-3AD203B41FA5}">
                      <a16:colId xmlns:a16="http://schemas.microsoft.com/office/drawing/2014/main" val="20007"/>
                    </a:ext>
                  </a:extLst>
                </a:gridCol>
                <a:gridCol w="965200">
                  <a:extLst>
                    <a:ext uri="{9D8B030D-6E8A-4147-A177-3AD203B41FA5}">
                      <a16:colId xmlns:a16="http://schemas.microsoft.com/office/drawing/2014/main" val="20008"/>
                    </a:ext>
                  </a:extLst>
                </a:gridCol>
              </a:tblGrid>
              <a:tr h="457200">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College</a:t>
                      </a: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CIVIL</a:t>
                      </a: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COMP</a:t>
                      </a: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IT</a:t>
                      </a: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200" b="1" kern="1200" dirty="0">
                          <a:solidFill>
                            <a:schemeClr val="bg1"/>
                          </a:solidFill>
                          <a:latin typeface="Gotham Medium" panose="02000603030000020004" pitchFamily="2" charset="0"/>
                          <a:ea typeface="+mn-ea"/>
                          <a:cs typeface="+mn-cs"/>
                        </a:rPr>
                        <a:t>Electrical</a:t>
                      </a: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ETRX</a:t>
                      </a: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ETC</a:t>
                      </a: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MECH</a:t>
                      </a:r>
                    </a:p>
                  </a:txBody>
                  <a:tcPr marL="91441" marR="91441" marT="45727" marB="45727" anchor="ctr">
                    <a:solidFill>
                      <a:schemeClr val="tx1">
                        <a:lumMod val="50000"/>
                        <a:lumOff val="50000"/>
                      </a:schemeClr>
                    </a:solidFill>
                  </a:tcPr>
                </a:tc>
                <a:tc>
                  <a:txBody>
                    <a:bodyPr/>
                    <a:lstStyle/>
                    <a:p>
                      <a:pPr marL="0" algn="ctr" defTabSz="914400" rtl="0" eaLnBrk="1" latinLnBrk="0" hangingPunct="1"/>
                      <a:r>
                        <a:rPr lang="en-IN" sz="1400" b="1" kern="1200" dirty="0">
                          <a:solidFill>
                            <a:schemeClr val="bg1"/>
                          </a:solidFill>
                          <a:latin typeface="Gotham Medium" panose="02000603030000020004" pitchFamily="2" charset="0"/>
                          <a:ea typeface="+mn-ea"/>
                          <a:cs typeface="+mn-cs"/>
                        </a:rPr>
                        <a:t>PROD</a:t>
                      </a:r>
                    </a:p>
                  </a:txBody>
                  <a:tcPr marL="91441" marR="91441" marT="45727" marB="45727" anchor="ctr">
                    <a:solidFill>
                      <a:schemeClr val="tx1">
                        <a:lumMod val="50000"/>
                        <a:lumOff val="50000"/>
                      </a:schemeClr>
                    </a:solidFill>
                  </a:tcPr>
                </a:tc>
                <a:extLst>
                  <a:ext uri="{0D108BD9-81ED-4DB2-BD59-A6C34878D82A}">
                    <a16:rowId xmlns:a16="http://schemas.microsoft.com/office/drawing/2014/main" val="10000"/>
                  </a:ext>
                </a:extLst>
              </a:tr>
              <a:tr h="1005840">
                <a:tc>
                  <a:txBody>
                    <a:bodyPr/>
                    <a:lstStyle/>
                    <a:p>
                      <a:pPr marL="0" algn="ctr" defTabSz="914400" rtl="0" eaLnBrk="1" latinLnBrk="0" hangingPunct="1"/>
                      <a:r>
                        <a:rPr lang="en-IN" sz="1200" b="0" kern="1200" dirty="0">
                          <a:solidFill>
                            <a:schemeClr val="bg1"/>
                          </a:solidFill>
                          <a:latin typeface="Gotham Medium" panose="02000603030000020004" pitchFamily="2" charset="0"/>
                          <a:ea typeface="+mn-ea"/>
                          <a:cs typeface="+mn-cs"/>
                        </a:rPr>
                        <a:t>CUMMINS</a:t>
                      </a:r>
                    </a:p>
                  </a:txBody>
                  <a:tcPr marL="91441" marR="91441" marT="45694" marB="45694" anchor="ctr">
                    <a:solidFill>
                      <a:schemeClr val="tx1">
                        <a:lumMod val="50000"/>
                        <a:lumOff val="50000"/>
                      </a:schemeClr>
                    </a:solidFill>
                  </a:tcP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2483</a:t>
                      </a:r>
                    </a:p>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2987</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3551</a:t>
                      </a:r>
                    </a:p>
                  </a:txBody>
                  <a:tcPr marL="91441" marR="91441" marT="45694" marB="45694"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6786</a:t>
                      </a:r>
                    </a:p>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8005</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2653</a:t>
                      </a:r>
                    </a:p>
                  </a:txBody>
                  <a:tcPr marL="91441" marR="91441" marT="45694" marB="45694"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extLst>
                  <a:ext uri="{0D108BD9-81ED-4DB2-BD59-A6C34878D82A}">
                    <a16:rowId xmlns:a16="http://schemas.microsoft.com/office/drawing/2014/main" val="10004"/>
                  </a:ext>
                </a:extLst>
              </a:tr>
              <a:tr h="1005840">
                <a:tc>
                  <a:txBody>
                    <a:bodyPr/>
                    <a:lstStyle/>
                    <a:p>
                      <a:pPr marL="0" algn="ctr" defTabSz="914400" rtl="0" eaLnBrk="1" latinLnBrk="0" hangingPunct="1"/>
                      <a:r>
                        <a:rPr lang="en-IN" sz="1400" b="0" kern="1200" dirty="0">
                          <a:solidFill>
                            <a:schemeClr val="bg1"/>
                          </a:solidFill>
                          <a:latin typeface="Gotham Medium" panose="02000603030000020004" pitchFamily="2" charset="0"/>
                          <a:ea typeface="+mn-ea"/>
                          <a:cs typeface="+mn-cs"/>
                        </a:rPr>
                        <a:t>PVG</a:t>
                      </a:r>
                    </a:p>
                  </a:txBody>
                  <a:tcPr marL="91441" marR="91441" marT="45694" marB="45694" anchor="ctr">
                    <a:solidFill>
                      <a:schemeClr val="tx1">
                        <a:lumMod val="50000"/>
                        <a:lumOff val="50000"/>
                      </a:schemeClr>
                    </a:solidFill>
                  </a:tcP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3450</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4971</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24343</a:t>
                      </a:r>
                    </a:p>
                  </a:txBody>
                  <a:tcPr marL="91441" marR="91441" marT="45694" marB="45694"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4003</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6964</a:t>
                      </a:r>
                    </a:p>
                  </a:txBody>
                  <a:tcPr marL="91441" marR="91441" marT="45694" marB="45694"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extLst>
                  <a:ext uri="{0D108BD9-81ED-4DB2-BD59-A6C34878D82A}">
                    <a16:rowId xmlns:a16="http://schemas.microsoft.com/office/drawing/2014/main" val="10005"/>
                  </a:ext>
                </a:extLst>
              </a:tr>
              <a:tr h="1005840">
                <a:tc>
                  <a:txBody>
                    <a:bodyPr/>
                    <a:lstStyle/>
                    <a:p>
                      <a:pPr marL="0" algn="ctr" defTabSz="914400" rtl="0" eaLnBrk="1" latinLnBrk="0" hangingPunct="1"/>
                      <a:r>
                        <a:rPr lang="en-IN" sz="1400" b="0" kern="1200" dirty="0">
                          <a:solidFill>
                            <a:schemeClr val="bg1"/>
                          </a:solidFill>
                          <a:latin typeface="Gotham Medium" panose="02000603030000020004" pitchFamily="2" charset="0"/>
                          <a:ea typeface="+mn-ea"/>
                          <a:cs typeface="+mn-cs"/>
                        </a:rPr>
                        <a:t>GCEK</a:t>
                      </a:r>
                    </a:p>
                  </a:txBody>
                  <a:tcPr marL="91441" marR="91441" marT="45694" marB="45694" anchor="ctr">
                    <a:solidFill>
                      <a:schemeClr val="tx1">
                        <a:lumMod val="50000"/>
                        <a:lumOff val="50000"/>
                      </a:schemeClr>
                    </a:solidFill>
                  </a:tcP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0750</a:t>
                      </a:r>
                    </a:p>
                  </a:txBody>
                  <a:tcPr marL="91441" marR="91441" marT="45694" marB="45694"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4748</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10923</a:t>
                      </a:r>
                    </a:p>
                  </a:txBody>
                  <a:tcPr marL="91441" marR="91441" marT="45694" marB="45694"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9617</a:t>
                      </a:r>
                    </a:p>
                  </a:txBody>
                  <a:tcPr marL="91441" marR="91441" marT="45694" marB="45694" anchor="ctr"/>
                </a:tc>
                <a:tc>
                  <a:txBody>
                    <a:bodyPr/>
                    <a:lstStyle/>
                    <a:p>
                      <a:pPr marL="0" algn="ctr" defTabSz="914400" rtl="0" eaLnBrk="1" latinLnBrk="0" hangingPunct="1"/>
                      <a:r>
                        <a:rPr lang="en-IN" sz="1800" b="0" kern="1200" dirty="0">
                          <a:solidFill>
                            <a:schemeClr val="tx1"/>
                          </a:solidFill>
                          <a:latin typeface="Gotham Medium" panose="02000603030000020004" pitchFamily="2" charset="0"/>
                          <a:ea typeface="+mn-ea"/>
                          <a:cs typeface="Times New Roman" pitchFamily="18" charset="0"/>
                        </a:rPr>
                        <a:t>8896</a:t>
                      </a:r>
                    </a:p>
                  </a:txBody>
                  <a:tcPr marL="91441" marR="91441" marT="45694" marB="45694" anchor="ctr"/>
                </a:tc>
                <a:tc>
                  <a:txBody>
                    <a:bodyPr/>
                    <a:lstStyle/>
                    <a:p>
                      <a:pPr marL="0" algn="ctr" defTabSz="914400" rtl="0" eaLnBrk="1" latinLnBrk="0" hangingPunct="1"/>
                      <a:endParaRPr lang="en-IN" sz="1800" b="0" kern="1200" dirty="0">
                        <a:solidFill>
                          <a:schemeClr val="tx1"/>
                        </a:solidFill>
                        <a:latin typeface="Gotham Medium" panose="02000603030000020004" pitchFamily="2" charset="0"/>
                        <a:ea typeface="+mn-ea"/>
                        <a:cs typeface="Times New Roman" pitchFamily="18" charset="0"/>
                      </a:endParaRPr>
                    </a:p>
                  </a:txBody>
                  <a:tcPr marL="91441" marR="91441" marT="45694" marB="45694"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856241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77" descr="Presentations background 3D model - TurboSquid 1163407">
            <a:extLst>
              <a:ext uri="{FF2B5EF4-FFF2-40B4-BE49-F238E27FC236}">
                <a16:creationId xmlns:a16="http://schemas.microsoft.com/office/drawing/2014/main" id="{44A13AC6-2942-4292-BF93-9BD433869529}"/>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0" y="-1"/>
            <a:ext cx="9142412" cy="51435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6BAE015D-47D1-4E48-8E90-3697142C75CA}"/>
              </a:ext>
            </a:extLst>
          </p:cNvPr>
          <p:cNvSpPr/>
          <p:nvPr/>
        </p:nvSpPr>
        <p:spPr>
          <a:xfrm>
            <a:off x="2057400" y="1872476"/>
            <a:ext cx="7086600" cy="1496146"/>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grpSp>
        <p:nvGrpSpPr>
          <p:cNvPr id="2" name="Group 1">
            <a:extLst>
              <a:ext uri="{FF2B5EF4-FFF2-40B4-BE49-F238E27FC236}">
                <a16:creationId xmlns:a16="http://schemas.microsoft.com/office/drawing/2014/main" id="{54EEDD90-704E-4878-AF8D-68076816A27C}"/>
              </a:ext>
            </a:extLst>
          </p:cNvPr>
          <p:cNvGrpSpPr/>
          <p:nvPr/>
        </p:nvGrpSpPr>
        <p:grpSpPr>
          <a:xfrm>
            <a:off x="268941" y="742950"/>
            <a:ext cx="2438400" cy="3496230"/>
            <a:chOff x="457200" y="590550"/>
            <a:chExt cx="2979057" cy="4182030"/>
          </a:xfrm>
        </p:grpSpPr>
        <p:sp>
          <p:nvSpPr>
            <p:cNvPr id="12" name="Freeform: Shape 11">
              <a:extLst>
                <a:ext uri="{FF2B5EF4-FFF2-40B4-BE49-F238E27FC236}">
                  <a16:creationId xmlns:a16="http://schemas.microsoft.com/office/drawing/2014/main" id="{07097967-BC15-498E-939C-AE11970C5D94}"/>
                </a:ext>
              </a:extLst>
            </p:cNvPr>
            <p:cNvSpPr>
              <a:spLocks/>
            </p:cNvSpPr>
            <p:nvPr/>
          </p:nvSpPr>
          <p:spPr bwMode="auto">
            <a:xfrm rot="410959" flipH="1">
              <a:off x="794188" y="1474662"/>
              <a:ext cx="2305082" cy="3297918"/>
            </a:xfrm>
            <a:custGeom>
              <a:avLst/>
              <a:gdLst>
                <a:gd name="connsiteX0" fmla="*/ 1696267 w 2854049"/>
                <a:gd name="connsiteY0" fmla="*/ 3431657 h 4135471"/>
                <a:gd name="connsiteX1" fmla="*/ 1344360 w 2854049"/>
                <a:gd name="connsiteY1" fmla="*/ 3783564 h 4135471"/>
                <a:gd name="connsiteX2" fmla="*/ 1696267 w 2854049"/>
                <a:gd name="connsiteY2" fmla="*/ 4135471 h 4135471"/>
                <a:gd name="connsiteX3" fmla="*/ 2048174 w 2854049"/>
                <a:gd name="connsiteY3" fmla="*/ 3783564 h 4135471"/>
                <a:gd name="connsiteX4" fmla="*/ 1696267 w 2854049"/>
                <a:gd name="connsiteY4" fmla="*/ 3431657 h 4135471"/>
                <a:gd name="connsiteX5" fmla="*/ 1470680 w 2854049"/>
                <a:gd name="connsiteY5" fmla="*/ 0 h 4135471"/>
                <a:gd name="connsiteX6" fmla="*/ 1360088 w 2854049"/>
                <a:gd name="connsiteY6" fmla="*/ 9020 h 4135471"/>
                <a:gd name="connsiteX7" fmla="*/ 1082638 w 2854049"/>
                <a:gd name="connsiteY7" fmla="*/ 72152 h 4135471"/>
                <a:gd name="connsiteX8" fmla="*/ 1000179 w 2854049"/>
                <a:gd name="connsiteY8" fmla="*/ 103217 h 4135471"/>
                <a:gd name="connsiteX9" fmla="*/ 918691 w 2854049"/>
                <a:gd name="connsiteY9" fmla="*/ 138291 h 4135471"/>
                <a:gd name="connsiteX10" fmla="*/ 839141 w 2854049"/>
                <a:gd name="connsiteY10" fmla="*/ 180379 h 4135471"/>
                <a:gd name="connsiteX11" fmla="*/ 765414 w 2854049"/>
                <a:gd name="connsiteY11" fmla="*/ 227479 h 4135471"/>
                <a:gd name="connsiteX12" fmla="*/ 694595 w 2854049"/>
                <a:gd name="connsiteY12" fmla="*/ 280591 h 4135471"/>
                <a:gd name="connsiteX13" fmla="*/ 629599 w 2854049"/>
                <a:gd name="connsiteY13" fmla="*/ 338714 h 4135471"/>
                <a:gd name="connsiteX14" fmla="*/ 569452 w 2854049"/>
                <a:gd name="connsiteY14" fmla="*/ 401847 h 4135471"/>
                <a:gd name="connsiteX15" fmla="*/ 515126 w 2854049"/>
                <a:gd name="connsiteY15" fmla="*/ 470992 h 4135471"/>
                <a:gd name="connsiteX16" fmla="*/ 467591 w 2854049"/>
                <a:gd name="connsiteY16" fmla="*/ 544147 h 4135471"/>
                <a:gd name="connsiteX17" fmla="*/ 426847 w 2854049"/>
                <a:gd name="connsiteY17" fmla="*/ 622311 h 4135471"/>
                <a:gd name="connsiteX18" fmla="*/ 392893 w 2854049"/>
                <a:gd name="connsiteY18" fmla="*/ 706488 h 4135471"/>
                <a:gd name="connsiteX19" fmla="*/ 338568 w 2854049"/>
                <a:gd name="connsiteY19" fmla="*/ 937976 h 4135471"/>
                <a:gd name="connsiteX20" fmla="*/ 333717 w 2854049"/>
                <a:gd name="connsiteY20" fmla="*/ 994094 h 4135471"/>
                <a:gd name="connsiteX21" fmla="*/ 331776 w 2854049"/>
                <a:gd name="connsiteY21" fmla="*/ 1047206 h 4135471"/>
                <a:gd name="connsiteX22" fmla="*/ 333717 w 2854049"/>
                <a:gd name="connsiteY22" fmla="*/ 1096308 h 4135471"/>
                <a:gd name="connsiteX23" fmla="*/ 334686 w 2854049"/>
                <a:gd name="connsiteY23" fmla="*/ 1145413 h 4135471"/>
                <a:gd name="connsiteX24" fmla="*/ 334686 w 2854049"/>
                <a:gd name="connsiteY24" fmla="*/ 1191509 h 4135471"/>
                <a:gd name="connsiteX25" fmla="*/ 329836 w 2854049"/>
                <a:gd name="connsiteY25" fmla="*/ 1234599 h 4135471"/>
                <a:gd name="connsiteX26" fmla="*/ 315284 w 2854049"/>
                <a:gd name="connsiteY26" fmla="*/ 1278693 h 4135471"/>
                <a:gd name="connsiteX27" fmla="*/ 289092 w 2854049"/>
                <a:gd name="connsiteY27" fmla="*/ 1331805 h 4135471"/>
                <a:gd name="connsiteX28" fmla="*/ 257078 w 2854049"/>
                <a:gd name="connsiteY28" fmla="*/ 1380908 h 4135471"/>
                <a:gd name="connsiteX29" fmla="*/ 222155 w 2854049"/>
                <a:gd name="connsiteY29" fmla="*/ 1423998 h 4135471"/>
                <a:gd name="connsiteX30" fmla="*/ 185291 w 2854049"/>
                <a:gd name="connsiteY30" fmla="*/ 1468092 h 4135471"/>
                <a:gd name="connsiteX31" fmla="*/ 146487 w 2854049"/>
                <a:gd name="connsiteY31" fmla="*/ 1508176 h 4135471"/>
                <a:gd name="connsiteX32" fmla="*/ 107683 w 2854049"/>
                <a:gd name="connsiteY32" fmla="*/ 1548261 h 4135471"/>
                <a:gd name="connsiteX33" fmla="*/ 70819 w 2854049"/>
                <a:gd name="connsiteY33" fmla="*/ 1592354 h 4135471"/>
                <a:gd name="connsiteX34" fmla="*/ 58206 w 2854049"/>
                <a:gd name="connsiteY34" fmla="*/ 1604378 h 4135471"/>
                <a:gd name="connsiteX35" fmla="*/ 42684 w 2854049"/>
                <a:gd name="connsiteY35" fmla="*/ 1619410 h 4135471"/>
                <a:gd name="connsiteX36" fmla="*/ 26193 w 2854049"/>
                <a:gd name="connsiteY36" fmla="*/ 1637448 h 4135471"/>
                <a:gd name="connsiteX37" fmla="*/ 12611 w 2854049"/>
                <a:gd name="connsiteY37" fmla="*/ 1655486 h 4135471"/>
                <a:gd name="connsiteX38" fmla="*/ 3882 w 2854049"/>
                <a:gd name="connsiteY38" fmla="*/ 1677533 h 4135471"/>
                <a:gd name="connsiteX39" fmla="*/ 0 w 2854049"/>
                <a:gd name="connsiteY39" fmla="*/ 1701583 h 4135471"/>
                <a:gd name="connsiteX40" fmla="*/ 4851 w 2854049"/>
                <a:gd name="connsiteY40" fmla="*/ 1726636 h 4135471"/>
                <a:gd name="connsiteX41" fmla="*/ 17462 w 2854049"/>
                <a:gd name="connsiteY41" fmla="*/ 1750687 h 4135471"/>
                <a:gd name="connsiteX42" fmla="*/ 38806 w 2854049"/>
                <a:gd name="connsiteY42" fmla="*/ 1770728 h 4135471"/>
                <a:gd name="connsiteX43" fmla="*/ 63057 w 2854049"/>
                <a:gd name="connsiteY43" fmla="*/ 1784759 h 4135471"/>
                <a:gd name="connsiteX44" fmla="*/ 93130 w 2854049"/>
                <a:gd name="connsiteY44" fmla="*/ 1797786 h 4135471"/>
                <a:gd name="connsiteX45" fmla="*/ 125143 w 2854049"/>
                <a:gd name="connsiteY45" fmla="*/ 1808809 h 4135471"/>
                <a:gd name="connsiteX46" fmla="*/ 157158 w 2854049"/>
                <a:gd name="connsiteY46" fmla="*/ 1819833 h 4135471"/>
                <a:gd name="connsiteX47" fmla="*/ 188201 w 2854049"/>
                <a:gd name="connsiteY47" fmla="*/ 1830855 h 4135471"/>
                <a:gd name="connsiteX48" fmla="*/ 218273 w 2854049"/>
                <a:gd name="connsiteY48" fmla="*/ 1843883 h 4135471"/>
                <a:gd name="connsiteX49" fmla="*/ 245437 w 2854049"/>
                <a:gd name="connsiteY49" fmla="*/ 1857912 h 4135471"/>
                <a:gd name="connsiteX50" fmla="*/ 264839 w 2854049"/>
                <a:gd name="connsiteY50" fmla="*/ 1875951 h 4135471"/>
                <a:gd name="connsiteX51" fmla="*/ 259018 w 2854049"/>
                <a:gd name="connsiteY51" fmla="*/ 1900001 h 4135471"/>
                <a:gd name="connsiteX52" fmla="*/ 248347 w 2854049"/>
                <a:gd name="connsiteY52" fmla="*/ 1922047 h 4135471"/>
                <a:gd name="connsiteX53" fmla="*/ 237676 w 2854049"/>
                <a:gd name="connsiteY53" fmla="*/ 1945097 h 4135471"/>
                <a:gd name="connsiteX54" fmla="*/ 226035 w 2854049"/>
                <a:gd name="connsiteY54" fmla="*/ 1967142 h 4135471"/>
                <a:gd name="connsiteX55" fmla="*/ 215364 w 2854049"/>
                <a:gd name="connsiteY55" fmla="*/ 1989189 h 4135471"/>
                <a:gd name="connsiteX56" fmla="*/ 207602 w 2854049"/>
                <a:gd name="connsiteY56" fmla="*/ 2011236 h 4135471"/>
                <a:gd name="connsiteX57" fmla="*/ 204693 w 2854049"/>
                <a:gd name="connsiteY57" fmla="*/ 2031277 h 4135471"/>
                <a:gd name="connsiteX58" fmla="*/ 206633 w 2854049"/>
                <a:gd name="connsiteY58" fmla="*/ 2053324 h 4135471"/>
                <a:gd name="connsiteX59" fmla="*/ 217304 w 2854049"/>
                <a:gd name="connsiteY59" fmla="*/ 2073366 h 4135471"/>
                <a:gd name="connsiteX60" fmla="*/ 236706 w 2854049"/>
                <a:gd name="connsiteY60" fmla="*/ 2093409 h 4135471"/>
                <a:gd name="connsiteX61" fmla="*/ 264839 w 2854049"/>
                <a:gd name="connsiteY61" fmla="*/ 2113450 h 4135471"/>
                <a:gd name="connsiteX62" fmla="*/ 259018 w 2854049"/>
                <a:gd name="connsiteY62" fmla="*/ 2129483 h 4135471"/>
                <a:gd name="connsiteX63" fmla="*/ 250288 w 2854049"/>
                <a:gd name="connsiteY63" fmla="*/ 2145517 h 4135471"/>
                <a:gd name="connsiteX64" fmla="*/ 243497 w 2854049"/>
                <a:gd name="connsiteY64" fmla="*/ 2164557 h 4135471"/>
                <a:gd name="connsiteX65" fmla="*/ 241557 w 2854049"/>
                <a:gd name="connsiteY65" fmla="*/ 2184601 h 4135471"/>
                <a:gd name="connsiteX66" fmla="*/ 245437 w 2854049"/>
                <a:gd name="connsiteY66" fmla="*/ 2204642 h 4135471"/>
                <a:gd name="connsiteX67" fmla="*/ 256109 w 2854049"/>
                <a:gd name="connsiteY67" fmla="*/ 2222680 h 4135471"/>
                <a:gd name="connsiteX68" fmla="*/ 269690 w 2854049"/>
                <a:gd name="connsiteY68" fmla="*/ 2236709 h 4135471"/>
                <a:gd name="connsiteX69" fmla="*/ 287151 w 2854049"/>
                <a:gd name="connsiteY69" fmla="*/ 2249737 h 4135471"/>
                <a:gd name="connsiteX70" fmla="*/ 304613 w 2854049"/>
                <a:gd name="connsiteY70" fmla="*/ 2258756 h 4135471"/>
                <a:gd name="connsiteX71" fmla="*/ 321105 w 2854049"/>
                <a:gd name="connsiteY71" fmla="*/ 2269780 h 4135471"/>
                <a:gd name="connsiteX72" fmla="*/ 336627 w 2854049"/>
                <a:gd name="connsiteY72" fmla="*/ 2284810 h 4135471"/>
                <a:gd name="connsiteX73" fmla="*/ 345358 w 2854049"/>
                <a:gd name="connsiteY73" fmla="*/ 2300845 h 4135471"/>
                <a:gd name="connsiteX74" fmla="*/ 354089 w 2854049"/>
                <a:gd name="connsiteY74" fmla="*/ 2329906 h 4135471"/>
                <a:gd name="connsiteX75" fmla="*/ 354089 w 2854049"/>
                <a:gd name="connsiteY75" fmla="*/ 2362976 h 4135471"/>
                <a:gd name="connsiteX76" fmla="*/ 351179 w 2854049"/>
                <a:gd name="connsiteY76" fmla="*/ 2394041 h 4135471"/>
                <a:gd name="connsiteX77" fmla="*/ 343417 w 2854049"/>
                <a:gd name="connsiteY77" fmla="*/ 2426108 h 4135471"/>
                <a:gd name="connsiteX78" fmla="*/ 336627 w 2854049"/>
                <a:gd name="connsiteY78" fmla="*/ 2457173 h 4135471"/>
                <a:gd name="connsiteX79" fmla="*/ 331776 w 2854049"/>
                <a:gd name="connsiteY79" fmla="*/ 2485233 h 4135471"/>
                <a:gd name="connsiteX80" fmla="*/ 327896 w 2854049"/>
                <a:gd name="connsiteY80" fmla="*/ 2525318 h 4135471"/>
                <a:gd name="connsiteX81" fmla="*/ 331776 w 2854049"/>
                <a:gd name="connsiteY81" fmla="*/ 2561393 h 4135471"/>
                <a:gd name="connsiteX82" fmla="*/ 342447 w 2854049"/>
                <a:gd name="connsiteY82" fmla="*/ 2594464 h 4135471"/>
                <a:gd name="connsiteX83" fmla="*/ 356029 w 2854049"/>
                <a:gd name="connsiteY83" fmla="*/ 2623524 h 4135471"/>
                <a:gd name="connsiteX84" fmla="*/ 375432 w 2854049"/>
                <a:gd name="connsiteY84" fmla="*/ 2646572 h 4135471"/>
                <a:gd name="connsiteX85" fmla="*/ 400654 w 2854049"/>
                <a:gd name="connsiteY85" fmla="*/ 2668619 h 4135471"/>
                <a:gd name="connsiteX86" fmla="*/ 424906 w 2854049"/>
                <a:gd name="connsiteY86" fmla="*/ 2686657 h 4135471"/>
                <a:gd name="connsiteX87" fmla="*/ 453040 w 2854049"/>
                <a:gd name="connsiteY87" fmla="*/ 2701688 h 4135471"/>
                <a:gd name="connsiteX88" fmla="*/ 481173 w 2854049"/>
                <a:gd name="connsiteY88" fmla="*/ 2714717 h 4135471"/>
                <a:gd name="connsiteX89" fmla="*/ 509306 w 2854049"/>
                <a:gd name="connsiteY89" fmla="*/ 2721731 h 4135471"/>
                <a:gd name="connsiteX90" fmla="*/ 560721 w 2854049"/>
                <a:gd name="connsiteY90" fmla="*/ 2730751 h 4135471"/>
                <a:gd name="connsiteX91" fmla="*/ 615047 w 2854049"/>
                <a:gd name="connsiteY91" fmla="*/ 2734758 h 4135471"/>
                <a:gd name="connsiteX92" fmla="*/ 672284 w 2854049"/>
                <a:gd name="connsiteY92" fmla="*/ 2732755 h 4135471"/>
                <a:gd name="connsiteX93" fmla="*/ 728550 w 2854049"/>
                <a:gd name="connsiteY93" fmla="*/ 2726742 h 4135471"/>
                <a:gd name="connsiteX94" fmla="*/ 784816 w 2854049"/>
                <a:gd name="connsiteY94" fmla="*/ 2719726 h 4135471"/>
                <a:gd name="connsiteX95" fmla="*/ 838171 w 2854049"/>
                <a:gd name="connsiteY95" fmla="*/ 2708704 h 4135471"/>
                <a:gd name="connsiteX96" fmla="*/ 885706 w 2854049"/>
                <a:gd name="connsiteY96" fmla="*/ 2695677 h 4135471"/>
                <a:gd name="connsiteX97" fmla="*/ 927421 w 2854049"/>
                <a:gd name="connsiteY97" fmla="*/ 2681646 h 4135471"/>
                <a:gd name="connsiteX98" fmla="*/ 944882 w 2854049"/>
                <a:gd name="connsiteY98" fmla="*/ 2675633 h 4135471"/>
                <a:gd name="connsiteX99" fmla="*/ 968165 w 2854049"/>
                <a:gd name="connsiteY99" fmla="*/ 2668619 h 4135471"/>
                <a:gd name="connsiteX100" fmla="*/ 993388 w 2854049"/>
                <a:gd name="connsiteY100" fmla="*/ 2661605 h 4135471"/>
                <a:gd name="connsiteX101" fmla="*/ 1019581 w 2854049"/>
                <a:gd name="connsiteY101" fmla="*/ 2654590 h 4135471"/>
                <a:gd name="connsiteX102" fmla="*/ 1047714 w 2854049"/>
                <a:gd name="connsiteY102" fmla="*/ 2650582 h 4135471"/>
                <a:gd name="connsiteX103" fmla="*/ 1075847 w 2854049"/>
                <a:gd name="connsiteY103" fmla="*/ 2648577 h 4135471"/>
                <a:gd name="connsiteX104" fmla="*/ 1100100 w 2854049"/>
                <a:gd name="connsiteY104" fmla="*/ 2652585 h 4135471"/>
                <a:gd name="connsiteX105" fmla="*/ 1121442 w 2854049"/>
                <a:gd name="connsiteY105" fmla="*/ 2661605 h 4135471"/>
                <a:gd name="connsiteX106" fmla="*/ 1140844 w 2854049"/>
                <a:gd name="connsiteY106" fmla="*/ 2679643 h 4135471"/>
                <a:gd name="connsiteX107" fmla="*/ 1158306 w 2854049"/>
                <a:gd name="connsiteY107" fmla="*/ 2708704 h 4135471"/>
                <a:gd name="connsiteX108" fmla="*/ 1174797 w 2854049"/>
                <a:gd name="connsiteY108" fmla="*/ 2745782 h 4135471"/>
                <a:gd name="connsiteX109" fmla="*/ 1190319 w 2854049"/>
                <a:gd name="connsiteY109" fmla="*/ 2788872 h 4135471"/>
                <a:gd name="connsiteX110" fmla="*/ 1202931 w 2854049"/>
                <a:gd name="connsiteY110" fmla="*/ 2837975 h 4135471"/>
                <a:gd name="connsiteX111" fmla="*/ 1215541 w 2854049"/>
                <a:gd name="connsiteY111" fmla="*/ 2889083 h 4135471"/>
                <a:gd name="connsiteX112" fmla="*/ 1226212 w 2854049"/>
                <a:gd name="connsiteY112" fmla="*/ 2942195 h 4135471"/>
                <a:gd name="connsiteX113" fmla="*/ 1235914 w 2854049"/>
                <a:gd name="connsiteY113" fmla="*/ 2996309 h 4135471"/>
                <a:gd name="connsiteX114" fmla="*/ 1245616 w 2854049"/>
                <a:gd name="connsiteY114" fmla="*/ 3049421 h 4135471"/>
                <a:gd name="connsiteX115" fmla="*/ 1252407 w 2854049"/>
                <a:gd name="connsiteY115" fmla="*/ 3098524 h 4135471"/>
                <a:gd name="connsiteX116" fmla="*/ 1261138 w 2854049"/>
                <a:gd name="connsiteY116" fmla="*/ 3144621 h 4135471"/>
                <a:gd name="connsiteX117" fmla="*/ 1267927 w 2854049"/>
                <a:gd name="connsiteY117" fmla="*/ 3182701 h 4135471"/>
                <a:gd name="connsiteX118" fmla="*/ 1273749 w 2854049"/>
                <a:gd name="connsiteY118" fmla="*/ 3215771 h 4135471"/>
                <a:gd name="connsiteX119" fmla="*/ 1405683 w 2854049"/>
                <a:gd name="connsiteY119" fmla="*/ 3238820 h 4135471"/>
                <a:gd name="connsiteX120" fmla="*/ 1539558 w 2854049"/>
                <a:gd name="connsiteY120" fmla="*/ 3251847 h 4135471"/>
                <a:gd name="connsiteX121" fmla="*/ 1677312 w 2854049"/>
                <a:gd name="connsiteY121" fmla="*/ 3253851 h 4135471"/>
                <a:gd name="connsiteX122" fmla="*/ 1817977 w 2854049"/>
                <a:gd name="connsiteY122" fmla="*/ 3246837 h 4135471"/>
                <a:gd name="connsiteX123" fmla="*/ 1963493 w 2854049"/>
                <a:gd name="connsiteY123" fmla="*/ 3226793 h 4135471"/>
                <a:gd name="connsiteX124" fmla="*/ 1998071 w 2854049"/>
                <a:gd name="connsiteY124" fmla="*/ 3220300 h 4135471"/>
                <a:gd name="connsiteX125" fmla="*/ 1972544 w 2854049"/>
                <a:gd name="connsiteY125" fmla="*/ 2990832 h 4135471"/>
                <a:gd name="connsiteX126" fmla="*/ 1866104 w 2854049"/>
                <a:gd name="connsiteY126" fmla="*/ 2529483 h 4135471"/>
                <a:gd name="connsiteX127" fmla="*/ 1085631 w 2854049"/>
                <a:gd name="connsiteY127" fmla="*/ 1773024 h 4135471"/>
                <a:gd name="connsiteX128" fmla="*/ 1277747 w 2854049"/>
                <a:gd name="connsiteY128" fmla="*/ 968535 h 4135471"/>
                <a:gd name="connsiteX129" fmla="*/ 1914134 w 2854049"/>
                <a:gd name="connsiteY129" fmla="*/ 872477 h 4135471"/>
                <a:gd name="connsiteX130" fmla="*/ 2334389 w 2854049"/>
                <a:gd name="connsiteY130" fmla="*/ 1316747 h 4135471"/>
                <a:gd name="connsiteX131" fmla="*/ 2850702 w 2854049"/>
                <a:gd name="connsiteY131" fmla="*/ 1256710 h 4135471"/>
                <a:gd name="connsiteX132" fmla="*/ 2851858 w 2854049"/>
                <a:gd name="connsiteY132" fmla="*/ 1288484 h 4135471"/>
                <a:gd name="connsiteX133" fmla="*/ 2854049 w 2854049"/>
                <a:gd name="connsiteY133" fmla="*/ 1252639 h 4135471"/>
                <a:gd name="connsiteX134" fmla="*/ 2852109 w 2854049"/>
                <a:gd name="connsiteY134" fmla="*/ 1156435 h 4135471"/>
                <a:gd name="connsiteX135" fmla="*/ 2845318 w 2854049"/>
                <a:gd name="connsiteY135" fmla="*/ 1062236 h 4135471"/>
                <a:gd name="connsiteX136" fmla="*/ 2830767 w 2854049"/>
                <a:gd name="connsiteY136" fmla="*/ 971045 h 4135471"/>
                <a:gd name="connsiteX137" fmla="*/ 2811365 w 2854049"/>
                <a:gd name="connsiteY137" fmla="*/ 881857 h 4135471"/>
                <a:gd name="connsiteX138" fmla="*/ 2787112 w 2854049"/>
                <a:gd name="connsiteY138" fmla="*/ 799684 h 4135471"/>
                <a:gd name="connsiteX139" fmla="*/ 2759950 w 2854049"/>
                <a:gd name="connsiteY139" fmla="*/ 724526 h 4135471"/>
                <a:gd name="connsiteX140" fmla="*/ 2728906 w 2854049"/>
                <a:gd name="connsiteY140" fmla="*/ 657385 h 4135471"/>
                <a:gd name="connsiteX141" fmla="*/ 2682340 w 2854049"/>
                <a:gd name="connsiteY141" fmla="*/ 577215 h 4135471"/>
                <a:gd name="connsiteX142" fmla="*/ 2631895 w 2854049"/>
                <a:gd name="connsiteY142" fmla="*/ 501055 h 4135471"/>
                <a:gd name="connsiteX143" fmla="*/ 2574659 w 2854049"/>
                <a:gd name="connsiteY143" fmla="*/ 429907 h 4135471"/>
                <a:gd name="connsiteX144" fmla="*/ 2513543 w 2854049"/>
                <a:gd name="connsiteY144" fmla="*/ 361762 h 4135471"/>
                <a:gd name="connsiteX145" fmla="*/ 2446606 w 2854049"/>
                <a:gd name="connsiteY145" fmla="*/ 300634 h 4135471"/>
                <a:gd name="connsiteX146" fmla="*/ 2371907 w 2854049"/>
                <a:gd name="connsiteY146" fmla="*/ 243513 h 4135471"/>
                <a:gd name="connsiteX147" fmla="*/ 2294299 w 2854049"/>
                <a:gd name="connsiteY147" fmla="*/ 192406 h 4135471"/>
                <a:gd name="connsiteX148" fmla="*/ 2211840 w 2854049"/>
                <a:gd name="connsiteY148" fmla="*/ 147311 h 4135471"/>
                <a:gd name="connsiteX149" fmla="*/ 2121620 w 2854049"/>
                <a:gd name="connsiteY149" fmla="*/ 109230 h 4135471"/>
                <a:gd name="connsiteX150" fmla="*/ 2028490 w 2854049"/>
                <a:gd name="connsiteY150" fmla="*/ 74157 h 4135471"/>
                <a:gd name="connsiteX151" fmla="*/ 1927599 w 2854049"/>
                <a:gd name="connsiteY151" fmla="*/ 47099 h 4135471"/>
                <a:gd name="connsiteX152" fmla="*/ 1821858 w 2854049"/>
                <a:gd name="connsiteY152" fmla="*/ 25053 h 4135471"/>
                <a:gd name="connsiteX153" fmla="*/ 1711265 w 2854049"/>
                <a:gd name="connsiteY153" fmla="*/ 10021 h 4135471"/>
                <a:gd name="connsiteX154" fmla="*/ 1594853 w 2854049"/>
                <a:gd name="connsiteY154" fmla="*/ 1002 h 413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854049" h="4135471">
                  <a:moveTo>
                    <a:pt x="1696267" y="3431657"/>
                  </a:moveTo>
                  <a:cubicBezTo>
                    <a:pt x="1501914" y="3431657"/>
                    <a:pt x="1344360" y="3589211"/>
                    <a:pt x="1344360" y="3783564"/>
                  </a:cubicBezTo>
                  <a:cubicBezTo>
                    <a:pt x="1344360" y="3977917"/>
                    <a:pt x="1501914" y="4135471"/>
                    <a:pt x="1696267" y="4135471"/>
                  </a:cubicBezTo>
                  <a:cubicBezTo>
                    <a:pt x="1890620" y="4135471"/>
                    <a:pt x="2048174" y="3977917"/>
                    <a:pt x="2048174" y="3783564"/>
                  </a:cubicBezTo>
                  <a:cubicBezTo>
                    <a:pt x="2048174" y="3589211"/>
                    <a:pt x="1890620" y="3431657"/>
                    <a:pt x="1696267" y="3431657"/>
                  </a:cubicBezTo>
                  <a:close/>
                  <a:moveTo>
                    <a:pt x="1470680" y="0"/>
                  </a:moveTo>
                  <a:lnTo>
                    <a:pt x="1360088" y="9020"/>
                  </a:lnTo>
                  <a:lnTo>
                    <a:pt x="1082638" y="72152"/>
                  </a:lnTo>
                  <a:lnTo>
                    <a:pt x="1000179" y="103217"/>
                  </a:lnTo>
                  <a:lnTo>
                    <a:pt x="918691" y="138291"/>
                  </a:lnTo>
                  <a:lnTo>
                    <a:pt x="839141" y="180379"/>
                  </a:lnTo>
                  <a:lnTo>
                    <a:pt x="765414" y="227479"/>
                  </a:lnTo>
                  <a:lnTo>
                    <a:pt x="694595" y="280591"/>
                  </a:lnTo>
                  <a:lnTo>
                    <a:pt x="629599" y="338714"/>
                  </a:lnTo>
                  <a:lnTo>
                    <a:pt x="569452" y="401847"/>
                  </a:lnTo>
                  <a:lnTo>
                    <a:pt x="515126" y="470992"/>
                  </a:lnTo>
                  <a:lnTo>
                    <a:pt x="467591" y="544147"/>
                  </a:lnTo>
                  <a:lnTo>
                    <a:pt x="426847" y="622311"/>
                  </a:lnTo>
                  <a:lnTo>
                    <a:pt x="392893" y="706488"/>
                  </a:lnTo>
                  <a:lnTo>
                    <a:pt x="338568" y="937976"/>
                  </a:lnTo>
                  <a:lnTo>
                    <a:pt x="333717" y="994094"/>
                  </a:lnTo>
                  <a:lnTo>
                    <a:pt x="331776" y="1047206"/>
                  </a:lnTo>
                  <a:lnTo>
                    <a:pt x="333717" y="1096308"/>
                  </a:lnTo>
                  <a:lnTo>
                    <a:pt x="334686" y="1145413"/>
                  </a:lnTo>
                  <a:lnTo>
                    <a:pt x="334686" y="1191509"/>
                  </a:lnTo>
                  <a:lnTo>
                    <a:pt x="329836" y="1234599"/>
                  </a:lnTo>
                  <a:lnTo>
                    <a:pt x="315284" y="1278693"/>
                  </a:lnTo>
                  <a:lnTo>
                    <a:pt x="289092" y="1331805"/>
                  </a:lnTo>
                  <a:lnTo>
                    <a:pt x="257078" y="1380908"/>
                  </a:lnTo>
                  <a:lnTo>
                    <a:pt x="222155" y="1423998"/>
                  </a:lnTo>
                  <a:lnTo>
                    <a:pt x="185291" y="1468092"/>
                  </a:lnTo>
                  <a:lnTo>
                    <a:pt x="146487" y="1508176"/>
                  </a:lnTo>
                  <a:lnTo>
                    <a:pt x="107683" y="1548261"/>
                  </a:lnTo>
                  <a:lnTo>
                    <a:pt x="70819" y="1592354"/>
                  </a:lnTo>
                  <a:lnTo>
                    <a:pt x="58206" y="1604378"/>
                  </a:lnTo>
                  <a:lnTo>
                    <a:pt x="42684" y="1619410"/>
                  </a:lnTo>
                  <a:lnTo>
                    <a:pt x="26193" y="1637448"/>
                  </a:lnTo>
                  <a:lnTo>
                    <a:pt x="12611" y="1655486"/>
                  </a:lnTo>
                  <a:lnTo>
                    <a:pt x="3882" y="1677533"/>
                  </a:lnTo>
                  <a:lnTo>
                    <a:pt x="0" y="1701583"/>
                  </a:lnTo>
                  <a:lnTo>
                    <a:pt x="4851" y="1726636"/>
                  </a:lnTo>
                  <a:lnTo>
                    <a:pt x="17462" y="1750687"/>
                  </a:lnTo>
                  <a:lnTo>
                    <a:pt x="38806" y="1770728"/>
                  </a:lnTo>
                  <a:lnTo>
                    <a:pt x="63057" y="1784759"/>
                  </a:lnTo>
                  <a:lnTo>
                    <a:pt x="93130" y="1797786"/>
                  </a:lnTo>
                  <a:lnTo>
                    <a:pt x="125143" y="1808809"/>
                  </a:lnTo>
                  <a:lnTo>
                    <a:pt x="157158" y="1819833"/>
                  </a:lnTo>
                  <a:lnTo>
                    <a:pt x="188201" y="1830855"/>
                  </a:lnTo>
                  <a:lnTo>
                    <a:pt x="218273" y="1843883"/>
                  </a:lnTo>
                  <a:lnTo>
                    <a:pt x="245437" y="1857912"/>
                  </a:lnTo>
                  <a:lnTo>
                    <a:pt x="264839" y="1875951"/>
                  </a:lnTo>
                  <a:lnTo>
                    <a:pt x="259018" y="1900001"/>
                  </a:lnTo>
                  <a:lnTo>
                    <a:pt x="248347" y="1922047"/>
                  </a:lnTo>
                  <a:lnTo>
                    <a:pt x="237676" y="1945097"/>
                  </a:lnTo>
                  <a:lnTo>
                    <a:pt x="226035" y="1967142"/>
                  </a:lnTo>
                  <a:lnTo>
                    <a:pt x="215364" y="1989189"/>
                  </a:lnTo>
                  <a:lnTo>
                    <a:pt x="207602" y="2011236"/>
                  </a:lnTo>
                  <a:lnTo>
                    <a:pt x="204693" y="2031277"/>
                  </a:lnTo>
                  <a:lnTo>
                    <a:pt x="206633" y="2053324"/>
                  </a:lnTo>
                  <a:lnTo>
                    <a:pt x="217304" y="2073366"/>
                  </a:lnTo>
                  <a:lnTo>
                    <a:pt x="236706" y="2093409"/>
                  </a:lnTo>
                  <a:lnTo>
                    <a:pt x="264839" y="2113450"/>
                  </a:lnTo>
                  <a:lnTo>
                    <a:pt x="259018" y="2129483"/>
                  </a:lnTo>
                  <a:lnTo>
                    <a:pt x="250288" y="2145517"/>
                  </a:lnTo>
                  <a:lnTo>
                    <a:pt x="243497" y="2164557"/>
                  </a:lnTo>
                  <a:lnTo>
                    <a:pt x="241557" y="2184601"/>
                  </a:lnTo>
                  <a:lnTo>
                    <a:pt x="245437" y="2204642"/>
                  </a:lnTo>
                  <a:lnTo>
                    <a:pt x="256109" y="2222680"/>
                  </a:lnTo>
                  <a:lnTo>
                    <a:pt x="269690" y="2236709"/>
                  </a:lnTo>
                  <a:lnTo>
                    <a:pt x="287151" y="2249737"/>
                  </a:lnTo>
                  <a:lnTo>
                    <a:pt x="304613" y="2258756"/>
                  </a:lnTo>
                  <a:lnTo>
                    <a:pt x="321105" y="2269780"/>
                  </a:lnTo>
                  <a:lnTo>
                    <a:pt x="336627" y="2284810"/>
                  </a:lnTo>
                  <a:lnTo>
                    <a:pt x="345358" y="2300845"/>
                  </a:lnTo>
                  <a:lnTo>
                    <a:pt x="354089" y="2329906"/>
                  </a:lnTo>
                  <a:lnTo>
                    <a:pt x="354089" y="2362976"/>
                  </a:lnTo>
                  <a:lnTo>
                    <a:pt x="351179" y="2394041"/>
                  </a:lnTo>
                  <a:lnTo>
                    <a:pt x="343417" y="2426108"/>
                  </a:lnTo>
                  <a:lnTo>
                    <a:pt x="336627" y="2457173"/>
                  </a:lnTo>
                  <a:lnTo>
                    <a:pt x="331776" y="2485233"/>
                  </a:lnTo>
                  <a:lnTo>
                    <a:pt x="327896" y="2525318"/>
                  </a:lnTo>
                  <a:lnTo>
                    <a:pt x="331776" y="2561393"/>
                  </a:lnTo>
                  <a:lnTo>
                    <a:pt x="342447" y="2594464"/>
                  </a:lnTo>
                  <a:lnTo>
                    <a:pt x="356029" y="2623524"/>
                  </a:lnTo>
                  <a:lnTo>
                    <a:pt x="375432" y="2646572"/>
                  </a:lnTo>
                  <a:lnTo>
                    <a:pt x="400654" y="2668619"/>
                  </a:lnTo>
                  <a:lnTo>
                    <a:pt x="424906" y="2686657"/>
                  </a:lnTo>
                  <a:lnTo>
                    <a:pt x="453040" y="2701688"/>
                  </a:lnTo>
                  <a:lnTo>
                    <a:pt x="481173" y="2714717"/>
                  </a:lnTo>
                  <a:lnTo>
                    <a:pt x="509306" y="2721731"/>
                  </a:lnTo>
                  <a:lnTo>
                    <a:pt x="560721" y="2730751"/>
                  </a:lnTo>
                  <a:lnTo>
                    <a:pt x="615047" y="2734758"/>
                  </a:lnTo>
                  <a:lnTo>
                    <a:pt x="672284" y="2732755"/>
                  </a:lnTo>
                  <a:lnTo>
                    <a:pt x="728550" y="2726742"/>
                  </a:lnTo>
                  <a:lnTo>
                    <a:pt x="784816" y="2719726"/>
                  </a:lnTo>
                  <a:lnTo>
                    <a:pt x="838171" y="2708704"/>
                  </a:lnTo>
                  <a:lnTo>
                    <a:pt x="885706" y="2695677"/>
                  </a:lnTo>
                  <a:lnTo>
                    <a:pt x="927421" y="2681646"/>
                  </a:lnTo>
                  <a:lnTo>
                    <a:pt x="944882" y="2675633"/>
                  </a:lnTo>
                  <a:lnTo>
                    <a:pt x="968165" y="2668619"/>
                  </a:lnTo>
                  <a:lnTo>
                    <a:pt x="993388" y="2661605"/>
                  </a:lnTo>
                  <a:lnTo>
                    <a:pt x="1019581" y="2654590"/>
                  </a:lnTo>
                  <a:lnTo>
                    <a:pt x="1047714" y="2650582"/>
                  </a:lnTo>
                  <a:lnTo>
                    <a:pt x="1075847" y="2648577"/>
                  </a:lnTo>
                  <a:lnTo>
                    <a:pt x="1100100" y="2652585"/>
                  </a:lnTo>
                  <a:lnTo>
                    <a:pt x="1121442" y="2661605"/>
                  </a:lnTo>
                  <a:lnTo>
                    <a:pt x="1140844" y="2679643"/>
                  </a:lnTo>
                  <a:lnTo>
                    <a:pt x="1158306" y="2708704"/>
                  </a:lnTo>
                  <a:lnTo>
                    <a:pt x="1174797" y="2745782"/>
                  </a:lnTo>
                  <a:lnTo>
                    <a:pt x="1190319" y="2788872"/>
                  </a:lnTo>
                  <a:lnTo>
                    <a:pt x="1202931" y="2837975"/>
                  </a:lnTo>
                  <a:lnTo>
                    <a:pt x="1215541" y="2889083"/>
                  </a:lnTo>
                  <a:lnTo>
                    <a:pt x="1226212" y="2942195"/>
                  </a:lnTo>
                  <a:lnTo>
                    <a:pt x="1235914" y="2996309"/>
                  </a:lnTo>
                  <a:lnTo>
                    <a:pt x="1245616" y="3049421"/>
                  </a:lnTo>
                  <a:lnTo>
                    <a:pt x="1252407" y="3098524"/>
                  </a:lnTo>
                  <a:lnTo>
                    <a:pt x="1261138" y="3144621"/>
                  </a:lnTo>
                  <a:lnTo>
                    <a:pt x="1267927" y="3182701"/>
                  </a:lnTo>
                  <a:lnTo>
                    <a:pt x="1273749" y="3215771"/>
                  </a:lnTo>
                  <a:lnTo>
                    <a:pt x="1405683" y="3238820"/>
                  </a:lnTo>
                  <a:lnTo>
                    <a:pt x="1539558" y="3251847"/>
                  </a:lnTo>
                  <a:lnTo>
                    <a:pt x="1677312" y="3253851"/>
                  </a:lnTo>
                  <a:lnTo>
                    <a:pt x="1817977" y="3246837"/>
                  </a:lnTo>
                  <a:lnTo>
                    <a:pt x="1963493" y="3226793"/>
                  </a:lnTo>
                  <a:lnTo>
                    <a:pt x="1998071" y="3220300"/>
                  </a:lnTo>
                  <a:lnTo>
                    <a:pt x="1972544" y="2990832"/>
                  </a:lnTo>
                  <a:cubicBezTo>
                    <a:pt x="1951990" y="2824419"/>
                    <a:pt x="1923973" y="2664322"/>
                    <a:pt x="1866104" y="2529483"/>
                  </a:cubicBezTo>
                  <a:cubicBezTo>
                    <a:pt x="1798827" y="2378364"/>
                    <a:pt x="1318234" y="2057324"/>
                    <a:pt x="1085631" y="1773024"/>
                  </a:cubicBezTo>
                  <a:cubicBezTo>
                    <a:pt x="1039452" y="1683967"/>
                    <a:pt x="924385" y="1218329"/>
                    <a:pt x="1277747" y="968535"/>
                  </a:cubicBezTo>
                  <a:cubicBezTo>
                    <a:pt x="1430175" y="835482"/>
                    <a:pt x="1702005" y="831017"/>
                    <a:pt x="1914134" y="872477"/>
                  </a:cubicBezTo>
                  <a:cubicBezTo>
                    <a:pt x="2031257" y="905756"/>
                    <a:pt x="2240228" y="1053847"/>
                    <a:pt x="2334389" y="1316747"/>
                  </a:cubicBezTo>
                  <a:lnTo>
                    <a:pt x="2850702" y="1256710"/>
                  </a:lnTo>
                  <a:lnTo>
                    <a:pt x="2851858" y="1288484"/>
                  </a:lnTo>
                  <a:lnTo>
                    <a:pt x="2854049" y="1252639"/>
                  </a:lnTo>
                  <a:lnTo>
                    <a:pt x="2852109" y="1156435"/>
                  </a:lnTo>
                  <a:lnTo>
                    <a:pt x="2845318" y="1062236"/>
                  </a:lnTo>
                  <a:lnTo>
                    <a:pt x="2830767" y="971045"/>
                  </a:lnTo>
                  <a:lnTo>
                    <a:pt x="2811365" y="881857"/>
                  </a:lnTo>
                  <a:lnTo>
                    <a:pt x="2787112" y="799684"/>
                  </a:lnTo>
                  <a:lnTo>
                    <a:pt x="2759950" y="724526"/>
                  </a:lnTo>
                  <a:lnTo>
                    <a:pt x="2728906" y="657385"/>
                  </a:lnTo>
                  <a:lnTo>
                    <a:pt x="2682340" y="577215"/>
                  </a:lnTo>
                  <a:lnTo>
                    <a:pt x="2631895" y="501055"/>
                  </a:lnTo>
                  <a:lnTo>
                    <a:pt x="2574659" y="429907"/>
                  </a:lnTo>
                  <a:lnTo>
                    <a:pt x="2513543" y="361762"/>
                  </a:lnTo>
                  <a:lnTo>
                    <a:pt x="2446606" y="300634"/>
                  </a:lnTo>
                  <a:lnTo>
                    <a:pt x="2371907" y="243513"/>
                  </a:lnTo>
                  <a:lnTo>
                    <a:pt x="2294299" y="192406"/>
                  </a:lnTo>
                  <a:lnTo>
                    <a:pt x="2211840" y="147311"/>
                  </a:lnTo>
                  <a:lnTo>
                    <a:pt x="2121620" y="109230"/>
                  </a:lnTo>
                  <a:lnTo>
                    <a:pt x="2028490" y="74157"/>
                  </a:lnTo>
                  <a:lnTo>
                    <a:pt x="1927599" y="47099"/>
                  </a:lnTo>
                  <a:lnTo>
                    <a:pt x="1821858" y="25053"/>
                  </a:lnTo>
                  <a:lnTo>
                    <a:pt x="1711265" y="10021"/>
                  </a:lnTo>
                  <a:lnTo>
                    <a:pt x="1594853" y="1002"/>
                  </a:lnTo>
                  <a:close/>
                </a:path>
              </a:pathLst>
            </a:custGeom>
            <a:solidFill>
              <a:schemeClr val="tx1">
                <a:lumMod val="75000"/>
                <a:lumOff val="25000"/>
              </a:schemeClr>
            </a:solidFill>
            <a:ln>
              <a:solidFill>
                <a:srgbClr val="163F74"/>
              </a:solid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anchor="t" anchorCtr="0" compatLnSpc="1">
              <a:prstTxWarp prst="textNoShape">
                <a:avLst/>
              </a:prstTxWarp>
              <a:noAutofit/>
            </a:bodyPr>
            <a:lstStyle/>
            <a:p>
              <a:endParaRPr lang="ko-KR" altLang="en-US" sz="2026" dirty="0"/>
            </a:p>
          </p:txBody>
        </p:sp>
        <p:sp>
          <p:nvSpPr>
            <p:cNvPr id="16" name="Freeform: Shape 15">
              <a:extLst>
                <a:ext uri="{FF2B5EF4-FFF2-40B4-BE49-F238E27FC236}">
                  <a16:creationId xmlns:a16="http://schemas.microsoft.com/office/drawing/2014/main" id="{68C7E696-0B18-41D8-BADC-63197E0C7B5D}"/>
                </a:ext>
              </a:extLst>
            </p:cNvPr>
            <p:cNvSpPr/>
            <p:nvPr/>
          </p:nvSpPr>
          <p:spPr>
            <a:xfrm flipH="1">
              <a:off x="457200" y="590550"/>
              <a:ext cx="2979057" cy="1921717"/>
            </a:xfrm>
            <a:custGeom>
              <a:avLst/>
              <a:gdLst>
                <a:gd name="connsiteX0" fmla="*/ 1547519 w 3095038"/>
                <a:gd name="connsiteY0" fmla="*/ 0 h 2022026"/>
                <a:gd name="connsiteX1" fmla="*/ 3095038 w 3095038"/>
                <a:gd name="connsiteY1" fmla="*/ 627509 h 2022026"/>
                <a:gd name="connsiteX2" fmla="*/ 2825277 w 3095038"/>
                <a:gd name="connsiteY2" fmla="*/ 736897 h 2022026"/>
                <a:gd name="connsiteX3" fmla="*/ 2825277 w 3095038"/>
                <a:gd name="connsiteY3" fmla="*/ 1583608 h 2022026"/>
                <a:gd name="connsiteX4" fmla="*/ 2829142 w 3095038"/>
                <a:gd name="connsiteY4" fmla="*/ 1585209 h 2022026"/>
                <a:gd name="connsiteX5" fmla="*/ 2841509 w 3095038"/>
                <a:gd name="connsiteY5" fmla="*/ 1615067 h 2022026"/>
                <a:gd name="connsiteX6" fmla="*/ 2829142 w 3095038"/>
                <a:gd name="connsiteY6" fmla="*/ 1644926 h 2022026"/>
                <a:gd name="connsiteX7" fmla="*/ 2826092 w 3095038"/>
                <a:gd name="connsiteY7" fmla="*/ 1646189 h 2022026"/>
                <a:gd name="connsiteX8" fmla="*/ 2876626 w 3095038"/>
                <a:gd name="connsiteY8" fmla="*/ 2022026 h 2022026"/>
                <a:gd name="connsiteX9" fmla="*/ 2721940 w 3095038"/>
                <a:gd name="connsiteY9" fmla="*/ 2022026 h 2022026"/>
                <a:gd name="connsiteX10" fmla="*/ 2772475 w 3095038"/>
                <a:gd name="connsiteY10" fmla="*/ 1646189 h 2022026"/>
                <a:gd name="connsiteX11" fmla="*/ 2769425 w 3095038"/>
                <a:gd name="connsiteY11" fmla="*/ 1644926 h 2022026"/>
                <a:gd name="connsiteX12" fmla="*/ 2757057 w 3095038"/>
                <a:gd name="connsiteY12" fmla="*/ 1615067 h 2022026"/>
                <a:gd name="connsiteX13" fmla="*/ 2769425 w 3095038"/>
                <a:gd name="connsiteY13" fmla="*/ 1585209 h 2022026"/>
                <a:gd name="connsiteX14" fmla="*/ 2773289 w 3095038"/>
                <a:gd name="connsiteY14" fmla="*/ 1583608 h 2022026"/>
                <a:gd name="connsiteX15" fmla="*/ 2773289 w 3095038"/>
                <a:gd name="connsiteY15" fmla="*/ 757978 h 2022026"/>
                <a:gd name="connsiteX16" fmla="*/ 2747752 w 3095038"/>
                <a:gd name="connsiteY16" fmla="*/ 768333 h 2022026"/>
                <a:gd name="connsiteX17" fmla="*/ 2473970 w 3095038"/>
                <a:gd name="connsiteY17" fmla="*/ 981499 h 2022026"/>
                <a:gd name="connsiteX18" fmla="*/ 2473970 w 3095038"/>
                <a:gd name="connsiteY18" fmla="*/ 1333096 h 2022026"/>
                <a:gd name="connsiteX19" fmla="*/ 1442377 w 3095038"/>
                <a:gd name="connsiteY19" fmla="*/ 1553521 h 2022026"/>
                <a:gd name="connsiteX20" fmla="*/ 628675 w 3095038"/>
                <a:gd name="connsiteY20" fmla="*/ 1422110 h 2022026"/>
                <a:gd name="connsiteX21" fmla="*/ 635755 w 3095038"/>
                <a:gd name="connsiteY21" fmla="*/ 1406334 h 2022026"/>
                <a:gd name="connsiteX22" fmla="*/ 621068 w 3095038"/>
                <a:gd name="connsiteY22" fmla="*/ 1402746 h 2022026"/>
                <a:gd name="connsiteX23" fmla="*/ 621068 w 3095038"/>
                <a:gd name="connsiteY23" fmla="*/ 981499 h 2022026"/>
                <a:gd name="connsiteX24" fmla="*/ 0 w 3095038"/>
                <a:gd name="connsiteY24" fmla="*/ 627509 h 202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95038" h="2022026">
                  <a:moveTo>
                    <a:pt x="1547519" y="0"/>
                  </a:moveTo>
                  <a:lnTo>
                    <a:pt x="3095038" y="627509"/>
                  </a:lnTo>
                  <a:lnTo>
                    <a:pt x="2825277" y="736897"/>
                  </a:lnTo>
                  <a:lnTo>
                    <a:pt x="2825277" y="1583608"/>
                  </a:lnTo>
                  <a:lnTo>
                    <a:pt x="2829142" y="1585209"/>
                  </a:lnTo>
                  <a:cubicBezTo>
                    <a:pt x="2836783" y="1592850"/>
                    <a:pt x="2841509" y="1603406"/>
                    <a:pt x="2841509" y="1615067"/>
                  </a:cubicBezTo>
                  <a:cubicBezTo>
                    <a:pt x="2841509" y="1626728"/>
                    <a:pt x="2836783" y="1637284"/>
                    <a:pt x="2829142" y="1644926"/>
                  </a:cubicBezTo>
                  <a:lnTo>
                    <a:pt x="2826092" y="1646189"/>
                  </a:lnTo>
                  <a:lnTo>
                    <a:pt x="2876626" y="2022026"/>
                  </a:lnTo>
                  <a:lnTo>
                    <a:pt x="2721940" y="2022026"/>
                  </a:lnTo>
                  <a:lnTo>
                    <a:pt x="2772475" y="1646189"/>
                  </a:lnTo>
                  <a:lnTo>
                    <a:pt x="2769425" y="1644926"/>
                  </a:lnTo>
                  <a:cubicBezTo>
                    <a:pt x="2761784" y="1637284"/>
                    <a:pt x="2757057" y="1626728"/>
                    <a:pt x="2757057" y="1615067"/>
                  </a:cubicBezTo>
                  <a:cubicBezTo>
                    <a:pt x="2757057" y="1603406"/>
                    <a:pt x="2761784" y="1592850"/>
                    <a:pt x="2769425" y="1585209"/>
                  </a:cubicBezTo>
                  <a:lnTo>
                    <a:pt x="2773289" y="1583608"/>
                  </a:lnTo>
                  <a:lnTo>
                    <a:pt x="2773289" y="757978"/>
                  </a:lnTo>
                  <a:lnTo>
                    <a:pt x="2747752" y="768333"/>
                  </a:lnTo>
                  <a:lnTo>
                    <a:pt x="2473970" y="981499"/>
                  </a:lnTo>
                  <a:lnTo>
                    <a:pt x="2473970" y="1333096"/>
                  </a:lnTo>
                  <a:cubicBezTo>
                    <a:pt x="2176456" y="1474039"/>
                    <a:pt x="1822001" y="1553521"/>
                    <a:pt x="1442377" y="1553521"/>
                  </a:cubicBezTo>
                  <a:cubicBezTo>
                    <a:pt x="1151810" y="1553521"/>
                    <a:pt x="875988" y="1506956"/>
                    <a:pt x="628675" y="1422110"/>
                  </a:cubicBezTo>
                  <a:cubicBezTo>
                    <a:pt x="630298" y="1416654"/>
                    <a:pt x="632987" y="1411486"/>
                    <a:pt x="635755" y="1406334"/>
                  </a:cubicBezTo>
                  <a:cubicBezTo>
                    <a:pt x="631035" y="1404608"/>
                    <a:pt x="626049" y="1403669"/>
                    <a:pt x="621068" y="1402746"/>
                  </a:cubicBezTo>
                  <a:lnTo>
                    <a:pt x="621068" y="981499"/>
                  </a:lnTo>
                  <a:lnTo>
                    <a:pt x="0" y="62750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sz="2026" dirty="0"/>
            </a:p>
          </p:txBody>
        </p:sp>
      </p:grpSp>
      <p:graphicFrame>
        <p:nvGraphicFramePr>
          <p:cNvPr id="5" name="Object 4" hidden="1">
            <a:extLst>
              <a:ext uri="{FF2B5EF4-FFF2-40B4-BE49-F238E27FC236}">
                <a16:creationId xmlns:a16="http://schemas.microsoft.com/office/drawing/2014/main" id="{A9E43DCD-F115-4EC7-90AE-5F5E6C473889}"/>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8892" name="think-cell Slide" r:id="rId8" imgW="383" imgH="384" progId="TCLayout.ActiveDocument.1">
                  <p:embed/>
                </p:oleObj>
              </mc:Choice>
              <mc:Fallback>
                <p:oleObj name="think-cell Slide" r:id="rId8" imgW="383" imgH="384" progId="TCLayout.ActiveDocument.1">
                  <p:embed/>
                  <p:pic>
                    <p:nvPicPr>
                      <p:cNvPr id="5" name="Object 4" hidden="1">
                        <a:extLst>
                          <a:ext uri="{FF2B5EF4-FFF2-40B4-BE49-F238E27FC236}">
                            <a16:creationId xmlns:a16="http://schemas.microsoft.com/office/drawing/2014/main" id="{A9E43DCD-F115-4EC7-90AE-5F5E6C473889}"/>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C140B3F-4BDA-4FDA-A9EE-3C673CDF2373}"/>
              </a:ext>
            </a:extLst>
          </p:cNvPr>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b="1" dirty="0">
              <a:latin typeface="Segoe UI" panose="020B0502040204020203" pitchFamily="34" charset="0"/>
              <a:ea typeface="+mj-ea"/>
              <a:cs typeface="Segoe UI" panose="020B0502040204020203" pitchFamily="34" charset="0"/>
              <a:sym typeface="Segoe UI" panose="020B0502040204020203" pitchFamily="34" charset="0"/>
            </a:endParaRPr>
          </a:p>
        </p:txBody>
      </p:sp>
      <p:cxnSp>
        <p:nvCxnSpPr>
          <p:cNvPr id="8" name="Straight Connector 7">
            <a:extLst>
              <a:ext uri="{FF2B5EF4-FFF2-40B4-BE49-F238E27FC236}">
                <a16:creationId xmlns:a16="http://schemas.microsoft.com/office/drawing/2014/main" id="{FDDCB1DF-AB7E-4220-9C07-5A95CD99AED5}"/>
              </a:ext>
            </a:extLst>
          </p:cNvPr>
          <p:cNvCxnSpPr>
            <a:cxnSpLocks/>
          </p:cNvCxnSpPr>
          <p:nvPr/>
        </p:nvCxnSpPr>
        <p:spPr>
          <a:xfrm flipH="1">
            <a:off x="264252" y="4162255"/>
            <a:ext cx="712513" cy="9885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544301-48A2-4C9C-9CBF-01A720F732C0}"/>
              </a:ext>
            </a:extLst>
          </p:cNvPr>
          <p:cNvCxnSpPr>
            <a:cxnSpLocks/>
          </p:cNvCxnSpPr>
          <p:nvPr/>
        </p:nvCxnSpPr>
        <p:spPr>
          <a:xfrm flipH="1">
            <a:off x="725918" y="1"/>
            <a:ext cx="501694" cy="69604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E0D0D9FA-3DBB-4185-910C-1F200143EFAC}"/>
              </a:ext>
            </a:extLst>
          </p:cNvPr>
          <p:cNvSpPr>
            <a:spLocks noGrp="1"/>
          </p:cNvSpPr>
          <p:nvPr>
            <p:ph type="title"/>
          </p:nvPr>
        </p:nvSpPr>
        <p:spPr>
          <a:xfrm>
            <a:off x="2707341" y="1971585"/>
            <a:ext cx="6436659" cy="1200329"/>
          </a:xfrm>
        </p:spPr>
        <p:txBody>
          <a:bodyPr vert="horz" wrap="square" lIns="91440" tIns="45720" rIns="91440" bIns="45720" rtlCol="0" anchor="t">
            <a:spAutoFit/>
          </a:bodyPr>
          <a:lstStyle/>
          <a:p>
            <a:pPr marL="11545" algn="l">
              <a:spcBef>
                <a:spcPts val="72"/>
              </a:spcBef>
            </a:pPr>
            <a:r>
              <a:rPr lang="en-US" sz="3600" dirty="0">
                <a:solidFill>
                  <a:schemeClr val="bg1"/>
                </a:solidFill>
                <a:latin typeface="Gotham Bold" panose="02000803030000020004" pitchFamily="2" charset="0"/>
                <a:ea typeface="Adobe Fan Heiti Std B" panose="020B0700000000000000" pitchFamily="34" charset="-128"/>
                <a:cs typeface="Times New Roman" panose="02020603050405020304" pitchFamily="18" charset="0"/>
              </a:rPr>
              <a:t>Centralized Admission Process (CAP) 2021-22</a:t>
            </a:r>
          </a:p>
        </p:txBody>
      </p:sp>
      <p:sp>
        <p:nvSpPr>
          <p:cNvPr id="17" name="Rectangle 16">
            <a:extLst>
              <a:ext uri="{FF2B5EF4-FFF2-40B4-BE49-F238E27FC236}">
                <a16:creationId xmlns:a16="http://schemas.microsoft.com/office/drawing/2014/main" id="{E481DB9C-92EC-43E7-B4B1-F15D6B9CE47D}"/>
              </a:ext>
            </a:extLst>
          </p:cNvPr>
          <p:cNvSpPr/>
          <p:nvPr/>
        </p:nvSpPr>
        <p:spPr>
          <a:xfrm>
            <a:off x="2707341" y="3430160"/>
            <a:ext cx="6436659" cy="48896"/>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pic>
        <p:nvPicPr>
          <p:cNvPr id="18" name="Picture 17">
            <a:extLst>
              <a:ext uri="{FF2B5EF4-FFF2-40B4-BE49-F238E27FC236}">
                <a16:creationId xmlns:a16="http://schemas.microsoft.com/office/drawing/2014/main" id="{0BDF5FF5-0077-4C5F-B39C-2538C74BDE2B}"/>
              </a:ext>
            </a:extLst>
          </p:cNvPr>
          <p:cNvPicPr>
            <a:picLocks noChangeAspect="1"/>
          </p:cNvPicPr>
          <p:nvPr/>
        </p:nvPicPr>
        <p:blipFill rotWithShape="1">
          <a:blip r:embed="rId10"/>
          <a:srcRect l="86667" b="81138"/>
          <a:stretch/>
        </p:blipFill>
        <p:spPr>
          <a:xfrm>
            <a:off x="7924800" y="-1"/>
            <a:ext cx="1219200" cy="971551"/>
          </a:xfrm>
          <a:prstGeom prst="rect">
            <a:avLst/>
          </a:prstGeom>
        </p:spPr>
      </p:pic>
    </p:spTree>
    <p:extLst>
      <p:ext uri="{BB962C8B-B14F-4D97-AF65-F5344CB8AC3E}">
        <p14:creationId xmlns:p14="http://schemas.microsoft.com/office/powerpoint/2010/main" val="300262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324;p7">
            <a:extLst>
              <a:ext uri="{FF2B5EF4-FFF2-40B4-BE49-F238E27FC236}">
                <a16:creationId xmlns:a16="http://schemas.microsoft.com/office/drawing/2014/main" id="{20EC8EBF-95FE-4530-BD0A-384421DA4067}"/>
              </a:ext>
            </a:extLst>
          </p:cNvPr>
          <p:cNvSpPr/>
          <p:nvPr/>
        </p:nvSpPr>
        <p:spPr>
          <a:xfrm>
            <a:off x="0" y="0"/>
            <a:ext cx="653700" cy="5143500"/>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3" name="Title 1">
            <a:extLst>
              <a:ext uri="{FF2B5EF4-FFF2-40B4-BE49-F238E27FC236}">
                <a16:creationId xmlns:a16="http://schemas.microsoft.com/office/drawing/2014/main" id="{D6CD76F9-85E8-4914-8E2B-8B7CFA5177CE}"/>
              </a:ext>
            </a:extLst>
          </p:cNvPr>
          <p:cNvSpPr txBox="1">
            <a:spLocks/>
          </p:cNvSpPr>
          <p:nvPr/>
        </p:nvSpPr>
        <p:spPr>
          <a:xfrm>
            <a:off x="653699" y="192762"/>
            <a:ext cx="8185859"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52CBBE"/>
                </a:solidFill>
                <a:latin typeface="Gotham Bold" panose="02000803030000020004" pitchFamily="2" charset="0"/>
              </a:rPr>
              <a:t>Steps in </a:t>
            </a:r>
            <a:r>
              <a:rPr lang="en-US" sz="2800" dirty="0">
                <a:solidFill>
                  <a:srgbClr val="FF5969"/>
                </a:solidFill>
                <a:latin typeface="Gotham Bold" panose="02000803030000020004" pitchFamily="2" charset="0"/>
              </a:rPr>
              <a:t>CAP 2021-22</a:t>
            </a:r>
            <a:endParaRPr lang="en-IN" sz="2800" dirty="0">
              <a:solidFill>
                <a:srgbClr val="FF5969"/>
              </a:solidFill>
              <a:latin typeface="Gotham Bold" panose="02000803030000020004" pitchFamily="2" charset="0"/>
            </a:endParaRPr>
          </a:p>
        </p:txBody>
      </p:sp>
      <p:grpSp>
        <p:nvGrpSpPr>
          <p:cNvPr id="26" name="Google Shape;347;p7">
            <a:extLst>
              <a:ext uri="{FF2B5EF4-FFF2-40B4-BE49-F238E27FC236}">
                <a16:creationId xmlns:a16="http://schemas.microsoft.com/office/drawing/2014/main" id="{C3CB0FF7-8A44-4EB0-9792-F116402E4A68}"/>
              </a:ext>
            </a:extLst>
          </p:cNvPr>
          <p:cNvGrpSpPr/>
          <p:nvPr/>
        </p:nvGrpSpPr>
        <p:grpSpPr>
          <a:xfrm>
            <a:off x="0" y="192762"/>
            <a:ext cx="311815" cy="653721"/>
            <a:chOff x="5385375" y="498300"/>
            <a:chExt cx="802200" cy="556500"/>
          </a:xfrm>
          <a:solidFill>
            <a:srgbClr val="52CBBE"/>
          </a:solidFill>
        </p:grpSpPr>
        <p:sp>
          <p:nvSpPr>
            <p:cNvPr id="27" name="Google Shape;348;p7">
              <a:extLst>
                <a:ext uri="{FF2B5EF4-FFF2-40B4-BE49-F238E27FC236}">
                  <a16:creationId xmlns:a16="http://schemas.microsoft.com/office/drawing/2014/main" id="{98370779-31D0-4228-83DE-BA24112FD8F7}"/>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8" name="Google Shape;349;p7">
              <a:extLst>
                <a:ext uri="{FF2B5EF4-FFF2-40B4-BE49-F238E27FC236}">
                  <a16:creationId xmlns:a16="http://schemas.microsoft.com/office/drawing/2014/main" id="{3FA17BE1-C7B3-46C6-A908-F82FA189A5C5}"/>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9" name="Google Shape;350;p7">
              <a:extLst>
                <a:ext uri="{FF2B5EF4-FFF2-40B4-BE49-F238E27FC236}">
                  <a16:creationId xmlns:a16="http://schemas.microsoft.com/office/drawing/2014/main" id="{F311C074-973A-433C-8588-0F8431F4777C}"/>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sp>
        <p:nvSpPr>
          <p:cNvPr id="14" name="Content Placeholder 2">
            <a:extLst>
              <a:ext uri="{FF2B5EF4-FFF2-40B4-BE49-F238E27FC236}">
                <a16:creationId xmlns:a16="http://schemas.microsoft.com/office/drawing/2014/main" id="{046DE7F0-3BCD-45E5-BEB7-ED5F54044450}"/>
              </a:ext>
            </a:extLst>
          </p:cNvPr>
          <p:cNvSpPr txBox="1">
            <a:spLocks/>
          </p:cNvSpPr>
          <p:nvPr/>
        </p:nvSpPr>
        <p:spPr>
          <a:xfrm>
            <a:off x="1143000" y="963699"/>
            <a:ext cx="7772400" cy="3781334"/>
          </a:xfrm>
          <a:prstGeom prst="rect">
            <a:avLst/>
          </a:prstGeom>
        </p:spPr>
        <p:txBody>
          <a:bodyPr vert="horz" lIns="91440" tIns="45720" rIns="91440" bIns="45720" rtlCol="0">
            <a:noAutofit/>
          </a:bodyPr>
          <a:lstStyle>
            <a:lvl1pPr marL="342892" indent="-342892" algn="l" defTabSz="91437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31" indent="-285743" algn="l" defTabSz="91437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72" indent="-228594" algn="l" defTabSz="91437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60"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48"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nSpc>
                <a:spcPct val="150000"/>
              </a:lnSpc>
              <a:spcBef>
                <a:spcPts val="0"/>
              </a:spcBef>
              <a:buFont typeface="+mj-lt"/>
              <a:buAutoNum type="arabicPeriod"/>
            </a:pPr>
            <a:r>
              <a:rPr lang="en-US" sz="1800" dirty="0">
                <a:latin typeface="Gotham Medium" panose="02000603030000020004" pitchFamily="2" charset="0"/>
              </a:rPr>
              <a:t>Online Registration and Uploading of Documents</a:t>
            </a:r>
          </a:p>
          <a:p>
            <a:pPr marL="457200" indent="-457200">
              <a:lnSpc>
                <a:spcPct val="150000"/>
              </a:lnSpc>
              <a:spcBef>
                <a:spcPts val="0"/>
              </a:spcBef>
              <a:buFont typeface="+mj-lt"/>
              <a:buAutoNum type="arabicPeriod"/>
            </a:pPr>
            <a:r>
              <a:rPr lang="en-US" sz="1800" dirty="0">
                <a:latin typeface="Gotham Medium" panose="02000603030000020004" pitchFamily="2" charset="0"/>
              </a:rPr>
              <a:t>Document Verification and Confirmation of Application Form</a:t>
            </a:r>
          </a:p>
          <a:p>
            <a:pPr marL="457200" indent="-457200">
              <a:lnSpc>
                <a:spcPct val="150000"/>
              </a:lnSpc>
              <a:spcBef>
                <a:spcPts val="0"/>
              </a:spcBef>
              <a:buFont typeface="+mj-lt"/>
              <a:buAutoNum type="arabicPeriod"/>
            </a:pPr>
            <a:r>
              <a:rPr lang="en-US" sz="1800" dirty="0">
                <a:latin typeface="Gotham Medium" panose="02000603030000020004" pitchFamily="2" charset="0"/>
              </a:rPr>
              <a:t>Display of Merit List</a:t>
            </a:r>
          </a:p>
          <a:p>
            <a:pPr marL="457200" indent="-457200">
              <a:lnSpc>
                <a:spcPct val="150000"/>
              </a:lnSpc>
              <a:spcBef>
                <a:spcPts val="0"/>
              </a:spcBef>
              <a:buFont typeface="+mj-lt"/>
              <a:buAutoNum type="arabicPeriod"/>
            </a:pPr>
            <a:r>
              <a:rPr lang="en-US" sz="1800" dirty="0">
                <a:latin typeface="Gotham Medium" panose="02000603030000020004" pitchFamily="2" charset="0"/>
              </a:rPr>
              <a:t>Display of Seat Matrix</a:t>
            </a:r>
          </a:p>
          <a:p>
            <a:pPr marL="457200" indent="-457200">
              <a:lnSpc>
                <a:spcPct val="150000"/>
              </a:lnSpc>
              <a:spcBef>
                <a:spcPts val="0"/>
              </a:spcBef>
              <a:buFont typeface="+mj-lt"/>
              <a:buAutoNum type="arabicPeriod"/>
            </a:pPr>
            <a:r>
              <a:rPr lang="en-US" sz="1800" dirty="0">
                <a:latin typeface="Gotham Medium" panose="02000603030000020004" pitchFamily="2" charset="0"/>
              </a:rPr>
              <a:t>Filling of Option Form</a:t>
            </a:r>
          </a:p>
          <a:p>
            <a:pPr marL="457200" indent="-457200">
              <a:lnSpc>
                <a:spcPct val="150000"/>
              </a:lnSpc>
              <a:spcBef>
                <a:spcPts val="0"/>
              </a:spcBef>
              <a:buFont typeface="+mj-lt"/>
              <a:buAutoNum type="arabicPeriod"/>
            </a:pPr>
            <a:r>
              <a:rPr lang="en-US" sz="1800" dirty="0">
                <a:latin typeface="Gotham Medium" panose="02000603030000020004" pitchFamily="2" charset="0"/>
              </a:rPr>
              <a:t>Display of Seat Allotment</a:t>
            </a:r>
          </a:p>
          <a:p>
            <a:pPr marL="457200" indent="-457200">
              <a:lnSpc>
                <a:spcPct val="150000"/>
              </a:lnSpc>
              <a:spcBef>
                <a:spcPts val="0"/>
              </a:spcBef>
              <a:buFont typeface="+mj-lt"/>
              <a:buAutoNum type="arabicPeriod"/>
            </a:pPr>
            <a:r>
              <a:rPr lang="en-US" sz="1800" dirty="0">
                <a:latin typeface="Gotham Medium" panose="02000603030000020004" pitchFamily="2" charset="0"/>
              </a:rPr>
              <a:t>Online Seat Acceptance</a:t>
            </a:r>
          </a:p>
          <a:p>
            <a:pPr marL="457200" indent="-457200">
              <a:lnSpc>
                <a:spcPct val="150000"/>
              </a:lnSpc>
              <a:spcBef>
                <a:spcPts val="0"/>
              </a:spcBef>
              <a:buFont typeface="+mj-lt"/>
              <a:buAutoNum type="arabicPeriod"/>
            </a:pPr>
            <a:r>
              <a:rPr lang="en-US" sz="1800" dirty="0">
                <a:latin typeface="Gotham Medium" panose="02000603030000020004" pitchFamily="2" charset="0"/>
              </a:rPr>
              <a:t>Reporting to the College</a:t>
            </a:r>
          </a:p>
        </p:txBody>
      </p:sp>
    </p:spTree>
    <p:extLst>
      <p:ext uri="{BB962C8B-B14F-4D97-AF65-F5344CB8AC3E}">
        <p14:creationId xmlns:p14="http://schemas.microsoft.com/office/powerpoint/2010/main" val="2130386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xEl>
                                              <p:pRg st="1" end="1"/>
                                            </p:txEl>
                                          </p:spTgt>
                                        </p:tgtEl>
                                        <p:attrNameLst>
                                          <p:attrName>style.visibility</p:attrName>
                                        </p:attrNameLst>
                                      </p:cBhvr>
                                      <p:to>
                                        <p:strVal val="visible"/>
                                      </p:to>
                                    </p:set>
                                    <p:animEffect transition="in" filter="fade">
                                      <p:cBhvr>
                                        <p:cTn id="12" dur="500"/>
                                        <p:tgtEl>
                                          <p:spTgt spid="1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xEl>
                                              <p:pRg st="2" end="2"/>
                                            </p:txEl>
                                          </p:spTgt>
                                        </p:tgtEl>
                                        <p:attrNameLst>
                                          <p:attrName>style.visibility</p:attrName>
                                        </p:attrNameLst>
                                      </p:cBhvr>
                                      <p:to>
                                        <p:strVal val="visible"/>
                                      </p:to>
                                    </p:set>
                                    <p:animEffect transition="in" filter="fade">
                                      <p:cBhvr>
                                        <p:cTn id="17" dur="500"/>
                                        <p:tgtEl>
                                          <p:spTgt spid="1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xEl>
                                              <p:pRg st="3" end="3"/>
                                            </p:txEl>
                                          </p:spTgt>
                                        </p:tgtEl>
                                        <p:attrNameLst>
                                          <p:attrName>style.visibility</p:attrName>
                                        </p:attrNameLst>
                                      </p:cBhvr>
                                      <p:to>
                                        <p:strVal val="visible"/>
                                      </p:to>
                                    </p:set>
                                    <p:animEffect transition="in" filter="fade">
                                      <p:cBhvr>
                                        <p:cTn id="22" dur="500"/>
                                        <p:tgtEl>
                                          <p:spTgt spid="1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xEl>
                                              <p:pRg st="4" end="4"/>
                                            </p:txEl>
                                          </p:spTgt>
                                        </p:tgtEl>
                                        <p:attrNameLst>
                                          <p:attrName>style.visibility</p:attrName>
                                        </p:attrNameLst>
                                      </p:cBhvr>
                                      <p:to>
                                        <p:strVal val="visible"/>
                                      </p:to>
                                    </p:set>
                                    <p:animEffect transition="in" filter="fade">
                                      <p:cBhvr>
                                        <p:cTn id="27" dur="500"/>
                                        <p:tgtEl>
                                          <p:spTgt spid="1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4">
                                            <p:txEl>
                                              <p:pRg st="5" end="5"/>
                                            </p:txEl>
                                          </p:spTgt>
                                        </p:tgtEl>
                                        <p:attrNameLst>
                                          <p:attrName>style.visibility</p:attrName>
                                        </p:attrNameLst>
                                      </p:cBhvr>
                                      <p:to>
                                        <p:strVal val="visible"/>
                                      </p:to>
                                    </p:set>
                                    <p:animEffect transition="in" filter="fade">
                                      <p:cBhvr>
                                        <p:cTn id="32" dur="500"/>
                                        <p:tgtEl>
                                          <p:spTgt spid="14">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4">
                                            <p:txEl>
                                              <p:pRg st="6" end="6"/>
                                            </p:txEl>
                                          </p:spTgt>
                                        </p:tgtEl>
                                        <p:attrNameLst>
                                          <p:attrName>style.visibility</p:attrName>
                                        </p:attrNameLst>
                                      </p:cBhvr>
                                      <p:to>
                                        <p:strVal val="visible"/>
                                      </p:to>
                                    </p:set>
                                    <p:animEffect transition="in" filter="fade">
                                      <p:cBhvr>
                                        <p:cTn id="37" dur="500"/>
                                        <p:tgtEl>
                                          <p:spTgt spid="14">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4">
                                            <p:txEl>
                                              <p:pRg st="7" end="7"/>
                                            </p:txEl>
                                          </p:spTgt>
                                        </p:tgtEl>
                                        <p:attrNameLst>
                                          <p:attrName>style.visibility</p:attrName>
                                        </p:attrNameLst>
                                      </p:cBhvr>
                                      <p:to>
                                        <p:strVal val="visible"/>
                                      </p:to>
                                    </p:set>
                                    <p:animEffect transition="in" filter="fade">
                                      <p:cBhvr>
                                        <p:cTn id="42" dur="500"/>
                                        <p:tgtEl>
                                          <p:spTgt spid="1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55726F5-E115-4999-B719-54A4ED037444}"/>
              </a:ext>
            </a:extLst>
          </p:cNvPr>
          <p:cNvSpPr txBox="1">
            <a:spLocks/>
          </p:cNvSpPr>
          <p:nvPr/>
        </p:nvSpPr>
        <p:spPr>
          <a:xfrm>
            <a:off x="311815" y="256504"/>
            <a:ext cx="8610600" cy="521748"/>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Online Registration </a:t>
            </a:r>
          </a:p>
        </p:txBody>
      </p:sp>
      <p:sp>
        <p:nvSpPr>
          <p:cNvPr id="7" name="Google Shape;324;p7">
            <a:extLst>
              <a:ext uri="{FF2B5EF4-FFF2-40B4-BE49-F238E27FC236}">
                <a16:creationId xmlns:a16="http://schemas.microsoft.com/office/drawing/2014/main" id="{B46430E2-23AC-4F06-B465-0EE9E0C026AF}"/>
              </a:ext>
            </a:extLst>
          </p:cNvPr>
          <p:cNvSpPr/>
          <p:nvPr/>
        </p:nvSpPr>
        <p:spPr>
          <a:xfrm>
            <a:off x="0" y="0"/>
            <a:ext cx="152400" cy="51435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nvGrpSpPr>
          <p:cNvPr id="9" name="Google Shape;347;p7">
            <a:extLst>
              <a:ext uri="{FF2B5EF4-FFF2-40B4-BE49-F238E27FC236}">
                <a16:creationId xmlns:a16="http://schemas.microsoft.com/office/drawing/2014/main" id="{683F96AB-5E07-4E13-B8B2-E87F30802558}"/>
              </a:ext>
            </a:extLst>
          </p:cNvPr>
          <p:cNvGrpSpPr/>
          <p:nvPr/>
        </p:nvGrpSpPr>
        <p:grpSpPr>
          <a:xfrm>
            <a:off x="0" y="192762"/>
            <a:ext cx="311815" cy="653721"/>
            <a:chOff x="5385375" y="498300"/>
            <a:chExt cx="802200" cy="556500"/>
          </a:xfrm>
          <a:solidFill>
            <a:srgbClr val="FF5969"/>
          </a:solidFill>
        </p:grpSpPr>
        <p:sp>
          <p:nvSpPr>
            <p:cNvPr id="10" name="Google Shape;348;p7">
              <a:extLst>
                <a:ext uri="{FF2B5EF4-FFF2-40B4-BE49-F238E27FC236}">
                  <a16:creationId xmlns:a16="http://schemas.microsoft.com/office/drawing/2014/main" id="{B4ED3B59-6CD0-4E9D-AA7E-23E7E2EC7467}"/>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11" name="Google Shape;349;p7">
              <a:extLst>
                <a:ext uri="{FF2B5EF4-FFF2-40B4-BE49-F238E27FC236}">
                  <a16:creationId xmlns:a16="http://schemas.microsoft.com/office/drawing/2014/main" id="{C003572C-773D-45CF-8902-E5DBAD0A6A51}"/>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12" name="Google Shape;350;p7">
              <a:extLst>
                <a:ext uri="{FF2B5EF4-FFF2-40B4-BE49-F238E27FC236}">
                  <a16:creationId xmlns:a16="http://schemas.microsoft.com/office/drawing/2014/main" id="{7A5DB23F-E1AC-48CB-8718-0BF9102A5174}"/>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sp>
        <p:nvSpPr>
          <p:cNvPr id="13" name="Content Placeholder 2">
            <a:extLst>
              <a:ext uri="{FF2B5EF4-FFF2-40B4-BE49-F238E27FC236}">
                <a16:creationId xmlns:a16="http://schemas.microsoft.com/office/drawing/2014/main" id="{A090F40B-DB1E-4C28-8930-D69CEC1C3FE0}"/>
              </a:ext>
            </a:extLst>
          </p:cNvPr>
          <p:cNvSpPr>
            <a:spLocks noGrp="1"/>
          </p:cNvSpPr>
          <p:nvPr>
            <p:ph idx="1"/>
          </p:nvPr>
        </p:nvSpPr>
        <p:spPr>
          <a:xfrm>
            <a:off x="311815" y="1036093"/>
            <a:ext cx="8610600" cy="3781334"/>
          </a:xfrm>
        </p:spPr>
        <p:txBody>
          <a:bodyPr vert="horz" lIns="91440" tIns="45720" rIns="91440" bIns="45720" rtlCol="0">
            <a:noAutofit/>
          </a:bodyPr>
          <a:lstStyle/>
          <a:p>
            <a:pPr marL="457200" indent="-457200">
              <a:lnSpc>
                <a:spcPct val="150000"/>
              </a:lnSpc>
              <a:spcBef>
                <a:spcPts val="0"/>
              </a:spcBef>
              <a:buFont typeface="+mj-lt"/>
              <a:buAutoNum type="arabicPeriod"/>
            </a:pPr>
            <a:r>
              <a:rPr lang="en-US" sz="2000" dirty="0">
                <a:latin typeface="Gotham Medium" panose="02000603030000020004" pitchFamily="2" charset="0"/>
              </a:rPr>
              <a:t>Visit the Website: </a:t>
            </a:r>
            <a:r>
              <a:rPr lang="en-US" sz="2000" dirty="0">
                <a:latin typeface="Gotham Medium" panose="02000603030000020004" pitchFamily="2" charset="0"/>
                <a:hlinkClick r:id="rId3"/>
              </a:rPr>
              <a:t>https://fe2021.mahacet.org</a:t>
            </a:r>
            <a:r>
              <a:rPr lang="en-US" sz="2000" dirty="0">
                <a:latin typeface="Gotham Medium" panose="02000603030000020004" pitchFamily="2" charset="0"/>
              </a:rPr>
              <a:t> </a:t>
            </a:r>
          </a:p>
          <a:p>
            <a:pPr marL="457200" indent="-457200">
              <a:lnSpc>
                <a:spcPct val="150000"/>
              </a:lnSpc>
              <a:spcBef>
                <a:spcPts val="0"/>
              </a:spcBef>
              <a:buFont typeface="+mj-lt"/>
              <a:buAutoNum type="arabicPeriod"/>
            </a:pPr>
            <a:r>
              <a:rPr lang="en-US" sz="2000" dirty="0">
                <a:latin typeface="Gotham Medium" panose="02000603030000020004" pitchFamily="2" charset="0"/>
              </a:rPr>
              <a:t>Create Login by using MHT-CET Roll Number</a:t>
            </a:r>
          </a:p>
          <a:p>
            <a:pPr marL="457200" indent="-457200">
              <a:lnSpc>
                <a:spcPct val="150000"/>
              </a:lnSpc>
              <a:spcBef>
                <a:spcPts val="0"/>
              </a:spcBef>
              <a:buFont typeface="+mj-lt"/>
              <a:buAutoNum type="arabicPeriod"/>
            </a:pPr>
            <a:r>
              <a:rPr lang="en-US" sz="2000" dirty="0">
                <a:latin typeface="Gotham Medium" panose="02000603030000020004" pitchFamily="2" charset="0"/>
              </a:rPr>
              <a:t>Fill Personal Details along with </a:t>
            </a:r>
            <a:r>
              <a:rPr lang="en-US" sz="2000" dirty="0">
                <a:solidFill>
                  <a:srgbClr val="FF0000"/>
                </a:solidFill>
                <a:latin typeface="Gotham Medium" panose="02000603030000020004" pitchFamily="2" charset="0"/>
              </a:rPr>
              <a:t>Mobile Number and e-mail Id</a:t>
            </a:r>
          </a:p>
          <a:p>
            <a:pPr marL="457200" indent="-457200">
              <a:lnSpc>
                <a:spcPct val="150000"/>
              </a:lnSpc>
              <a:spcBef>
                <a:spcPts val="0"/>
              </a:spcBef>
              <a:buFont typeface="+mj-lt"/>
              <a:buAutoNum type="arabicPeriod"/>
            </a:pPr>
            <a:r>
              <a:rPr lang="en-US" sz="2000" dirty="0">
                <a:latin typeface="Gotham Medium" panose="02000603030000020004" pitchFamily="2" charset="0"/>
              </a:rPr>
              <a:t>Application Id and Password will be sent to registered Mobile Number and e-mail Id</a:t>
            </a:r>
          </a:p>
          <a:p>
            <a:pPr marL="457200" indent="-457200">
              <a:lnSpc>
                <a:spcPct val="150000"/>
              </a:lnSpc>
              <a:spcBef>
                <a:spcPts val="0"/>
              </a:spcBef>
              <a:buFont typeface="+mj-lt"/>
              <a:buAutoNum type="arabicPeriod"/>
            </a:pPr>
            <a:r>
              <a:rPr lang="en-US" sz="2000" dirty="0">
                <a:latin typeface="Gotham Medium" panose="02000603030000020004" pitchFamily="2" charset="0"/>
              </a:rPr>
              <a:t>Login with Application Id and password</a:t>
            </a:r>
          </a:p>
          <a:p>
            <a:pPr marL="457200" indent="-457200">
              <a:lnSpc>
                <a:spcPct val="150000"/>
              </a:lnSpc>
              <a:spcBef>
                <a:spcPts val="0"/>
              </a:spcBef>
              <a:buFont typeface="+mj-lt"/>
              <a:buAutoNum type="arabicPeriod"/>
            </a:pPr>
            <a:r>
              <a:rPr lang="en-US" sz="2000" dirty="0">
                <a:latin typeface="Gotham Medium" panose="02000603030000020004" pitchFamily="2" charset="0"/>
              </a:rPr>
              <a:t>Select Type of Candidature</a:t>
            </a:r>
          </a:p>
          <a:p>
            <a:pPr marL="457200" indent="-457200">
              <a:lnSpc>
                <a:spcPct val="150000"/>
              </a:lnSpc>
              <a:spcBef>
                <a:spcPts val="0"/>
              </a:spcBef>
              <a:buFont typeface="+mj-lt"/>
              <a:buAutoNum type="arabicPeriod"/>
            </a:pPr>
            <a:endParaRPr lang="en-US" sz="2000" dirty="0">
              <a:latin typeface="Gotham Medium" panose="02000603030000020004" pitchFamily="2" charset="0"/>
            </a:endParaRPr>
          </a:p>
        </p:txBody>
      </p:sp>
    </p:spTree>
    <p:extLst>
      <p:ext uri="{BB962C8B-B14F-4D97-AF65-F5344CB8AC3E}">
        <p14:creationId xmlns:p14="http://schemas.microsoft.com/office/powerpoint/2010/main" val="8101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fade">
                                      <p:cBhvr>
                                        <p:cTn id="12" dur="500"/>
                                        <p:tgtEl>
                                          <p:spTgt spid="1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xEl>
                                              <p:pRg st="2" end="2"/>
                                            </p:txEl>
                                          </p:spTgt>
                                        </p:tgtEl>
                                        <p:attrNameLst>
                                          <p:attrName>style.visibility</p:attrName>
                                        </p:attrNameLst>
                                      </p:cBhvr>
                                      <p:to>
                                        <p:strVal val="visible"/>
                                      </p:to>
                                    </p:set>
                                    <p:animEffect transition="in" filter="fade">
                                      <p:cBhvr>
                                        <p:cTn id="17" dur="500"/>
                                        <p:tgtEl>
                                          <p:spTgt spid="1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
                                            <p:txEl>
                                              <p:pRg st="3" end="3"/>
                                            </p:txEl>
                                          </p:spTgt>
                                        </p:tgtEl>
                                        <p:attrNameLst>
                                          <p:attrName>style.visibility</p:attrName>
                                        </p:attrNameLst>
                                      </p:cBhvr>
                                      <p:to>
                                        <p:strVal val="visible"/>
                                      </p:to>
                                    </p:set>
                                    <p:animEffect transition="in" filter="fade">
                                      <p:cBhvr>
                                        <p:cTn id="22" dur="500"/>
                                        <p:tgtEl>
                                          <p:spTgt spid="1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xEl>
                                              <p:pRg st="4" end="4"/>
                                            </p:txEl>
                                          </p:spTgt>
                                        </p:tgtEl>
                                        <p:attrNameLst>
                                          <p:attrName>style.visibility</p:attrName>
                                        </p:attrNameLst>
                                      </p:cBhvr>
                                      <p:to>
                                        <p:strVal val="visible"/>
                                      </p:to>
                                    </p:set>
                                    <p:animEffect transition="in" filter="fade">
                                      <p:cBhvr>
                                        <p:cTn id="27" dur="500"/>
                                        <p:tgtEl>
                                          <p:spTgt spid="1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3">
                                            <p:txEl>
                                              <p:pRg st="5" end="5"/>
                                            </p:txEl>
                                          </p:spTgt>
                                        </p:tgtEl>
                                        <p:attrNameLst>
                                          <p:attrName>style.visibility</p:attrName>
                                        </p:attrNameLst>
                                      </p:cBhvr>
                                      <p:to>
                                        <p:strVal val="visible"/>
                                      </p:to>
                                    </p:set>
                                    <p:animEffect transition="in" filter="fade">
                                      <p:cBhvr>
                                        <p:cTn id="32" dur="500"/>
                                        <p:tgtEl>
                                          <p:spTgt spid="1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55726F5-E115-4999-B719-54A4ED037444}"/>
              </a:ext>
            </a:extLst>
          </p:cNvPr>
          <p:cNvSpPr txBox="1">
            <a:spLocks/>
          </p:cNvSpPr>
          <p:nvPr/>
        </p:nvSpPr>
        <p:spPr>
          <a:xfrm>
            <a:off x="311815" y="256504"/>
            <a:ext cx="8610600" cy="521748"/>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Type of Candidature</a:t>
            </a:r>
          </a:p>
        </p:txBody>
      </p:sp>
      <p:sp>
        <p:nvSpPr>
          <p:cNvPr id="7" name="Google Shape;324;p7">
            <a:extLst>
              <a:ext uri="{FF2B5EF4-FFF2-40B4-BE49-F238E27FC236}">
                <a16:creationId xmlns:a16="http://schemas.microsoft.com/office/drawing/2014/main" id="{B46430E2-23AC-4F06-B465-0EE9E0C026AF}"/>
              </a:ext>
            </a:extLst>
          </p:cNvPr>
          <p:cNvSpPr/>
          <p:nvPr/>
        </p:nvSpPr>
        <p:spPr>
          <a:xfrm>
            <a:off x="0" y="0"/>
            <a:ext cx="152400" cy="5143500"/>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nvGrpSpPr>
          <p:cNvPr id="9" name="Google Shape;347;p7">
            <a:extLst>
              <a:ext uri="{FF2B5EF4-FFF2-40B4-BE49-F238E27FC236}">
                <a16:creationId xmlns:a16="http://schemas.microsoft.com/office/drawing/2014/main" id="{683F96AB-5E07-4E13-B8B2-E87F30802558}"/>
              </a:ext>
            </a:extLst>
          </p:cNvPr>
          <p:cNvGrpSpPr/>
          <p:nvPr/>
        </p:nvGrpSpPr>
        <p:grpSpPr>
          <a:xfrm>
            <a:off x="0" y="192762"/>
            <a:ext cx="311815" cy="653721"/>
            <a:chOff x="5385375" y="498300"/>
            <a:chExt cx="802200" cy="556500"/>
          </a:xfrm>
          <a:solidFill>
            <a:srgbClr val="52CBBE"/>
          </a:solidFill>
        </p:grpSpPr>
        <p:sp>
          <p:nvSpPr>
            <p:cNvPr id="10" name="Google Shape;348;p7">
              <a:extLst>
                <a:ext uri="{FF2B5EF4-FFF2-40B4-BE49-F238E27FC236}">
                  <a16:creationId xmlns:a16="http://schemas.microsoft.com/office/drawing/2014/main" id="{B4ED3B59-6CD0-4E9D-AA7E-23E7E2EC7467}"/>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11" name="Google Shape;349;p7">
              <a:extLst>
                <a:ext uri="{FF2B5EF4-FFF2-40B4-BE49-F238E27FC236}">
                  <a16:creationId xmlns:a16="http://schemas.microsoft.com/office/drawing/2014/main" id="{C003572C-773D-45CF-8902-E5DBAD0A6A51}"/>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12" name="Google Shape;350;p7">
              <a:extLst>
                <a:ext uri="{FF2B5EF4-FFF2-40B4-BE49-F238E27FC236}">
                  <a16:creationId xmlns:a16="http://schemas.microsoft.com/office/drawing/2014/main" id="{7A5DB23F-E1AC-48CB-8718-0BF9102A5174}"/>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graphicFrame>
        <p:nvGraphicFramePr>
          <p:cNvPr id="4" name="Table 5">
            <a:extLst>
              <a:ext uri="{FF2B5EF4-FFF2-40B4-BE49-F238E27FC236}">
                <a16:creationId xmlns:a16="http://schemas.microsoft.com/office/drawing/2014/main" id="{43139666-3D71-4B2B-AC6D-B2389E31DA15}"/>
              </a:ext>
            </a:extLst>
          </p:cNvPr>
          <p:cNvGraphicFramePr>
            <a:graphicFrameLocks noGrp="1"/>
          </p:cNvGraphicFramePr>
          <p:nvPr>
            <p:ph idx="1"/>
            <p:extLst>
              <p:ext uri="{D42A27DB-BD31-4B8C-83A1-F6EECF244321}">
                <p14:modId xmlns:p14="http://schemas.microsoft.com/office/powerpoint/2010/main" val="1647592147"/>
              </p:ext>
            </p:extLst>
          </p:nvPr>
        </p:nvGraphicFramePr>
        <p:xfrm>
          <a:off x="292765" y="984082"/>
          <a:ext cx="8698815" cy="2274471"/>
        </p:xfrm>
        <a:graphic>
          <a:graphicData uri="http://schemas.openxmlformats.org/drawingml/2006/table">
            <a:tbl>
              <a:tblPr firstRow="1" bandRow="1">
                <a:tableStyleId>{5940675A-B579-460E-94D1-54222C63F5DA}</a:tableStyleId>
              </a:tblPr>
              <a:tblGrid>
                <a:gridCol w="645110">
                  <a:extLst>
                    <a:ext uri="{9D8B030D-6E8A-4147-A177-3AD203B41FA5}">
                      <a16:colId xmlns:a16="http://schemas.microsoft.com/office/drawing/2014/main" val="1684780766"/>
                    </a:ext>
                  </a:extLst>
                </a:gridCol>
                <a:gridCol w="1348125">
                  <a:extLst>
                    <a:ext uri="{9D8B030D-6E8A-4147-A177-3AD203B41FA5}">
                      <a16:colId xmlns:a16="http://schemas.microsoft.com/office/drawing/2014/main" val="1110361237"/>
                    </a:ext>
                  </a:extLst>
                </a:gridCol>
                <a:gridCol w="4267200">
                  <a:extLst>
                    <a:ext uri="{9D8B030D-6E8A-4147-A177-3AD203B41FA5}">
                      <a16:colId xmlns:a16="http://schemas.microsoft.com/office/drawing/2014/main" val="809426284"/>
                    </a:ext>
                  </a:extLst>
                </a:gridCol>
                <a:gridCol w="2438380">
                  <a:extLst>
                    <a:ext uri="{9D8B030D-6E8A-4147-A177-3AD203B41FA5}">
                      <a16:colId xmlns:a16="http://schemas.microsoft.com/office/drawing/2014/main" val="244739685"/>
                    </a:ext>
                  </a:extLst>
                </a:gridCol>
              </a:tblGrid>
              <a:tr h="444668">
                <a:tc>
                  <a:txBody>
                    <a:bodyPr/>
                    <a:lstStyle/>
                    <a:p>
                      <a:pPr algn="ctr"/>
                      <a:r>
                        <a:rPr lang="en-US" sz="1400" dirty="0">
                          <a:solidFill>
                            <a:schemeClr val="bg1"/>
                          </a:solidFill>
                          <a:latin typeface="Gotham Medium" panose="02000603030000020004" pitchFamily="2" charset="0"/>
                        </a:rPr>
                        <a:t>Sr. No.</a:t>
                      </a:r>
                      <a:endParaRPr lang="en-IN" sz="1400" dirty="0">
                        <a:solidFill>
                          <a:schemeClr val="bg1"/>
                        </a:solidFill>
                        <a:latin typeface="Gotham Medium" panose="02000603030000020004" pitchFamily="2" charset="0"/>
                      </a:endParaRPr>
                    </a:p>
                  </a:txBody>
                  <a:tcPr anchor="ctr">
                    <a:solidFill>
                      <a:schemeClr val="tx1">
                        <a:lumMod val="50000"/>
                        <a:lumOff val="50000"/>
                      </a:schemeClr>
                    </a:solidFill>
                  </a:tcPr>
                </a:tc>
                <a:tc>
                  <a:txBody>
                    <a:bodyPr/>
                    <a:lstStyle/>
                    <a:p>
                      <a:pPr algn="ctr"/>
                      <a:r>
                        <a:rPr lang="en-US" sz="1400" dirty="0">
                          <a:solidFill>
                            <a:schemeClr val="bg1"/>
                          </a:solidFill>
                          <a:latin typeface="Gotham Medium" panose="02000603030000020004" pitchFamily="2" charset="0"/>
                        </a:rPr>
                        <a:t>Type of Candidature</a:t>
                      </a:r>
                      <a:endParaRPr lang="en-IN" sz="1400" dirty="0">
                        <a:solidFill>
                          <a:schemeClr val="bg1"/>
                        </a:solidFill>
                        <a:latin typeface="Gotham Medium" panose="02000603030000020004" pitchFamily="2" charset="0"/>
                      </a:endParaRPr>
                    </a:p>
                  </a:txBody>
                  <a:tcPr anchor="ctr">
                    <a:solidFill>
                      <a:schemeClr val="tx1">
                        <a:lumMod val="50000"/>
                        <a:lumOff val="50000"/>
                      </a:schemeClr>
                    </a:solidFill>
                  </a:tcPr>
                </a:tc>
                <a:tc>
                  <a:txBody>
                    <a:bodyPr/>
                    <a:lstStyle/>
                    <a:p>
                      <a:pPr algn="ctr"/>
                      <a:r>
                        <a:rPr lang="en-US" sz="1400" dirty="0">
                          <a:solidFill>
                            <a:schemeClr val="bg1"/>
                          </a:solidFill>
                          <a:latin typeface="Gotham Medium" panose="02000603030000020004" pitchFamily="2" charset="0"/>
                        </a:rPr>
                        <a:t>Eligibility</a:t>
                      </a:r>
                      <a:endParaRPr lang="en-IN" sz="1400" dirty="0">
                        <a:solidFill>
                          <a:schemeClr val="bg1"/>
                        </a:solidFill>
                        <a:latin typeface="Gotham Medium" panose="02000603030000020004" pitchFamily="2" charset="0"/>
                      </a:endParaRPr>
                    </a:p>
                  </a:txBody>
                  <a:tcPr anchor="ctr">
                    <a:solidFill>
                      <a:schemeClr val="tx1">
                        <a:lumMod val="50000"/>
                        <a:lumOff val="50000"/>
                      </a:schemeClr>
                    </a:solidFill>
                  </a:tcPr>
                </a:tc>
                <a:tc>
                  <a:txBody>
                    <a:bodyPr/>
                    <a:lstStyle/>
                    <a:p>
                      <a:pPr algn="ctr"/>
                      <a:r>
                        <a:rPr lang="en-US" sz="1400" dirty="0">
                          <a:solidFill>
                            <a:schemeClr val="bg1"/>
                          </a:solidFill>
                          <a:latin typeface="Gotham Medium" panose="02000603030000020004" pitchFamily="2" charset="0"/>
                        </a:rPr>
                        <a:t>Home University</a:t>
                      </a:r>
                      <a:endParaRPr lang="en-IN" sz="1400" dirty="0">
                        <a:solidFill>
                          <a:schemeClr val="bg1"/>
                        </a:solidFill>
                        <a:latin typeface="Gotham Medium" panose="02000603030000020004" pitchFamily="2" charset="0"/>
                      </a:endParaRPr>
                    </a:p>
                  </a:txBody>
                  <a:tcPr anchor="ctr">
                    <a:solidFill>
                      <a:schemeClr val="tx1">
                        <a:lumMod val="50000"/>
                        <a:lumOff val="50000"/>
                      </a:schemeClr>
                    </a:solidFill>
                  </a:tcPr>
                </a:tc>
                <a:extLst>
                  <a:ext uri="{0D108BD9-81ED-4DB2-BD59-A6C34878D82A}">
                    <a16:rowId xmlns:a16="http://schemas.microsoft.com/office/drawing/2014/main" val="2792206328"/>
                  </a:ext>
                </a:extLst>
              </a:tr>
              <a:tr h="1756311">
                <a:tc>
                  <a:txBody>
                    <a:bodyPr/>
                    <a:lstStyle/>
                    <a:p>
                      <a:pPr algn="ctr"/>
                      <a:r>
                        <a:rPr lang="en-US" sz="1400" dirty="0">
                          <a:solidFill>
                            <a:schemeClr val="bg1"/>
                          </a:solidFill>
                          <a:latin typeface="Gotham Medium" panose="02000603030000020004" pitchFamily="2" charset="0"/>
                        </a:rPr>
                        <a:t>1</a:t>
                      </a:r>
                      <a:endParaRPr lang="en-IN" sz="1400" dirty="0">
                        <a:solidFill>
                          <a:schemeClr val="bg1"/>
                        </a:solidFill>
                        <a:latin typeface="Gotham Medium" panose="02000603030000020004" pitchFamily="2" charset="0"/>
                      </a:endParaRPr>
                    </a:p>
                  </a:txBody>
                  <a:tcPr anchor="ctr">
                    <a:solidFill>
                      <a:schemeClr val="tx1">
                        <a:lumMod val="50000"/>
                        <a:lumOff val="50000"/>
                      </a:schemeClr>
                    </a:solidFill>
                  </a:tcPr>
                </a:tc>
                <a:tc>
                  <a:txBody>
                    <a:bodyPr/>
                    <a:lstStyle/>
                    <a:p>
                      <a:pPr algn="ctr"/>
                      <a:r>
                        <a:rPr lang="en-US" sz="1400" dirty="0">
                          <a:latin typeface="Gotham Medium" panose="02000603030000020004" pitchFamily="2" charset="0"/>
                        </a:rPr>
                        <a:t>Type-A</a:t>
                      </a:r>
                      <a:endParaRPr lang="en-IN" sz="1400" dirty="0">
                        <a:latin typeface="Gotham Medium" panose="02000603030000020004" pitchFamily="2" charset="0"/>
                      </a:endParaRPr>
                    </a:p>
                  </a:txBody>
                  <a:tcPr anchor="ctr"/>
                </a:tc>
                <a:tc>
                  <a:txBody>
                    <a:bodyPr/>
                    <a:lstStyle/>
                    <a:p>
                      <a:pPr marL="228600" indent="-228600" algn="l">
                        <a:spcBef>
                          <a:spcPts val="600"/>
                        </a:spcBef>
                        <a:buFont typeface="+mj-lt"/>
                        <a:buAutoNum type="arabicPeriod"/>
                      </a:pPr>
                      <a:r>
                        <a:rPr lang="en-US" sz="1400" b="0" u="none" strike="noStrike" kern="1200" baseline="0" dirty="0">
                          <a:solidFill>
                            <a:schemeClr val="dk1"/>
                          </a:solidFill>
                          <a:latin typeface="Gotham Medium" panose="02000603030000020004" pitchFamily="2" charset="0"/>
                        </a:rPr>
                        <a:t>Candidates passing </a:t>
                      </a:r>
                      <a:r>
                        <a:rPr lang="en-US" sz="1400" b="1" u="none" strike="noStrike" kern="1200" baseline="0" dirty="0">
                          <a:solidFill>
                            <a:schemeClr val="dk1"/>
                          </a:solidFill>
                          <a:latin typeface="Gotham Medium" panose="02000603030000020004" pitchFamily="2" charset="0"/>
                        </a:rPr>
                        <a:t>SSC </a:t>
                      </a:r>
                      <a:r>
                        <a:rPr lang="en-US" sz="1400" b="0" u="none" strike="noStrike" kern="1200" baseline="0" dirty="0">
                          <a:solidFill>
                            <a:schemeClr val="dk1"/>
                          </a:solidFill>
                          <a:latin typeface="Gotham Medium" panose="02000603030000020004" pitchFamily="2" charset="0"/>
                        </a:rPr>
                        <a:t>and also </a:t>
                      </a:r>
                      <a:r>
                        <a:rPr lang="en-US" sz="1400" b="1" u="none" strike="noStrike" kern="1200" baseline="0" dirty="0">
                          <a:solidFill>
                            <a:schemeClr val="dk1"/>
                          </a:solidFill>
                          <a:latin typeface="Gotham Medium" panose="02000603030000020004" pitchFamily="2" charset="0"/>
                        </a:rPr>
                        <a:t>HSC or </a:t>
                      </a:r>
                      <a:r>
                        <a:rPr lang="en-IN" sz="1400" b="1" u="none" strike="noStrike" kern="1200" baseline="0" dirty="0">
                          <a:solidFill>
                            <a:schemeClr val="dk1"/>
                          </a:solidFill>
                          <a:latin typeface="Gotham Medium" panose="02000603030000020004" pitchFamily="2" charset="0"/>
                        </a:rPr>
                        <a:t>Diploma in Engineering </a:t>
                      </a:r>
                      <a:r>
                        <a:rPr lang="en-IN" sz="1400" b="0" u="none" strike="noStrike" kern="1200" baseline="0" dirty="0">
                          <a:solidFill>
                            <a:schemeClr val="dk1"/>
                          </a:solidFill>
                          <a:latin typeface="Gotham Medium" panose="02000603030000020004" pitchFamily="2" charset="0"/>
                        </a:rPr>
                        <a:t>Examination </a:t>
                      </a:r>
                      <a:r>
                        <a:rPr lang="en-US" sz="1400" b="0" u="none" strike="noStrike" kern="1200" baseline="0" dirty="0">
                          <a:solidFill>
                            <a:schemeClr val="dk1"/>
                          </a:solidFill>
                          <a:latin typeface="Gotham Medium" panose="02000603030000020004" pitchFamily="2" charset="0"/>
                        </a:rPr>
                        <a:t>from a recognized institution in </a:t>
                      </a:r>
                      <a:r>
                        <a:rPr lang="en-IN" sz="1400" b="0" u="none" strike="noStrike" kern="1200" baseline="0" dirty="0">
                          <a:solidFill>
                            <a:schemeClr val="dk1"/>
                          </a:solidFill>
                          <a:latin typeface="Gotham Medium" panose="02000603030000020004" pitchFamily="2" charset="0"/>
                        </a:rPr>
                        <a:t>Maharashtra State;</a:t>
                      </a:r>
                    </a:p>
                    <a:p>
                      <a:pPr marL="228600" indent="-228600" algn="l">
                        <a:spcBef>
                          <a:spcPts val="600"/>
                        </a:spcBef>
                        <a:buFont typeface="+mj-lt"/>
                        <a:buAutoNum type="arabicPeriod"/>
                      </a:pPr>
                      <a:r>
                        <a:rPr lang="en-US" sz="1400" b="0" u="none" strike="noStrike" kern="1200" baseline="0" dirty="0">
                          <a:solidFill>
                            <a:schemeClr val="dk1"/>
                          </a:solidFill>
                          <a:latin typeface="Gotham Medium" panose="02000603030000020004" pitchFamily="2" charset="0"/>
                        </a:rPr>
                        <a:t>Candidate who is either </a:t>
                      </a:r>
                      <a:r>
                        <a:rPr lang="en-US" sz="1400" b="1" u="none" strike="noStrike" kern="1200" baseline="0" dirty="0">
                          <a:solidFill>
                            <a:schemeClr val="dk1"/>
                          </a:solidFill>
                          <a:latin typeface="Gotham Medium" panose="02000603030000020004" pitchFamily="2" charset="0"/>
                        </a:rPr>
                        <a:t>Domicile </a:t>
                      </a:r>
                      <a:r>
                        <a:rPr lang="en-US" sz="1400" b="0" u="none" strike="noStrike" kern="1200" baseline="0" dirty="0">
                          <a:solidFill>
                            <a:schemeClr val="dk1"/>
                          </a:solidFill>
                          <a:latin typeface="Gotham Medium" panose="02000603030000020004" pitchFamily="2" charset="0"/>
                        </a:rPr>
                        <a:t>of Maharashtra and/or is </a:t>
                      </a:r>
                      <a:r>
                        <a:rPr lang="en-US" sz="1400" b="1" u="none" strike="noStrike" kern="1200" baseline="0" dirty="0">
                          <a:solidFill>
                            <a:schemeClr val="dk1"/>
                          </a:solidFill>
                          <a:latin typeface="Gotham Medium" panose="02000603030000020004" pitchFamily="2" charset="0"/>
                        </a:rPr>
                        <a:t>born </a:t>
                      </a:r>
                      <a:r>
                        <a:rPr lang="en-US" sz="1400" b="0" u="none" strike="noStrike" kern="1200" baseline="0" dirty="0">
                          <a:solidFill>
                            <a:schemeClr val="dk1"/>
                          </a:solidFill>
                          <a:latin typeface="Gotham Medium" panose="02000603030000020004" pitchFamily="2" charset="0"/>
                        </a:rPr>
                        <a:t>in </a:t>
                      </a:r>
                      <a:r>
                        <a:rPr lang="en-IN" sz="1400" b="0" u="none" strike="noStrike" kern="1200" baseline="0" dirty="0">
                          <a:solidFill>
                            <a:schemeClr val="dk1"/>
                          </a:solidFill>
                          <a:latin typeface="Gotham Medium" panose="02000603030000020004" pitchFamily="2" charset="0"/>
                        </a:rPr>
                        <a:t>Maharashtra;</a:t>
                      </a:r>
                      <a:endParaRPr lang="en-IN" sz="1400" dirty="0">
                        <a:latin typeface="Gotham Medium" panose="02000603030000020004" pitchFamily="2" charset="0"/>
                      </a:endParaRPr>
                    </a:p>
                  </a:txBody>
                  <a:tcPr anchor="ctr"/>
                </a:tc>
                <a:tc>
                  <a:txBody>
                    <a:bodyPr/>
                    <a:lstStyle/>
                    <a:p>
                      <a:pPr algn="l"/>
                      <a:r>
                        <a:rPr lang="en-US" sz="1400" dirty="0">
                          <a:latin typeface="Gotham Medium" panose="02000603030000020004" pitchFamily="2" charset="0"/>
                        </a:rPr>
                        <a:t>Place of passing of Qualifying Examination falling within the</a:t>
                      </a:r>
                    </a:p>
                    <a:p>
                      <a:pPr algn="l"/>
                      <a:r>
                        <a:rPr lang="en-US" sz="1400" dirty="0">
                          <a:latin typeface="Gotham Medium" panose="02000603030000020004" pitchFamily="2" charset="0"/>
                        </a:rPr>
                        <a:t>jurisdiction of the respective University area.</a:t>
                      </a:r>
                      <a:endParaRPr lang="en-IN" sz="1400" dirty="0">
                        <a:latin typeface="Gotham Medium" panose="02000603030000020004" pitchFamily="2" charset="0"/>
                      </a:endParaRPr>
                    </a:p>
                  </a:txBody>
                  <a:tcPr anchor="ctr"/>
                </a:tc>
                <a:extLst>
                  <a:ext uri="{0D108BD9-81ED-4DB2-BD59-A6C34878D82A}">
                    <a16:rowId xmlns:a16="http://schemas.microsoft.com/office/drawing/2014/main" val="1132655933"/>
                  </a:ext>
                </a:extLst>
              </a:tr>
            </a:tbl>
          </a:graphicData>
        </a:graphic>
      </p:graphicFrame>
      <p:graphicFrame>
        <p:nvGraphicFramePr>
          <p:cNvPr id="2" name="Table 1">
            <a:extLst>
              <a:ext uri="{FF2B5EF4-FFF2-40B4-BE49-F238E27FC236}">
                <a16:creationId xmlns:a16="http://schemas.microsoft.com/office/drawing/2014/main" id="{AF0614FB-9DC5-49C2-9737-CE4C3B6E15F3}"/>
              </a:ext>
            </a:extLst>
          </p:cNvPr>
          <p:cNvGraphicFramePr>
            <a:graphicFrameLocks noGrp="1"/>
          </p:cNvGraphicFramePr>
          <p:nvPr>
            <p:extLst>
              <p:ext uri="{D42A27DB-BD31-4B8C-83A1-F6EECF244321}">
                <p14:modId xmlns:p14="http://schemas.microsoft.com/office/powerpoint/2010/main" val="858552120"/>
              </p:ext>
            </p:extLst>
          </p:nvPr>
        </p:nvGraphicFramePr>
        <p:xfrm>
          <a:off x="292765" y="3258553"/>
          <a:ext cx="8698815" cy="1527227"/>
        </p:xfrm>
        <a:graphic>
          <a:graphicData uri="http://schemas.openxmlformats.org/drawingml/2006/table">
            <a:tbl>
              <a:tblPr firstRow="1" bandRow="1">
                <a:tableStyleId>{5940675A-B579-460E-94D1-54222C63F5DA}</a:tableStyleId>
              </a:tblPr>
              <a:tblGrid>
                <a:gridCol w="645110">
                  <a:extLst>
                    <a:ext uri="{9D8B030D-6E8A-4147-A177-3AD203B41FA5}">
                      <a16:colId xmlns:a16="http://schemas.microsoft.com/office/drawing/2014/main" val="3829790474"/>
                    </a:ext>
                  </a:extLst>
                </a:gridCol>
                <a:gridCol w="1348125">
                  <a:extLst>
                    <a:ext uri="{9D8B030D-6E8A-4147-A177-3AD203B41FA5}">
                      <a16:colId xmlns:a16="http://schemas.microsoft.com/office/drawing/2014/main" val="3351564834"/>
                    </a:ext>
                  </a:extLst>
                </a:gridCol>
                <a:gridCol w="4267200">
                  <a:extLst>
                    <a:ext uri="{9D8B030D-6E8A-4147-A177-3AD203B41FA5}">
                      <a16:colId xmlns:a16="http://schemas.microsoft.com/office/drawing/2014/main" val="3509619956"/>
                    </a:ext>
                  </a:extLst>
                </a:gridCol>
                <a:gridCol w="2438380">
                  <a:extLst>
                    <a:ext uri="{9D8B030D-6E8A-4147-A177-3AD203B41FA5}">
                      <a16:colId xmlns:a16="http://schemas.microsoft.com/office/drawing/2014/main" val="2199779274"/>
                    </a:ext>
                  </a:extLst>
                </a:gridCol>
              </a:tblGrid>
              <a:tr h="1527227">
                <a:tc>
                  <a:txBody>
                    <a:bodyPr/>
                    <a:lstStyle/>
                    <a:p>
                      <a:pPr algn="ctr"/>
                      <a:r>
                        <a:rPr lang="en-US" sz="1400" dirty="0">
                          <a:solidFill>
                            <a:schemeClr val="bg1"/>
                          </a:solidFill>
                          <a:latin typeface="Gotham Medium" panose="02000603030000020004" pitchFamily="2" charset="0"/>
                        </a:rPr>
                        <a:t>2</a:t>
                      </a:r>
                      <a:endParaRPr lang="en-IN" sz="1400" dirty="0">
                        <a:solidFill>
                          <a:schemeClr val="bg1"/>
                        </a:solidFill>
                        <a:latin typeface="Gotham Medium" panose="02000603030000020004" pitchFamily="2" charset="0"/>
                      </a:endParaRPr>
                    </a:p>
                  </a:txBody>
                  <a:tcPr anchor="ctr">
                    <a:solidFill>
                      <a:schemeClr val="tx1">
                        <a:lumMod val="50000"/>
                        <a:lumOff val="50000"/>
                      </a:schemeClr>
                    </a:solidFill>
                  </a:tcPr>
                </a:tc>
                <a:tc>
                  <a:txBody>
                    <a:bodyPr/>
                    <a:lstStyle/>
                    <a:p>
                      <a:pPr algn="ctr"/>
                      <a:r>
                        <a:rPr lang="en-US" sz="1400" dirty="0">
                          <a:latin typeface="Gotham Medium" panose="02000603030000020004" pitchFamily="2" charset="0"/>
                        </a:rPr>
                        <a:t>Type-B</a:t>
                      </a:r>
                      <a:endParaRPr lang="en-IN" sz="1400" dirty="0">
                        <a:latin typeface="Gotham Medium" panose="02000603030000020004" pitchFamily="2" charset="0"/>
                      </a:endParaRPr>
                    </a:p>
                  </a:txBody>
                  <a:tcPr anchor="ctr"/>
                </a:tc>
                <a:tc>
                  <a:txBody>
                    <a:bodyPr/>
                    <a:lstStyle/>
                    <a:p>
                      <a:pPr algn="l"/>
                      <a:r>
                        <a:rPr lang="en-US" sz="1400" dirty="0">
                          <a:latin typeface="Gotham Medium" panose="02000603030000020004" pitchFamily="2" charset="0"/>
                        </a:rPr>
                        <a:t>A Candidate who does not fall in Type-A above, but who or whose Father or Mother is domiciled in the State of Maharashtra and possesses Domicile Certificate.</a:t>
                      </a:r>
                      <a:endParaRPr lang="en-IN" sz="1400" dirty="0">
                        <a:latin typeface="Gotham Medium" panose="02000603030000020004" pitchFamily="2" charset="0"/>
                      </a:endParaRPr>
                    </a:p>
                  </a:txBody>
                  <a:tcPr anchor="ctr"/>
                </a:tc>
                <a:tc>
                  <a:txBody>
                    <a:bodyPr/>
                    <a:lstStyle/>
                    <a:p>
                      <a:pPr algn="l"/>
                      <a:r>
                        <a:rPr lang="en-US" sz="1400" dirty="0">
                          <a:latin typeface="Gotham Medium" panose="02000603030000020004" pitchFamily="2" charset="0"/>
                        </a:rPr>
                        <a:t>Place of Domicile Certificate issuing</a:t>
                      </a:r>
                    </a:p>
                    <a:p>
                      <a:pPr algn="l"/>
                      <a:r>
                        <a:rPr lang="en-US" sz="1400" dirty="0">
                          <a:latin typeface="Gotham Medium" panose="02000603030000020004" pitchFamily="2" charset="0"/>
                        </a:rPr>
                        <a:t>authority falling within the jurisdiction of the respective University area.</a:t>
                      </a:r>
                      <a:endParaRPr lang="en-IN" sz="1400" dirty="0">
                        <a:latin typeface="Gotham Medium" panose="02000603030000020004" pitchFamily="2" charset="0"/>
                      </a:endParaRPr>
                    </a:p>
                  </a:txBody>
                  <a:tcPr anchor="ctr"/>
                </a:tc>
                <a:extLst>
                  <a:ext uri="{0D108BD9-81ED-4DB2-BD59-A6C34878D82A}">
                    <a16:rowId xmlns:a16="http://schemas.microsoft.com/office/drawing/2014/main" val="4271666409"/>
                  </a:ext>
                </a:extLst>
              </a:tr>
            </a:tbl>
          </a:graphicData>
        </a:graphic>
      </p:graphicFrame>
    </p:spTree>
    <p:extLst>
      <p:ext uri="{BB962C8B-B14F-4D97-AF65-F5344CB8AC3E}">
        <p14:creationId xmlns:p14="http://schemas.microsoft.com/office/powerpoint/2010/main" val="111229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55726F5-E115-4999-B719-54A4ED037444}"/>
              </a:ext>
            </a:extLst>
          </p:cNvPr>
          <p:cNvSpPr txBox="1">
            <a:spLocks/>
          </p:cNvSpPr>
          <p:nvPr/>
        </p:nvSpPr>
        <p:spPr>
          <a:xfrm>
            <a:off x="311815" y="256504"/>
            <a:ext cx="8610600" cy="521748"/>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Type of Candidature</a:t>
            </a:r>
          </a:p>
        </p:txBody>
      </p:sp>
      <p:sp>
        <p:nvSpPr>
          <p:cNvPr id="7" name="Google Shape;324;p7">
            <a:extLst>
              <a:ext uri="{FF2B5EF4-FFF2-40B4-BE49-F238E27FC236}">
                <a16:creationId xmlns:a16="http://schemas.microsoft.com/office/drawing/2014/main" id="{B46430E2-23AC-4F06-B465-0EE9E0C026AF}"/>
              </a:ext>
            </a:extLst>
          </p:cNvPr>
          <p:cNvSpPr/>
          <p:nvPr/>
        </p:nvSpPr>
        <p:spPr>
          <a:xfrm>
            <a:off x="0" y="0"/>
            <a:ext cx="152400" cy="5143500"/>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nvGrpSpPr>
          <p:cNvPr id="9" name="Google Shape;347;p7">
            <a:extLst>
              <a:ext uri="{FF2B5EF4-FFF2-40B4-BE49-F238E27FC236}">
                <a16:creationId xmlns:a16="http://schemas.microsoft.com/office/drawing/2014/main" id="{683F96AB-5E07-4E13-B8B2-E87F30802558}"/>
              </a:ext>
            </a:extLst>
          </p:cNvPr>
          <p:cNvGrpSpPr/>
          <p:nvPr/>
        </p:nvGrpSpPr>
        <p:grpSpPr>
          <a:xfrm>
            <a:off x="0" y="192762"/>
            <a:ext cx="311815" cy="653721"/>
            <a:chOff x="5385375" y="498300"/>
            <a:chExt cx="802200" cy="556500"/>
          </a:xfrm>
          <a:solidFill>
            <a:srgbClr val="52CBBE"/>
          </a:solidFill>
        </p:grpSpPr>
        <p:sp>
          <p:nvSpPr>
            <p:cNvPr id="10" name="Google Shape;348;p7">
              <a:extLst>
                <a:ext uri="{FF2B5EF4-FFF2-40B4-BE49-F238E27FC236}">
                  <a16:creationId xmlns:a16="http://schemas.microsoft.com/office/drawing/2014/main" id="{B4ED3B59-6CD0-4E9D-AA7E-23E7E2EC7467}"/>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11" name="Google Shape;349;p7">
              <a:extLst>
                <a:ext uri="{FF2B5EF4-FFF2-40B4-BE49-F238E27FC236}">
                  <a16:creationId xmlns:a16="http://schemas.microsoft.com/office/drawing/2014/main" id="{C003572C-773D-45CF-8902-E5DBAD0A6A51}"/>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12" name="Google Shape;350;p7">
              <a:extLst>
                <a:ext uri="{FF2B5EF4-FFF2-40B4-BE49-F238E27FC236}">
                  <a16:creationId xmlns:a16="http://schemas.microsoft.com/office/drawing/2014/main" id="{7A5DB23F-E1AC-48CB-8718-0BF9102A5174}"/>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graphicFrame>
        <p:nvGraphicFramePr>
          <p:cNvPr id="4" name="Table 5">
            <a:extLst>
              <a:ext uri="{FF2B5EF4-FFF2-40B4-BE49-F238E27FC236}">
                <a16:creationId xmlns:a16="http://schemas.microsoft.com/office/drawing/2014/main" id="{43139666-3D71-4B2B-AC6D-B2389E31DA15}"/>
              </a:ext>
            </a:extLst>
          </p:cNvPr>
          <p:cNvGraphicFramePr>
            <a:graphicFrameLocks noGrp="1"/>
          </p:cNvGraphicFramePr>
          <p:nvPr>
            <p:ph idx="1"/>
            <p:extLst>
              <p:ext uri="{D42A27DB-BD31-4B8C-83A1-F6EECF244321}">
                <p14:modId xmlns:p14="http://schemas.microsoft.com/office/powerpoint/2010/main" val="3401422748"/>
              </p:ext>
            </p:extLst>
          </p:nvPr>
        </p:nvGraphicFramePr>
        <p:xfrm>
          <a:off x="292765" y="984082"/>
          <a:ext cx="8698815" cy="518160"/>
        </p:xfrm>
        <a:graphic>
          <a:graphicData uri="http://schemas.openxmlformats.org/drawingml/2006/table">
            <a:tbl>
              <a:tblPr firstRow="1" bandRow="1">
                <a:tableStyleId>{5940675A-B579-460E-94D1-54222C63F5DA}</a:tableStyleId>
              </a:tblPr>
              <a:tblGrid>
                <a:gridCol w="645110">
                  <a:extLst>
                    <a:ext uri="{9D8B030D-6E8A-4147-A177-3AD203B41FA5}">
                      <a16:colId xmlns:a16="http://schemas.microsoft.com/office/drawing/2014/main" val="1684780766"/>
                    </a:ext>
                  </a:extLst>
                </a:gridCol>
                <a:gridCol w="1348125">
                  <a:extLst>
                    <a:ext uri="{9D8B030D-6E8A-4147-A177-3AD203B41FA5}">
                      <a16:colId xmlns:a16="http://schemas.microsoft.com/office/drawing/2014/main" val="1110361237"/>
                    </a:ext>
                  </a:extLst>
                </a:gridCol>
                <a:gridCol w="4267200">
                  <a:extLst>
                    <a:ext uri="{9D8B030D-6E8A-4147-A177-3AD203B41FA5}">
                      <a16:colId xmlns:a16="http://schemas.microsoft.com/office/drawing/2014/main" val="809426284"/>
                    </a:ext>
                  </a:extLst>
                </a:gridCol>
                <a:gridCol w="2438380">
                  <a:extLst>
                    <a:ext uri="{9D8B030D-6E8A-4147-A177-3AD203B41FA5}">
                      <a16:colId xmlns:a16="http://schemas.microsoft.com/office/drawing/2014/main" val="244739685"/>
                    </a:ext>
                  </a:extLst>
                </a:gridCol>
              </a:tblGrid>
              <a:tr h="444668">
                <a:tc>
                  <a:txBody>
                    <a:bodyPr/>
                    <a:lstStyle/>
                    <a:p>
                      <a:pPr algn="ctr"/>
                      <a:r>
                        <a:rPr lang="en-US" sz="1400" dirty="0">
                          <a:solidFill>
                            <a:schemeClr val="bg1"/>
                          </a:solidFill>
                          <a:latin typeface="Gotham Medium" panose="02000603030000020004" pitchFamily="2" charset="0"/>
                        </a:rPr>
                        <a:t>Sr. No.</a:t>
                      </a:r>
                      <a:endParaRPr lang="en-IN" sz="1400" dirty="0">
                        <a:solidFill>
                          <a:schemeClr val="bg1"/>
                        </a:solidFill>
                        <a:latin typeface="Gotham Medium" panose="02000603030000020004" pitchFamily="2" charset="0"/>
                      </a:endParaRPr>
                    </a:p>
                  </a:txBody>
                  <a:tcPr anchor="ctr">
                    <a:solidFill>
                      <a:schemeClr val="tx1">
                        <a:lumMod val="50000"/>
                        <a:lumOff val="50000"/>
                      </a:schemeClr>
                    </a:solidFill>
                  </a:tcPr>
                </a:tc>
                <a:tc>
                  <a:txBody>
                    <a:bodyPr/>
                    <a:lstStyle/>
                    <a:p>
                      <a:pPr algn="ctr"/>
                      <a:r>
                        <a:rPr lang="en-US" sz="1400" dirty="0">
                          <a:solidFill>
                            <a:schemeClr val="bg1"/>
                          </a:solidFill>
                          <a:latin typeface="Gotham Medium" panose="02000603030000020004" pitchFamily="2" charset="0"/>
                        </a:rPr>
                        <a:t>Type of Candidature</a:t>
                      </a:r>
                      <a:endParaRPr lang="en-IN" sz="1400" dirty="0">
                        <a:solidFill>
                          <a:schemeClr val="bg1"/>
                        </a:solidFill>
                        <a:latin typeface="Gotham Medium" panose="02000603030000020004" pitchFamily="2" charset="0"/>
                      </a:endParaRPr>
                    </a:p>
                  </a:txBody>
                  <a:tcPr anchor="ctr">
                    <a:solidFill>
                      <a:schemeClr val="tx1">
                        <a:lumMod val="50000"/>
                        <a:lumOff val="50000"/>
                      </a:schemeClr>
                    </a:solidFill>
                  </a:tcPr>
                </a:tc>
                <a:tc>
                  <a:txBody>
                    <a:bodyPr/>
                    <a:lstStyle/>
                    <a:p>
                      <a:pPr algn="ctr"/>
                      <a:r>
                        <a:rPr lang="en-US" sz="1400" dirty="0">
                          <a:solidFill>
                            <a:schemeClr val="bg1"/>
                          </a:solidFill>
                          <a:latin typeface="Gotham Medium" panose="02000603030000020004" pitchFamily="2" charset="0"/>
                        </a:rPr>
                        <a:t>Eligibility</a:t>
                      </a:r>
                      <a:endParaRPr lang="en-IN" sz="1400" dirty="0">
                        <a:solidFill>
                          <a:schemeClr val="bg1"/>
                        </a:solidFill>
                        <a:latin typeface="Gotham Medium" panose="02000603030000020004" pitchFamily="2" charset="0"/>
                      </a:endParaRPr>
                    </a:p>
                  </a:txBody>
                  <a:tcPr anchor="ctr">
                    <a:solidFill>
                      <a:schemeClr val="tx1">
                        <a:lumMod val="50000"/>
                        <a:lumOff val="50000"/>
                      </a:schemeClr>
                    </a:solidFill>
                  </a:tcPr>
                </a:tc>
                <a:tc>
                  <a:txBody>
                    <a:bodyPr/>
                    <a:lstStyle/>
                    <a:p>
                      <a:pPr algn="ctr"/>
                      <a:r>
                        <a:rPr lang="en-US" sz="1400" dirty="0">
                          <a:solidFill>
                            <a:schemeClr val="bg1"/>
                          </a:solidFill>
                          <a:latin typeface="Gotham Medium" panose="02000603030000020004" pitchFamily="2" charset="0"/>
                        </a:rPr>
                        <a:t>Home University</a:t>
                      </a:r>
                      <a:endParaRPr lang="en-IN" sz="1400" dirty="0">
                        <a:solidFill>
                          <a:schemeClr val="bg1"/>
                        </a:solidFill>
                        <a:latin typeface="Gotham Medium" panose="02000603030000020004" pitchFamily="2" charset="0"/>
                      </a:endParaRPr>
                    </a:p>
                  </a:txBody>
                  <a:tcPr anchor="ctr">
                    <a:solidFill>
                      <a:schemeClr val="tx1">
                        <a:lumMod val="50000"/>
                        <a:lumOff val="50000"/>
                      </a:schemeClr>
                    </a:solidFill>
                  </a:tcPr>
                </a:tc>
                <a:extLst>
                  <a:ext uri="{0D108BD9-81ED-4DB2-BD59-A6C34878D82A}">
                    <a16:rowId xmlns:a16="http://schemas.microsoft.com/office/drawing/2014/main" val="2792206328"/>
                  </a:ext>
                </a:extLst>
              </a:tr>
            </a:tbl>
          </a:graphicData>
        </a:graphic>
      </p:graphicFrame>
      <p:graphicFrame>
        <p:nvGraphicFramePr>
          <p:cNvPr id="2" name="Table 1">
            <a:extLst>
              <a:ext uri="{FF2B5EF4-FFF2-40B4-BE49-F238E27FC236}">
                <a16:creationId xmlns:a16="http://schemas.microsoft.com/office/drawing/2014/main" id="{41490475-B2FB-4F2E-8F9C-29167B1D0EA3}"/>
              </a:ext>
            </a:extLst>
          </p:cNvPr>
          <p:cNvGraphicFramePr>
            <a:graphicFrameLocks noGrp="1"/>
          </p:cNvGraphicFramePr>
          <p:nvPr>
            <p:extLst>
              <p:ext uri="{D42A27DB-BD31-4B8C-83A1-F6EECF244321}">
                <p14:modId xmlns:p14="http://schemas.microsoft.com/office/powerpoint/2010/main" val="170291482"/>
              </p:ext>
            </p:extLst>
          </p:nvPr>
        </p:nvGraphicFramePr>
        <p:xfrm>
          <a:off x="292764" y="3097530"/>
          <a:ext cx="8698815" cy="1737360"/>
        </p:xfrm>
        <a:graphic>
          <a:graphicData uri="http://schemas.openxmlformats.org/drawingml/2006/table">
            <a:tbl>
              <a:tblPr firstRow="1" bandRow="1">
                <a:tableStyleId>{5940675A-B579-460E-94D1-54222C63F5DA}</a:tableStyleId>
              </a:tblPr>
              <a:tblGrid>
                <a:gridCol w="645110">
                  <a:extLst>
                    <a:ext uri="{9D8B030D-6E8A-4147-A177-3AD203B41FA5}">
                      <a16:colId xmlns:a16="http://schemas.microsoft.com/office/drawing/2014/main" val="2143951406"/>
                    </a:ext>
                  </a:extLst>
                </a:gridCol>
                <a:gridCol w="1348125">
                  <a:extLst>
                    <a:ext uri="{9D8B030D-6E8A-4147-A177-3AD203B41FA5}">
                      <a16:colId xmlns:a16="http://schemas.microsoft.com/office/drawing/2014/main" val="2729739640"/>
                    </a:ext>
                  </a:extLst>
                </a:gridCol>
                <a:gridCol w="4267200">
                  <a:extLst>
                    <a:ext uri="{9D8B030D-6E8A-4147-A177-3AD203B41FA5}">
                      <a16:colId xmlns:a16="http://schemas.microsoft.com/office/drawing/2014/main" val="4214120261"/>
                    </a:ext>
                  </a:extLst>
                </a:gridCol>
                <a:gridCol w="2438380">
                  <a:extLst>
                    <a:ext uri="{9D8B030D-6E8A-4147-A177-3AD203B41FA5}">
                      <a16:colId xmlns:a16="http://schemas.microsoft.com/office/drawing/2014/main" val="4195876544"/>
                    </a:ext>
                  </a:extLst>
                </a:gridCol>
              </a:tblGrid>
              <a:tr h="1527227">
                <a:tc>
                  <a:txBody>
                    <a:bodyPr/>
                    <a:lstStyle/>
                    <a:p>
                      <a:pPr algn="ctr"/>
                      <a:r>
                        <a:rPr lang="en-IN" sz="1400" dirty="0">
                          <a:solidFill>
                            <a:schemeClr val="bg1"/>
                          </a:solidFill>
                          <a:latin typeface="Gotham Medium" panose="02000603030000020004" pitchFamily="2" charset="0"/>
                        </a:rPr>
                        <a:t>4</a:t>
                      </a:r>
                    </a:p>
                  </a:txBody>
                  <a:tcPr anchor="ctr">
                    <a:solidFill>
                      <a:schemeClr val="tx1">
                        <a:lumMod val="50000"/>
                        <a:lumOff val="50000"/>
                      </a:schemeClr>
                    </a:solidFill>
                  </a:tcPr>
                </a:tc>
                <a:tc>
                  <a:txBody>
                    <a:bodyPr/>
                    <a:lstStyle/>
                    <a:p>
                      <a:pPr marL="0" algn="ctr" defTabSz="914378" rtl="0" eaLnBrk="1" latinLnBrk="0" hangingPunct="1"/>
                      <a:r>
                        <a:rPr lang="en-US" sz="1400" kern="1200" dirty="0">
                          <a:solidFill>
                            <a:schemeClr val="tx1"/>
                          </a:solidFill>
                          <a:latin typeface="Gotham Medium" panose="02000603030000020004" pitchFamily="2" charset="0"/>
                          <a:ea typeface="+mn-ea"/>
                          <a:cs typeface="+mn-cs"/>
                        </a:rPr>
                        <a:t>Type - D</a:t>
                      </a:r>
                      <a:endParaRPr lang="en-IN" sz="1400" kern="1200" dirty="0">
                        <a:solidFill>
                          <a:schemeClr val="tx1"/>
                        </a:solidFill>
                        <a:latin typeface="Gotham Medium" panose="02000603030000020004" pitchFamily="2" charset="0"/>
                        <a:ea typeface="+mn-ea"/>
                        <a:cs typeface="+mn-cs"/>
                      </a:endParaRPr>
                    </a:p>
                  </a:txBody>
                  <a:tcPr anchor="ctr"/>
                </a:tc>
                <a:tc>
                  <a:txBody>
                    <a:bodyPr/>
                    <a:lstStyle/>
                    <a:p>
                      <a:pPr marL="0" algn="l" defTabSz="914378" rtl="0" eaLnBrk="1" latinLnBrk="0" hangingPunct="1"/>
                      <a:r>
                        <a:rPr lang="en-US" sz="1400" kern="1200" dirty="0">
                          <a:solidFill>
                            <a:schemeClr val="tx1"/>
                          </a:solidFill>
                          <a:latin typeface="Gotham Medium" panose="02000603030000020004" pitchFamily="2" charset="0"/>
                          <a:ea typeface="+mn-ea"/>
                          <a:cs typeface="+mn-cs"/>
                        </a:rPr>
                        <a:t>A Candidate who does not fall in any of the above Type-A, Type B and Type-C but whose Father or Mother is an employee or retired employee of the Government of Maharashtra or Government of Maharashtra Undertaking.</a:t>
                      </a:r>
                      <a:endParaRPr lang="en-IN" sz="1400" kern="1200" dirty="0">
                        <a:solidFill>
                          <a:schemeClr val="tx1"/>
                        </a:solidFill>
                        <a:latin typeface="Gotham Medium" panose="02000603030000020004" pitchFamily="2" charset="0"/>
                        <a:ea typeface="+mn-ea"/>
                        <a:cs typeface="+mn-cs"/>
                      </a:endParaRPr>
                    </a:p>
                  </a:txBody>
                  <a:tcPr anchor="ctr"/>
                </a:tc>
                <a:tc>
                  <a:txBody>
                    <a:bodyPr/>
                    <a:lstStyle/>
                    <a:p>
                      <a:pPr marL="0" indent="0" algn="l" defTabSz="914378" rtl="0" eaLnBrk="1" latinLnBrk="0" hangingPunct="1">
                        <a:buFont typeface="+mj-lt"/>
                        <a:buNone/>
                      </a:pPr>
                      <a:r>
                        <a:rPr lang="en-US" sz="1200" kern="1200" dirty="0">
                          <a:solidFill>
                            <a:schemeClr val="tx1"/>
                          </a:solidFill>
                          <a:latin typeface="Gotham Medium" panose="02000603030000020004" pitchFamily="2" charset="0"/>
                          <a:ea typeface="+mn-ea"/>
                          <a:cs typeface="+mn-cs"/>
                        </a:rPr>
                        <a:t>Place of posting of Father or Mother of Candidate or the place of settlement of the Father or Mother if retired or the place of last </a:t>
                      </a:r>
                      <a:r>
                        <a:rPr lang="en-IN" sz="1200" kern="1200" dirty="0">
                          <a:solidFill>
                            <a:schemeClr val="tx1"/>
                          </a:solidFill>
                          <a:latin typeface="Gotham Medium" panose="02000603030000020004" pitchFamily="2" charset="0"/>
                          <a:ea typeface="+mn-ea"/>
                          <a:cs typeface="+mn-cs"/>
                        </a:rPr>
                        <a:t>posting if deputed outside Maharashtra falling within the jurisdiction of the respective University area.</a:t>
                      </a:r>
                    </a:p>
                  </a:txBody>
                  <a:tcPr anchor="ctr"/>
                </a:tc>
                <a:extLst>
                  <a:ext uri="{0D108BD9-81ED-4DB2-BD59-A6C34878D82A}">
                    <a16:rowId xmlns:a16="http://schemas.microsoft.com/office/drawing/2014/main" val="3118291050"/>
                  </a:ext>
                </a:extLst>
              </a:tr>
            </a:tbl>
          </a:graphicData>
        </a:graphic>
      </p:graphicFrame>
      <p:graphicFrame>
        <p:nvGraphicFramePr>
          <p:cNvPr id="3" name="Table 2">
            <a:extLst>
              <a:ext uri="{FF2B5EF4-FFF2-40B4-BE49-F238E27FC236}">
                <a16:creationId xmlns:a16="http://schemas.microsoft.com/office/drawing/2014/main" id="{0D0D14E7-0944-46B2-89DB-C4DDFFACB41C}"/>
              </a:ext>
            </a:extLst>
          </p:cNvPr>
          <p:cNvGraphicFramePr>
            <a:graphicFrameLocks noGrp="1"/>
          </p:cNvGraphicFramePr>
          <p:nvPr>
            <p:extLst>
              <p:ext uri="{D42A27DB-BD31-4B8C-83A1-F6EECF244321}">
                <p14:modId xmlns:p14="http://schemas.microsoft.com/office/powerpoint/2010/main" val="780734104"/>
              </p:ext>
            </p:extLst>
          </p:nvPr>
        </p:nvGraphicFramePr>
        <p:xfrm>
          <a:off x="292764" y="1494622"/>
          <a:ext cx="8698815" cy="1602908"/>
        </p:xfrm>
        <a:graphic>
          <a:graphicData uri="http://schemas.openxmlformats.org/drawingml/2006/table">
            <a:tbl>
              <a:tblPr firstRow="1" bandRow="1">
                <a:tableStyleId>{5940675A-B579-460E-94D1-54222C63F5DA}</a:tableStyleId>
              </a:tblPr>
              <a:tblGrid>
                <a:gridCol w="645110">
                  <a:extLst>
                    <a:ext uri="{9D8B030D-6E8A-4147-A177-3AD203B41FA5}">
                      <a16:colId xmlns:a16="http://schemas.microsoft.com/office/drawing/2014/main" val="3466323469"/>
                    </a:ext>
                  </a:extLst>
                </a:gridCol>
                <a:gridCol w="1348125">
                  <a:extLst>
                    <a:ext uri="{9D8B030D-6E8A-4147-A177-3AD203B41FA5}">
                      <a16:colId xmlns:a16="http://schemas.microsoft.com/office/drawing/2014/main" val="3841157328"/>
                    </a:ext>
                  </a:extLst>
                </a:gridCol>
                <a:gridCol w="4267200">
                  <a:extLst>
                    <a:ext uri="{9D8B030D-6E8A-4147-A177-3AD203B41FA5}">
                      <a16:colId xmlns:a16="http://schemas.microsoft.com/office/drawing/2014/main" val="1803911824"/>
                    </a:ext>
                  </a:extLst>
                </a:gridCol>
                <a:gridCol w="2438380">
                  <a:extLst>
                    <a:ext uri="{9D8B030D-6E8A-4147-A177-3AD203B41FA5}">
                      <a16:colId xmlns:a16="http://schemas.microsoft.com/office/drawing/2014/main" val="4247884165"/>
                    </a:ext>
                  </a:extLst>
                </a:gridCol>
              </a:tblGrid>
              <a:tr h="1602908">
                <a:tc>
                  <a:txBody>
                    <a:bodyPr/>
                    <a:lstStyle/>
                    <a:p>
                      <a:pPr algn="ctr"/>
                      <a:r>
                        <a:rPr lang="en-US" sz="1400" dirty="0">
                          <a:solidFill>
                            <a:schemeClr val="bg1"/>
                          </a:solidFill>
                          <a:latin typeface="Gotham Medium" panose="02000603030000020004" pitchFamily="2" charset="0"/>
                        </a:rPr>
                        <a:t>3</a:t>
                      </a:r>
                      <a:endParaRPr lang="en-IN" sz="1400" dirty="0">
                        <a:solidFill>
                          <a:schemeClr val="bg1"/>
                        </a:solidFill>
                        <a:latin typeface="Gotham Medium" panose="02000603030000020004" pitchFamily="2" charset="0"/>
                      </a:endParaRPr>
                    </a:p>
                  </a:txBody>
                  <a:tcPr anchor="ctr">
                    <a:solidFill>
                      <a:schemeClr val="tx1">
                        <a:lumMod val="50000"/>
                        <a:lumOff val="50000"/>
                      </a:schemeClr>
                    </a:solidFill>
                  </a:tcPr>
                </a:tc>
                <a:tc>
                  <a:txBody>
                    <a:bodyPr/>
                    <a:lstStyle/>
                    <a:p>
                      <a:pPr marL="0" algn="ctr" defTabSz="914378" rtl="0" eaLnBrk="1" latinLnBrk="0" hangingPunct="1"/>
                      <a:r>
                        <a:rPr lang="en-US" sz="1400" kern="1200" dirty="0">
                          <a:solidFill>
                            <a:schemeClr val="tx1"/>
                          </a:solidFill>
                          <a:latin typeface="Gotham Medium" panose="02000603030000020004" pitchFamily="2" charset="0"/>
                          <a:ea typeface="+mn-ea"/>
                          <a:cs typeface="+mn-cs"/>
                        </a:rPr>
                        <a:t>Type - C</a:t>
                      </a:r>
                      <a:endParaRPr lang="en-IN" sz="1400" kern="1200" dirty="0">
                        <a:solidFill>
                          <a:schemeClr val="tx1"/>
                        </a:solidFill>
                        <a:latin typeface="Gotham Medium" panose="02000603030000020004" pitchFamily="2" charset="0"/>
                        <a:ea typeface="+mn-ea"/>
                        <a:cs typeface="+mn-cs"/>
                      </a:endParaRPr>
                    </a:p>
                  </a:txBody>
                  <a:tcPr anchor="ctr"/>
                </a:tc>
                <a:tc>
                  <a:txBody>
                    <a:bodyPr/>
                    <a:lstStyle/>
                    <a:p>
                      <a:pPr marL="0" algn="l" defTabSz="914378" rtl="0" eaLnBrk="1" latinLnBrk="0" hangingPunct="1"/>
                      <a:r>
                        <a:rPr lang="en-US" sz="1400" kern="1200" dirty="0">
                          <a:solidFill>
                            <a:schemeClr val="tx1"/>
                          </a:solidFill>
                          <a:latin typeface="Gotham Medium" panose="02000603030000020004" pitchFamily="2" charset="0"/>
                          <a:ea typeface="+mn-ea"/>
                          <a:cs typeface="+mn-cs"/>
                        </a:rPr>
                        <a:t>A Candidate who does not fall in either Type-A or Type-B but whose Father or Mother is an employee of the Government of India or Government of India Undertaking and who has been posted and reported to duty in Maharashtra State before the last date for submission of Application Form for CAP.</a:t>
                      </a:r>
                      <a:endParaRPr lang="en-IN" sz="1400" kern="1200" dirty="0">
                        <a:solidFill>
                          <a:schemeClr val="tx1"/>
                        </a:solidFill>
                        <a:latin typeface="Gotham Medium" panose="02000603030000020004" pitchFamily="2" charset="0"/>
                        <a:ea typeface="+mn-ea"/>
                        <a:cs typeface="+mn-cs"/>
                      </a:endParaRPr>
                    </a:p>
                  </a:txBody>
                  <a:tcPr anchor="ctr"/>
                </a:tc>
                <a:tc>
                  <a:txBody>
                    <a:bodyPr/>
                    <a:lstStyle/>
                    <a:p>
                      <a:pPr marL="0" indent="0" algn="l" defTabSz="914378" rtl="0" eaLnBrk="1" latinLnBrk="0" hangingPunct="1">
                        <a:buFont typeface="+mj-lt"/>
                        <a:buNone/>
                      </a:pPr>
                      <a:r>
                        <a:rPr lang="en-US" sz="1400" kern="1200" dirty="0">
                          <a:solidFill>
                            <a:schemeClr val="tx1"/>
                          </a:solidFill>
                          <a:latin typeface="Gotham Medium" panose="02000603030000020004" pitchFamily="2" charset="0"/>
                          <a:ea typeface="+mn-ea"/>
                          <a:cs typeface="+mn-cs"/>
                        </a:rPr>
                        <a:t>Place of posting of Father </a:t>
                      </a:r>
                      <a:r>
                        <a:rPr lang="en-IN" sz="1400" kern="1200" dirty="0">
                          <a:solidFill>
                            <a:schemeClr val="tx1"/>
                          </a:solidFill>
                          <a:latin typeface="Gotham Medium" panose="02000603030000020004" pitchFamily="2" charset="0"/>
                          <a:ea typeface="+mn-ea"/>
                          <a:cs typeface="+mn-cs"/>
                        </a:rPr>
                        <a:t>or Mother of Candidate falling within the jurisdiction of the respective University area.</a:t>
                      </a:r>
                    </a:p>
                  </a:txBody>
                  <a:tcPr anchor="ctr"/>
                </a:tc>
                <a:extLst>
                  <a:ext uri="{0D108BD9-81ED-4DB2-BD59-A6C34878D82A}">
                    <a16:rowId xmlns:a16="http://schemas.microsoft.com/office/drawing/2014/main" val="1636940325"/>
                  </a:ext>
                </a:extLst>
              </a:tr>
            </a:tbl>
          </a:graphicData>
        </a:graphic>
      </p:graphicFrame>
    </p:spTree>
    <p:extLst>
      <p:ext uri="{BB962C8B-B14F-4D97-AF65-F5344CB8AC3E}">
        <p14:creationId xmlns:p14="http://schemas.microsoft.com/office/powerpoint/2010/main" val="710758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55726F5-E115-4999-B719-54A4ED037444}"/>
              </a:ext>
            </a:extLst>
          </p:cNvPr>
          <p:cNvSpPr txBox="1">
            <a:spLocks/>
          </p:cNvSpPr>
          <p:nvPr/>
        </p:nvSpPr>
        <p:spPr>
          <a:xfrm>
            <a:off x="311815" y="256504"/>
            <a:ext cx="8610600" cy="521748"/>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Type of Candidature</a:t>
            </a:r>
          </a:p>
        </p:txBody>
      </p:sp>
      <p:sp>
        <p:nvSpPr>
          <p:cNvPr id="7" name="Google Shape;324;p7">
            <a:extLst>
              <a:ext uri="{FF2B5EF4-FFF2-40B4-BE49-F238E27FC236}">
                <a16:creationId xmlns:a16="http://schemas.microsoft.com/office/drawing/2014/main" id="{B46430E2-23AC-4F06-B465-0EE9E0C026AF}"/>
              </a:ext>
            </a:extLst>
          </p:cNvPr>
          <p:cNvSpPr/>
          <p:nvPr/>
        </p:nvSpPr>
        <p:spPr>
          <a:xfrm>
            <a:off x="0" y="0"/>
            <a:ext cx="152400" cy="51435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nvGrpSpPr>
          <p:cNvPr id="9" name="Google Shape;347;p7">
            <a:extLst>
              <a:ext uri="{FF2B5EF4-FFF2-40B4-BE49-F238E27FC236}">
                <a16:creationId xmlns:a16="http://schemas.microsoft.com/office/drawing/2014/main" id="{683F96AB-5E07-4E13-B8B2-E87F30802558}"/>
              </a:ext>
            </a:extLst>
          </p:cNvPr>
          <p:cNvGrpSpPr/>
          <p:nvPr/>
        </p:nvGrpSpPr>
        <p:grpSpPr>
          <a:xfrm>
            <a:off x="0" y="192762"/>
            <a:ext cx="311815" cy="653721"/>
            <a:chOff x="5385375" y="498300"/>
            <a:chExt cx="802200" cy="556500"/>
          </a:xfrm>
          <a:solidFill>
            <a:srgbClr val="FF5969"/>
          </a:solidFill>
        </p:grpSpPr>
        <p:sp>
          <p:nvSpPr>
            <p:cNvPr id="10" name="Google Shape;348;p7">
              <a:extLst>
                <a:ext uri="{FF2B5EF4-FFF2-40B4-BE49-F238E27FC236}">
                  <a16:creationId xmlns:a16="http://schemas.microsoft.com/office/drawing/2014/main" id="{B4ED3B59-6CD0-4E9D-AA7E-23E7E2EC7467}"/>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11" name="Google Shape;349;p7">
              <a:extLst>
                <a:ext uri="{FF2B5EF4-FFF2-40B4-BE49-F238E27FC236}">
                  <a16:creationId xmlns:a16="http://schemas.microsoft.com/office/drawing/2014/main" id="{C003572C-773D-45CF-8902-E5DBAD0A6A51}"/>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12" name="Google Shape;350;p7">
              <a:extLst>
                <a:ext uri="{FF2B5EF4-FFF2-40B4-BE49-F238E27FC236}">
                  <a16:creationId xmlns:a16="http://schemas.microsoft.com/office/drawing/2014/main" id="{7A5DB23F-E1AC-48CB-8718-0BF9102A5174}"/>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graphicFrame>
        <p:nvGraphicFramePr>
          <p:cNvPr id="4" name="Table 5">
            <a:extLst>
              <a:ext uri="{FF2B5EF4-FFF2-40B4-BE49-F238E27FC236}">
                <a16:creationId xmlns:a16="http://schemas.microsoft.com/office/drawing/2014/main" id="{43139666-3D71-4B2B-AC6D-B2389E31DA15}"/>
              </a:ext>
            </a:extLst>
          </p:cNvPr>
          <p:cNvGraphicFramePr>
            <a:graphicFrameLocks noGrp="1"/>
          </p:cNvGraphicFramePr>
          <p:nvPr>
            <p:ph idx="1"/>
            <p:extLst>
              <p:ext uri="{D42A27DB-BD31-4B8C-83A1-F6EECF244321}">
                <p14:modId xmlns:p14="http://schemas.microsoft.com/office/powerpoint/2010/main" val="3950880424"/>
              </p:ext>
            </p:extLst>
          </p:nvPr>
        </p:nvGraphicFramePr>
        <p:xfrm>
          <a:off x="292765" y="984082"/>
          <a:ext cx="8698815" cy="2529840"/>
        </p:xfrm>
        <a:graphic>
          <a:graphicData uri="http://schemas.openxmlformats.org/drawingml/2006/table">
            <a:tbl>
              <a:tblPr firstRow="1" bandRow="1">
                <a:tableStyleId>{5940675A-B579-460E-94D1-54222C63F5DA}</a:tableStyleId>
              </a:tblPr>
              <a:tblGrid>
                <a:gridCol w="645110">
                  <a:extLst>
                    <a:ext uri="{9D8B030D-6E8A-4147-A177-3AD203B41FA5}">
                      <a16:colId xmlns:a16="http://schemas.microsoft.com/office/drawing/2014/main" val="1684780766"/>
                    </a:ext>
                  </a:extLst>
                </a:gridCol>
                <a:gridCol w="1348125">
                  <a:extLst>
                    <a:ext uri="{9D8B030D-6E8A-4147-A177-3AD203B41FA5}">
                      <a16:colId xmlns:a16="http://schemas.microsoft.com/office/drawing/2014/main" val="1110361237"/>
                    </a:ext>
                  </a:extLst>
                </a:gridCol>
                <a:gridCol w="4267200">
                  <a:extLst>
                    <a:ext uri="{9D8B030D-6E8A-4147-A177-3AD203B41FA5}">
                      <a16:colId xmlns:a16="http://schemas.microsoft.com/office/drawing/2014/main" val="809426284"/>
                    </a:ext>
                  </a:extLst>
                </a:gridCol>
                <a:gridCol w="2438380">
                  <a:extLst>
                    <a:ext uri="{9D8B030D-6E8A-4147-A177-3AD203B41FA5}">
                      <a16:colId xmlns:a16="http://schemas.microsoft.com/office/drawing/2014/main" val="244739685"/>
                    </a:ext>
                  </a:extLst>
                </a:gridCol>
              </a:tblGrid>
              <a:tr h="444668">
                <a:tc>
                  <a:txBody>
                    <a:bodyPr/>
                    <a:lstStyle/>
                    <a:p>
                      <a:pPr algn="ctr"/>
                      <a:r>
                        <a:rPr lang="en-US" sz="1400" dirty="0">
                          <a:solidFill>
                            <a:schemeClr val="bg1"/>
                          </a:solidFill>
                          <a:latin typeface="Gotham Medium" panose="02000603030000020004" pitchFamily="2" charset="0"/>
                        </a:rPr>
                        <a:t>Sr. No.</a:t>
                      </a:r>
                      <a:endParaRPr lang="en-IN" sz="1400" dirty="0">
                        <a:solidFill>
                          <a:schemeClr val="bg1"/>
                        </a:solidFill>
                        <a:latin typeface="Gotham Medium" panose="02000603030000020004" pitchFamily="2" charset="0"/>
                      </a:endParaRPr>
                    </a:p>
                  </a:txBody>
                  <a:tcPr anchor="ctr">
                    <a:solidFill>
                      <a:schemeClr val="tx1">
                        <a:lumMod val="50000"/>
                        <a:lumOff val="50000"/>
                      </a:schemeClr>
                    </a:solidFill>
                  </a:tcPr>
                </a:tc>
                <a:tc>
                  <a:txBody>
                    <a:bodyPr/>
                    <a:lstStyle/>
                    <a:p>
                      <a:pPr algn="ctr"/>
                      <a:r>
                        <a:rPr lang="en-US" sz="1400" dirty="0">
                          <a:solidFill>
                            <a:schemeClr val="bg1"/>
                          </a:solidFill>
                          <a:latin typeface="Gotham Medium" panose="02000603030000020004" pitchFamily="2" charset="0"/>
                        </a:rPr>
                        <a:t>Type of Candidature</a:t>
                      </a:r>
                      <a:endParaRPr lang="en-IN" sz="1400" dirty="0">
                        <a:solidFill>
                          <a:schemeClr val="bg1"/>
                        </a:solidFill>
                        <a:latin typeface="Gotham Medium" panose="02000603030000020004" pitchFamily="2" charset="0"/>
                      </a:endParaRPr>
                    </a:p>
                  </a:txBody>
                  <a:tcPr anchor="ctr">
                    <a:solidFill>
                      <a:schemeClr val="tx1">
                        <a:lumMod val="50000"/>
                        <a:lumOff val="50000"/>
                      </a:schemeClr>
                    </a:solidFill>
                  </a:tcPr>
                </a:tc>
                <a:tc>
                  <a:txBody>
                    <a:bodyPr/>
                    <a:lstStyle/>
                    <a:p>
                      <a:pPr algn="ctr"/>
                      <a:r>
                        <a:rPr lang="en-US" sz="1400" dirty="0">
                          <a:solidFill>
                            <a:schemeClr val="bg1"/>
                          </a:solidFill>
                          <a:latin typeface="Gotham Medium" panose="02000603030000020004" pitchFamily="2" charset="0"/>
                        </a:rPr>
                        <a:t>Eligibility</a:t>
                      </a:r>
                      <a:endParaRPr lang="en-IN" sz="1400" dirty="0">
                        <a:solidFill>
                          <a:schemeClr val="bg1"/>
                        </a:solidFill>
                        <a:latin typeface="Gotham Medium" panose="02000603030000020004" pitchFamily="2" charset="0"/>
                      </a:endParaRPr>
                    </a:p>
                  </a:txBody>
                  <a:tcPr anchor="ctr">
                    <a:solidFill>
                      <a:schemeClr val="tx1">
                        <a:lumMod val="50000"/>
                        <a:lumOff val="50000"/>
                      </a:schemeClr>
                    </a:solidFill>
                  </a:tcPr>
                </a:tc>
                <a:tc>
                  <a:txBody>
                    <a:bodyPr/>
                    <a:lstStyle/>
                    <a:p>
                      <a:pPr algn="ctr"/>
                      <a:r>
                        <a:rPr lang="en-US" sz="1400" dirty="0">
                          <a:solidFill>
                            <a:schemeClr val="bg1"/>
                          </a:solidFill>
                          <a:latin typeface="Gotham Medium" panose="02000603030000020004" pitchFamily="2" charset="0"/>
                        </a:rPr>
                        <a:t>Home University</a:t>
                      </a:r>
                      <a:endParaRPr lang="en-IN" sz="1400" dirty="0">
                        <a:solidFill>
                          <a:schemeClr val="bg1"/>
                        </a:solidFill>
                        <a:latin typeface="Gotham Medium" panose="02000603030000020004" pitchFamily="2" charset="0"/>
                      </a:endParaRPr>
                    </a:p>
                  </a:txBody>
                  <a:tcPr anchor="ctr">
                    <a:solidFill>
                      <a:schemeClr val="tx1">
                        <a:lumMod val="50000"/>
                        <a:lumOff val="50000"/>
                      </a:schemeClr>
                    </a:solidFill>
                  </a:tcPr>
                </a:tc>
                <a:extLst>
                  <a:ext uri="{0D108BD9-81ED-4DB2-BD59-A6C34878D82A}">
                    <a16:rowId xmlns:a16="http://schemas.microsoft.com/office/drawing/2014/main" val="2792206328"/>
                  </a:ext>
                </a:extLst>
              </a:tr>
              <a:tr h="2011680">
                <a:tc>
                  <a:txBody>
                    <a:bodyPr/>
                    <a:lstStyle/>
                    <a:p>
                      <a:pPr algn="ctr"/>
                      <a:r>
                        <a:rPr lang="en-US" sz="1400" dirty="0">
                          <a:solidFill>
                            <a:schemeClr val="bg1"/>
                          </a:solidFill>
                          <a:latin typeface="Gotham Medium" panose="02000603030000020004" pitchFamily="2" charset="0"/>
                        </a:rPr>
                        <a:t>5</a:t>
                      </a:r>
                      <a:endParaRPr lang="en-IN" sz="1400" dirty="0">
                        <a:solidFill>
                          <a:schemeClr val="bg1"/>
                        </a:solidFill>
                        <a:latin typeface="Gotham Medium" panose="02000603030000020004" pitchFamily="2" charset="0"/>
                      </a:endParaRPr>
                    </a:p>
                  </a:txBody>
                  <a:tcPr anchor="ctr">
                    <a:solidFill>
                      <a:schemeClr val="tx1">
                        <a:lumMod val="50000"/>
                        <a:lumOff val="50000"/>
                      </a:schemeClr>
                    </a:solidFill>
                  </a:tcPr>
                </a:tc>
                <a:tc>
                  <a:txBody>
                    <a:bodyPr/>
                    <a:lstStyle/>
                    <a:p>
                      <a:pPr marL="0" algn="ctr" defTabSz="914378" rtl="0" eaLnBrk="1" latinLnBrk="0" hangingPunct="1"/>
                      <a:r>
                        <a:rPr lang="en-US" sz="1400" kern="1200" dirty="0">
                          <a:solidFill>
                            <a:schemeClr val="tx1"/>
                          </a:solidFill>
                          <a:latin typeface="Gotham Medium" panose="02000603030000020004" pitchFamily="2" charset="0"/>
                          <a:ea typeface="+mn-ea"/>
                          <a:cs typeface="+mn-cs"/>
                        </a:rPr>
                        <a:t>Type - E</a:t>
                      </a:r>
                      <a:endParaRPr lang="en-IN" sz="1400" kern="1200" dirty="0">
                        <a:solidFill>
                          <a:schemeClr val="tx1"/>
                        </a:solidFill>
                        <a:latin typeface="Gotham Medium" panose="02000603030000020004" pitchFamily="2" charset="0"/>
                        <a:ea typeface="+mn-ea"/>
                        <a:cs typeface="+mn-cs"/>
                      </a:endParaRPr>
                    </a:p>
                  </a:txBody>
                  <a:tcPr anchor="ctr"/>
                </a:tc>
                <a:tc>
                  <a:txBody>
                    <a:bodyPr/>
                    <a:lstStyle/>
                    <a:p>
                      <a:pPr marL="0" indent="0" algn="l" defTabSz="914378" rtl="0" eaLnBrk="1" latinLnBrk="0" hangingPunct="1">
                        <a:buFont typeface="+mj-lt"/>
                        <a:buNone/>
                      </a:pPr>
                      <a:r>
                        <a:rPr lang="en-IN" sz="1400" kern="1200" dirty="0">
                          <a:solidFill>
                            <a:schemeClr val="tx1"/>
                          </a:solidFill>
                          <a:latin typeface="Gotham Medium" panose="02000603030000020004" pitchFamily="2" charset="0"/>
                          <a:ea typeface="+mn-ea"/>
                          <a:cs typeface="+mn-cs"/>
                        </a:rPr>
                        <a:t>Passing SSC </a:t>
                      </a:r>
                      <a:r>
                        <a:rPr lang="en-US" sz="1400" kern="1200" dirty="0">
                          <a:solidFill>
                            <a:schemeClr val="tx1"/>
                          </a:solidFill>
                          <a:latin typeface="Gotham Medium" panose="02000603030000020004" pitchFamily="2" charset="0"/>
                          <a:ea typeface="+mn-ea"/>
                          <a:cs typeface="+mn-cs"/>
                        </a:rPr>
                        <a:t>and/or HSC Examination from a recognized institution located in a disputed Maharashtra </a:t>
                      </a:r>
                      <a:r>
                        <a:rPr lang="en-IN" sz="1400" kern="1200" dirty="0">
                          <a:solidFill>
                            <a:schemeClr val="tx1"/>
                          </a:solidFill>
                          <a:latin typeface="Gotham Medium" panose="02000603030000020004" pitchFamily="2" charset="0"/>
                          <a:ea typeface="+mn-ea"/>
                          <a:cs typeface="+mn-cs"/>
                        </a:rPr>
                        <a:t>Karnataka Border Area or from Maharashtra, </a:t>
                      </a:r>
                      <a:r>
                        <a:rPr lang="en-US" sz="1400" kern="1200" dirty="0">
                          <a:solidFill>
                            <a:schemeClr val="tx1"/>
                          </a:solidFill>
                          <a:latin typeface="Gotham Medium" panose="02000603030000020004" pitchFamily="2" charset="0"/>
                          <a:ea typeface="+mn-ea"/>
                          <a:cs typeface="+mn-cs"/>
                        </a:rPr>
                        <a:t>residing in the disputed Maharashtra Karnataka Border Area and whose Mother </a:t>
                      </a:r>
                      <a:r>
                        <a:rPr lang="en-IN" sz="1400" kern="1200" dirty="0">
                          <a:solidFill>
                            <a:schemeClr val="tx1"/>
                          </a:solidFill>
                          <a:latin typeface="Gotham Medium" panose="02000603030000020004" pitchFamily="2" charset="0"/>
                          <a:ea typeface="+mn-ea"/>
                          <a:cs typeface="+mn-cs"/>
                        </a:rPr>
                        <a:t>tongue is Marathi.</a:t>
                      </a:r>
                    </a:p>
                  </a:txBody>
                  <a:tcPr anchor="ctr"/>
                </a:tc>
                <a:tc>
                  <a:txBody>
                    <a:bodyPr/>
                    <a:lstStyle/>
                    <a:p>
                      <a:pPr marL="0" indent="0" algn="l" defTabSz="914378" rtl="0" eaLnBrk="1" latinLnBrk="0" hangingPunct="1">
                        <a:buFont typeface="+mj-lt"/>
                        <a:buNone/>
                      </a:pPr>
                      <a:r>
                        <a:rPr lang="en-IN" sz="1400" kern="1200" dirty="0">
                          <a:solidFill>
                            <a:schemeClr val="tx1"/>
                          </a:solidFill>
                          <a:latin typeface="Gotham Medium" panose="02000603030000020004" pitchFamily="2" charset="0"/>
                          <a:ea typeface="+mn-ea"/>
                          <a:cs typeface="+mn-cs"/>
                        </a:rPr>
                        <a:t>Candidate shall be considered for the Outside Home University or State Level Seats.</a:t>
                      </a:r>
                    </a:p>
                  </a:txBody>
                  <a:tcPr anchor="ctr"/>
                </a:tc>
                <a:extLst>
                  <a:ext uri="{0D108BD9-81ED-4DB2-BD59-A6C34878D82A}">
                    <a16:rowId xmlns:a16="http://schemas.microsoft.com/office/drawing/2014/main" val="1132655933"/>
                  </a:ext>
                </a:extLst>
              </a:tr>
            </a:tbl>
          </a:graphicData>
        </a:graphic>
      </p:graphicFrame>
    </p:spTree>
    <p:extLst>
      <p:ext uri="{BB962C8B-B14F-4D97-AF65-F5344CB8AC3E}">
        <p14:creationId xmlns:p14="http://schemas.microsoft.com/office/powerpoint/2010/main" val="3287350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324;p7">
            <a:extLst>
              <a:ext uri="{FF2B5EF4-FFF2-40B4-BE49-F238E27FC236}">
                <a16:creationId xmlns:a16="http://schemas.microsoft.com/office/drawing/2014/main" id="{20EC8EBF-95FE-4530-BD0A-384421DA4067}"/>
              </a:ext>
            </a:extLst>
          </p:cNvPr>
          <p:cNvSpPr/>
          <p:nvPr/>
        </p:nvSpPr>
        <p:spPr>
          <a:xfrm>
            <a:off x="0" y="0"/>
            <a:ext cx="653700" cy="5143500"/>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3" name="Title 1">
            <a:extLst>
              <a:ext uri="{FF2B5EF4-FFF2-40B4-BE49-F238E27FC236}">
                <a16:creationId xmlns:a16="http://schemas.microsoft.com/office/drawing/2014/main" id="{D6CD76F9-85E8-4914-8E2B-8B7CFA5177CE}"/>
              </a:ext>
            </a:extLst>
          </p:cNvPr>
          <p:cNvSpPr txBox="1">
            <a:spLocks/>
          </p:cNvSpPr>
          <p:nvPr/>
        </p:nvSpPr>
        <p:spPr>
          <a:xfrm>
            <a:off x="653699" y="192762"/>
            <a:ext cx="8185859"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52CBBE"/>
                </a:solidFill>
                <a:latin typeface="Gotham Bold" panose="02000803030000020004" pitchFamily="2" charset="0"/>
              </a:rPr>
              <a:t>Online Registration </a:t>
            </a:r>
          </a:p>
        </p:txBody>
      </p:sp>
      <p:grpSp>
        <p:nvGrpSpPr>
          <p:cNvPr id="26" name="Google Shape;347;p7">
            <a:extLst>
              <a:ext uri="{FF2B5EF4-FFF2-40B4-BE49-F238E27FC236}">
                <a16:creationId xmlns:a16="http://schemas.microsoft.com/office/drawing/2014/main" id="{C3CB0FF7-8A44-4EB0-9792-F116402E4A68}"/>
              </a:ext>
            </a:extLst>
          </p:cNvPr>
          <p:cNvGrpSpPr/>
          <p:nvPr/>
        </p:nvGrpSpPr>
        <p:grpSpPr>
          <a:xfrm>
            <a:off x="0" y="192762"/>
            <a:ext cx="311815" cy="653721"/>
            <a:chOff x="5385375" y="498300"/>
            <a:chExt cx="802200" cy="556500"/>
          </a:xfrm>
          <a:solidFill>
            <a:srgbClr val="52CBBE"/>
          </a:solidFill>
        </p:grpSpPr>
        <p:sp>
          <p:nvSpPr>
            <p:cNvPr id="27" name="Google Shape;348;p7">
              <a:extLst>
                <a:ext uri="{FF2B5EF4-FFF2-40B4-BE49-F238E27FC236}">
                  <a16:creationId xmlns:a16="http://schemas.microsoft.com/office/drawing/2014/main" id="{98370779-31D0-4228-83DE-BA24112FD8F7}"/>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8" name="Google Shape;349;p7">
              <a:extLst>
                <a:ext uri="{FF2B5EF4-FFF2-40B4-BE49-F238E27FC236}">
                  <a16:creationId xmlns:a16="http://schemas.microsoft.com/office/drawing/2014/main" id="{3FA17BE1-C7B3-46C6-A908-F82FA189A5C5}"/>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9" name="Google Shape;350;p7">
              <a:extLst>
                <a:ext uri="{FF2B5EF4-FFF2-40B4-BE49-F238E27FC236}">
                  <a16:creationId xmlns:a16="http://schemas.microsoft.com/office/drawing/2014/main" id="{F311C074-973A-433C-8588-0F8431F4777C}"/>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sp>
        <p:nvSpPr>
          <p:cNvPr id="13" name="Content Placeholder 2">
            <a:extLst>
              <a:ext uri="{FF2B5EF4-FFF2-40B4-BE49-F238E27FC236}">
                <a16:creationId xmlns:a16="http://schemas.microsoft.com/office/drawing/2014/main" id="{BD24917E-E1DD-49C0-A5CE-6988F375F089}"/>
              </a:ext>
            </a:extLst>
          </p:cNvPr>
          <p:cNvSpPr txBox="1">
            <a:spLocks/>
          </p:cNvSpPr>
          <p:nvPr/>
        </p:nvSpPr>
        <p:spPr>
          <a:xfrm>
            <a:off x="653698" y="810316"/>
            <a:ext cx="8144196" cy="4333184"/>
          </a:xfrm>
          <a:prstGeom prst="rect">
            <a:avLst/>
          </a:prstGeom>
        </p:spPr>
        <p:txBody>
          <a:bodyPr vert="horz" lIns="91440" tIns="45720" rIns="91440" bIns="45720" rtlCol="0">
            <a:noAutofit/>
          </a:bodyPr>
          <a:lstStyle>
            <a:lvl1pPr marL="342892" indent="-342892" algn="l" defTabSz="91437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31" indent="-285743" algn="l" defTabSz="91437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72" indent="-228594" algn="l" defTabSz="91437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60"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48"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nSpc>
                <a:spcPct val="150000"/>
              </a:lnSpc>
              <a:spcBef>
                <a:spcPts val="0"/>
              </a:spcBef>
              <a:buFont typeface="+mj-lt"/>
              <a:buAutoNum type="arabicPeriod" startAt="7"/>
            </a:pPr>
            <a:r>
              <a:rPr lang="en-US" sz="1800" dirty="0">
                <a:latin typeface="Gotham Medium" panose="02000603030000020004" pitchFamily="2" charset="0"/>
              </a:rPr>
              <a:t>Fill Qualification Details: SSC, HSC/Diploma</a:t>
            </a:r>
          </a:p>
          <a:p>
            <a:pPr marL="457200" indent="-457200">
              <a:lnSpc>
                <a:spcPct val="150000"/>
              </a:lnSpc>
              <a:spcBef>
                <a:spcPts val="0"/>
              </a:spcBef>
              <a:buFont typeface="+mj-lt"/>
              <a:buAutoNum type="arabicPeriod" startAt="7"/>
            </a:pPr>
            <a:r>
              <a:rPr lang="en-US" sz="1800" dirty="0">
                <a:latin typeface="Gotham Medium" panose="02000603030000020004" pitchFamily="2" charset="0"/>
              </a:rPr>
              <a:t>Fill Category Details – </a:t>
            </a:r>
          </a:p>
          <a:p>
            <a:pPr marL="857239" lvl="1" indent="-457200">
              <a:spcBef>
                <a:spcPts val="0"/>
              </a:spcBef>
              <a:buFont typeface="Wingdings" panose="05000000000000000000" pitchFamily="2" charset="2"/>
              <a:buChar char="§"/>
            </a:pPr>
            <a:r>
              <a:rPr lang="en-US" sz="1400" dirty="0">
                <a:latin typeface="Gotham Medium" panose="02000603030000020004" pitchFamily="2" charset="0"/>
              </a:rPr>
              <a:t>Open</a:t>
            </a:r>
          </a:p>
          <a:p>
            <a:pPr marL="857239" lvl="1" indent="-457200">
              <a:spcBef>
                <a:spcPts val="0"/>
              </a:spcBef>
              <a:buFont typeface="Wingdings" panose="05000000000000000000" pitchFamily="2" charset="2"/>
              <a:buChar char="§"/>
            </a:pPr>
            <a:r>
              <a:rPr lang="en-US" sz="1400" dirty="0">
                <a:latin typeface="Gotham Medium" panose="02000603030000020004" pitchFamily="2" charset="0"/>
              </a:rPr>
              <a:t>SC/ST</a:t>
            </a:r>
          </a:p>
          <a:p>
            <a:pPr marL="857239" lvl="1" indent="-457200">
              <a:spcBef>
                <a:spcPts val="0"/>
              </a:spcBef>
              <a:buFont typeface="Wingdings" panose="05000000000000000000" pitchFamily="2" charset="2"/>
              <a:buChar char="§"/>
            </a:pPr>
            <a:r>
              <a:rPr lang="en-US" sz="1400" dirty="0">
                <a:latin typeface="Gotham Medium" panose="02000603030000020004" pitchFamily="2" charset="0"/>
              </a:rPr>
              <a:t>OBC</a:t>
            </a:r>
          </a:p>
          <a:p>
            <a:pPr marL="857239" lvl="1" indent="-457200">
              <a:spcBef>
                <a:spcPts val="0"/>
              </a:spcBef>
              <a:buFont typeface="Wingdings" panose="05000000000000000000" pitchFamily="2" charset="2"/>
              <a:buChar char="§"/>
            </a:pPr>
            <a:r>
              <a:rPr lang="en-US" sz="1400" dirty="0">
                <a:latin typeface="Gotham Medium" panose="02000603030000020004" pitchFamily="2" charset="0"/>
              </a:rPr>
              <a:t>SBC</a:t>
            </a:r>
          </a:p>
          <a:p>
            <a:pPr marL="857239" lvl="1" indent="-457200">
              <a:spcBef>
                <a:spcPts val="0"/>
              </a:spcBef>
              <a:buFont typeface="Wingdings" panose="05000000000000000000" pitchFamily="2" charset="2"/>
              <a:buChar char="§"/>
            </a:pPr>
            <a:r>
              <a:rPr lang="en-US" sz="1400" dirty="0">
                <a:latin typeface="Gotham Medium" panose="02000603030000020004" pitchFamily="2" charset="0"/>
              </a:rPr>
              <a:t>VJ/DT</a:t>
            </a:r>
          </a:p>
          <a:p>
            <a:pPr marL="857239" lvl="1" indent="-457200">
              <a:spcBef>
                <a:spcPts val="0"/>
              </a:spcBef>
              <a:buFont typeface="Wingdings" panose="05000000000000000000" pitchFamily="2" charset="2"/>
              <a:buChar char="§"/>
            </a:pPr>
            <a:r>
              <a:rPr lang="en-US" sz="1400" dirty="0">
                <a:latin typeface="Gotham Medium" panose="02000603030000020004" pitchFamily="2" charset="0"/>
              </a:rPr>
              <a:t>NT</a:t>
            </a:r>
          </a:p>
          <a:p>
            <a:pPr marL="457200" indent="-457200">
              <a:lnSpc>
                <a:spcPct val="150000"/>
              </a:lnSpc>
              <a:spcBef>
                <a:spcPts val="0"/>
              </a:spcBef>
              <a:buFont typeface="+mj-lt"/>
              <a:buAutoNum type="arabicPeriod" startAt="9"/>
            </a:pPr>
            <a:r>
              <a:rPr lang="en-US" sz="1800" dirty="0">
                <a:latin typeface="Gotham Medium" panose="02000603030000020004" pitchFamily="2" charset="0"/>
              </a:rPr>
              <a:t>Apply for TFWS – If you are eligible: Yes/No</a:t>
            </a:r>
          </a:p>
          <a:p>
            <a:pPr marL="457200" indent="-457200">
              <a:lnSpc>
                <a:spcPct val="150000"/>
              </a:lnSpc>
              <a:spcBef>
                <a:spcPts val="0"/>
              </a:spcBef>
              <a:buFont typeface="+mj-lt"/>
              <a:buAutoNum type="arabicPeriod" startAt="9"/>
            </a:pPr>
            <a:r>
              <a:rPr lang="en-US" sz="1800" dirty="0">
                <a:latin typeface="Gotham Medium" panose="02000603030000020004" pitchFamily="2" charset="0"/>
              </a:rPr>
              <a:t>Apply for EWS  – If you are eligible: Yes/No</a:t>
            </a:r>
          </a:p>
          <a:p>
            <a:pPr marL="457200" indent="-457200">
              <a:lnSpc>
                <a:spcPct val="150000"/>
              </a:lnSpc>
              <a:spcBef>
                <a:spcPts val="0"/>
              </a:spcBef>
              <a:buFont typeface="+mj-lt"/>
              <a:buAutoNum type="arabicPeriod" startAt="9"/>
            </a:pPr>
            <a:r>
              <a:rPr lang="en-US" sz="1800" dirty="0">
                <a:latin typeface="Gotham Medium" panose="02000603030000020004" pitchFamily="2" charset="0"/>
              </a:rPr>
              <a:t>Apply for AI Seats – If Yes, Submit JEE (Main) Paper-I details</a:t>
            </a:r>
          </a:p>
          <a:p>
            <a:pPr marL="457200" indent="-457200">
              <a:lnSpc>
                <a:spcPct val="150000"/>
              </a:lnSpc>
              <a:spcBef>
                <a:spcPts val="0"/>
              </a:spcBef>
              <a:buFont typeface="+mj-lt"/>
              <a:buAutoNum type="arabicPeriod" startAt="9"/>
            </a:pPr>
            <a:r>
              <a:rPr lang="en-US" sz="1800" dirty="0">
                <a:latin typeface="Gotham Medium" panose="02000603030000020004" pitchFamily="2" charset="0"/>
              </a:rPr>
              <a:t>Upload Documents</a:t>
            </a:r>
          </a:p>
          <a:p>
            <a:pPr marL="457200" indent="-457200">
              <a:lnSpc>
                <a:spcPct val="150000"/>
              </a:lnSpc>
              <a:spcBef>
                <a:spcPts val="0"/>
              </a:spcBef>
              <a:buFont typeface="+mj-lt"/>
              <a:buAutoNum type="arabicPeriod" startAt="9"/>
            </a:pPr>
            <a:r>
              <a:rPr lang="en-US" sz="1800" dirty="0">
                <a:latin typeface="Gotham Medium" panose="02000603030000020004" pitchFamily="2" charset="0"/>
              </a:rPr>
              <a:t>Choose mode of document verification</a:t>
            </a:r>
          </a:p>
          <a:p>
            <a:pPr marL="457200" indent="-457200">
              <a:lnSpc>
                <a:spcPct val="150000"/>
              </a:lnSpc>
              <a:spcBef>
                <a:spcPts val="0"/>
              </a:spcBef>
              <a:buFont typeface="+mj-lt"/>
              <a:buAutoNum type="arabicPeriod" startAt="9"/>
            </a:pPr>
            <a:endParaRPr lang="en-US" sz="1800" dirty="0">
              <a:latin typeface="Gotham Medium" panose="02000603030000020004" pitchFamily="2" charset="0"/>
            </a:endParaRPr>
          </a:p>
          <a:p>
            <a:pPr marL="457200" indent="-457200">
              <a:lnSpc>
                <a:spcPct val="150000"/>
              </a:lnSpc>
              <a:spcBef>
                <a:spcPts val="0"/>
              </a:spcBef>
              <a:buFont typeface="+mj-lt"/>
              <a:buAutoNum type="arabicPeriod" startAt="9"/>
            </a:pPr>
            <a:endParaRPr lang="en-US" sz="1800" dirty="0">
              <a:latin typeface="Gotham Medium" panose="02000603030000020004" pitchFamily="2" charset="0"/>
            </a:endParaRPr>
          </a:p>
        </p:txBody>
      </p:sp>
    </p:spTree>
    <p:extLst>
      <p:ext uri="{BB962C8B-B14F-4D97-AF65-F5344CB8AC3E}">
        <p14:creationId xmlns:p14="http://schemas.microsoft.com/office/powerpoint/2010/main" val="2803532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fade">
                                      <p:cBhvr>
                                        <p:cTn id="12" dur="500"/>
                                        <p:tgtEl>
                                          <p:spTgt spid="13">
                                            <p:txEl>
                                              <p:pRg st="1" end="1"/>
                                            </p:txEl>
                                          </p:spTgt>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3">
                                            <p:txEl>
                                              <p:pRg st="2" end="2"/>
                                            </p:txEl>
                                          </p:spTgt>
                                        </p:tgtEl>
                                        <p:attrNameLst>
                                          <p:attrName>style.visibility</p:attrName>
                                        </p:attrNameLst>
                                      </p:cBhvr>
                                      <p:to>
                                        <p:strVal val="visible"/>
                                      </p:to>
                                    </p:set>
                                    <p:animEffect transition="in" filter="fade">
                                      <p:cBhvr>
                                        <p:cTn id="16" dur="500"/>
                                        <p:tgtEl>
                                          <p:spTgt spid="13">
                                            <p:txEl>
                                              <p:pRg st="2" end="2"/>
                                            </p:txEl>
                                          </p:spTgt>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13">
                                            <p:txEl>
                                              <p:pRg st="3" end="3"/>
                                            </p:txEl>
                                          </p:spTgt>
                                        </p:tgtEl>
                                        <p:attrNameLst>
                                          <p:attrName>style.visibility</p:attrName>
                                        </p:attrNameLst>
                                      </p:cBhvr>
                                      <p:to>
                                        <p:strVal val="visible"/>
                                      </p:to>
                                    </p:set>
                                    <p:animEffect transition="in" filter="fade">
                                      <p:cBhvr>
                                        <p:cTn id="20" dur="500"/>
                                        <p:tgtEl>
                                          <p:spTgt spid="13">
                                            <p:txEl>
                                              <p:pRg st="3" end="3"/>
                                            </p:txEl>
                                          </p:spTgt>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13">
                                            <p:txEl>
                                              <p:pRg st="4" end="4"/>
                                            </p:txEl>
                                          </p:spTgt>
                                        </p:tgtEl>
                                        <p:attrNameLst>
                                          <p:attrName>style.visibility</p:attrName>
                                        </p:attrNameLst>
                                      </p:cBhvr>
                                      <p:to>
                                        <p:strVal val="visible"/>
                                      </p:to>
                                    </p:set>
                                    <p:animEffect transition="in" filter="fade">
                                      <p:cBhvr>
                                        <p:cTn id="24" dur="500"/>
                                        <p:tgtEl>
                                          <p:spTgt spid="13">
                                            <p:txEl>
                                              <p:pRg st="4" end="4"/>
                                            </p:txEl>
                                          </p:spTgt>
                                        </p:tgtEl>
                                      </p:cBhvr>
                                    </p:animEffect>
                                  </p:childTnLst>
                                </p:cTn>
                              </p:par>
                            </p:childTnLst>
                          </p:cTn>
                        </p:par>
                        <p:par>
                          <p:cTn id="25" fill="hold">
                            <p:stCondLst>
                              <p:cond delay="2000"/>
                            </p:stCondLst>
                            <p:childTnLst>
                              <p:par>
                                <p:cTn id="26" presetID="10" presetClass="entr" presetSubtype="0" fill="hold" nodeType="afterEffect">
                                  <p:stCondLst>
                                    <p:cond delay="0"/>
                                  </p:stCondLst>
                                  <p:childTnLst>
                                    <p:set>
                                      <p:cBhvr>
                                        <p:cTn id="27" dur="1" fill="hold">
                                          <p:stCondLst>
                                            <p:cond delay="0"/>
                                          </p:stCondLst>
                                        </p:cTn>
                                        <p:tgtEl>
                                          <p:spTgt spid="13">
                                            <p:txEl>
                                              <p:pRg st="5" end="5"/>
                                            </p:txEl>
                                          </p:spTgt>
                                        </p:tgtEl>
                                        <p:attrNameLst>
                                          <p:attrName>style.visibility</p:attrName>
                                        </p:attrNameLst>
                                      </p:cBhvr>
                                      <p:to>
                                        <p:strVal val="visible"/>
                                      </p:to>
                                    </p:set>
                                    <p:animEffect transition="in" filter="fade">
                                      <p:cBhvr>
                                        <p:cTn id="28" dur="500"/>
                                        <p:tgtEl>
                                          <p:spTgt spid="13">
                                            <p:txEl>
                                              <p:pRg st="5" end="5"/>
                                            </p:txEl>
                                          </p:spTgt>
                                        </p:tgtEl>
                                      </p:cBhvr>
                                    </p:animEffect>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13">
                                            <p:txEl>
                                              <p:pRg st="6" end="6"/>
                                            </p:txEl>
                                          </p:spTgt>
                                        </p:tgtEl>
                                        <p:attrNameLst>
                                          <p:attrName>style.visibility</p:attrName>
                                        </p:attrNameLst>
                                      </p:cBhvr>
                                      <p:to>
                                        <p:strVal val="visible"/>
                                      </p:to>
                                    </p:set>
                                    <p:animEffect transition="in" filter="fade">
                                      <p:cBhvr>
                                        <p:cTn id="32" dur="500"/>
                                        <p:tgtEl>
                                          <p:spTgt spid="13">
                                            <p:txEl>
                                              <p:pRg st="6" end="6"/>
                                            </p:txEl>
                                          </p:spTgt>
                                        </p:tgtEl>
                                      </p:cBhvr>
                                    </p:animEffect>
                                  </p:childTnLst>
                                </p:cTn>
                              </p:par>
                            </p:childTnLst>
                          </p:cTn>
                        </p:par>
                        <p:par>
                          <p:cTn id="33" fill="hold">
                            <p:stCondLst>
                              <p:cond delay="3000"/>
                            </p:stCondLst>
                            <p:childTnLst>
                              <p:par>
                                <p:cTn id="34" presetID="10" presetClass="entr" presetSubtype="0" fill="hold" nodeType="afterEffect">
                                  <p:stCondLst>
                                    <p:cond delay="0"/>
                                  </p:stCondLst>
                                  <p:childTnLst>
                                    <p:set>
                                      <p:cBhvr>
                                        <p:cTn id="35" dur="1" fill="hold">
                                          <p:stCondLst>
                                            <p:cond delay="0"/>
                                          </p:stCondLst>
                                        </p:cTn>
                                        <p:tgtEl>
                                          <p:spTgt spid="13">
                                            <p:txEl>
                                              <p:pRg st="7" end="7"/>
                                            </p:txEl>
                                          </p:spTgt>
                                        </p:tgtEl>
                                        <p:attrNameLst>
                                          <p:attrName>style.visibility</p:attrName>
                                        </p:attrNameLst>
                                      </p:cBhvr>
                                      <p:to>
                                        <p:strVal val="visible"/>
                                      </p:to>
                                    </p:set>
                                    <p:animEffect transition="in" filter="fade">
                                      <p:cBhvr>
                                        <p:cTn id="36" dur="500"/>
                                        <p:tgtEl>
                                          <p:spTgt spid="13">
                                            <p:txEl>
                                              <p:pRg st="7" end="7"/>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3">
                                            <p:txEl>
                                              <p:pRg st="8" end="8"/>
                                            </p:txEl>
                                          </p:spTgt>
                                        </p:tgtEl>
                                        <p:attrNameLst>
                                          <p:attrName>style.visibility</p:attrName>
                                        </p:attrNameLst>
                                      </p:cBhvr>
                                      <p:to>
                                        <p:strVal val="visible"/>
                                      </p:to>
                                    </p:set>
                                    <p:animEffect transition="in" filter="fade">
                                      <p:cBhvr>
                                        <p:cTn id="41" dur="500"/>
                                        <p:tgtEl>
                                          <p:spTgt spid="13">
                                            <p:txEl>
                                              <p:pRg st="8" end="8"/>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3">
                                            <p:txEl>
                                              <p:pRg st="9" end="9"/>
                                            </p:txEl>
                                          </p:spTgt>
                                        </p:tgtEl>
                                        <p:attrNameLst>
                                          <p:attrName>style.visibility</p:attrName>
                                        </p:attrNameLst>
                                      </p:cBhvr>
                                      <p:to>
                                        <p:strVal val="visible"/>
                                      </p:to>
                                    </p:set>
                                    <p:animEffect transition="in" filter="fade">
                                      <p:cBhvr>
                                        <p:cTn id="46" dur="500"/>
                                        <p:tgtEl>
                                          <p:spTgt spid="13">
                                            <p:txEl>
                                              <p:pRg st="9" end="9"/>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3">
                                            <p:txEl>
                                              <p:pRg st="10" end="10"/>
                                            </p:txEl>
                                          </p:spTgt>
                                        </p:tgtEl>
                                        <p:attrNameLst>
                                          <p:attrName>style.visibility</p:attrName>
                                        </p:attrNameLst>
                                      </p:cBhvr>
                                      <p:to>
                                        <p:strVal val="visible"/>
                                      </p:to>
                                    </p:set>
                                    <p:animEffect transition="in" filter="fade">
                                      <p:cBhvr>
                                        <p:cTn id="51" dur="500"/>
                                        <p:tgtEl>
                                          <p:spTgt spid="13">
                                            <p:txEl>
                                              <p:pRg st="10" end="1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3">
                                            <p:txEl>
                                              <p:pRg st="11" end="11"/>
                                            </p:txEl>
                                          </p:spTgt>
                                        </p:tgtEl>
                                        <p:attrNameLst>
                                          <p:attrName>style.visibility</p:attrName>
                                        </p:attrNameLst>
                                      </p:cBhvr>
                                      <p:to>
                                        <p:strVal val="visible"/>
                                      </p:to>
                                    </p:set>
                                    <p:animEffect transition="in" filter="fade">
                                      <p:cBhvr>
                                        <p:cTn id="56" dur="500"/>
                                        <p:tgtEl>
                                          <p:spTgt spid="13">
                                            <p:txEl>
                                              <p:pRg st="11" end="11"/>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3">
                                            <p:txEl>
                                              <p:pRg st="12" end="12"/>
                                            </p:txEl>
                                          </p:spTgt>
                                        </p:tgtEl>
                                        <p:attrNameLst>
                                          <p:attrName>style.visibility</p:attrName>
                                        </p:attrNameLst>
                                      </p:cBhvr>
                                      <p:to>
                                        <p:strVal val="visible"/>
                                      </p:to>
                                    </p:set>
                                    <p:animEffect transition="in" filter="fade">
                                      <p:cBhvr>
                                        <p:cTn id="61" dur="500"/>
                                        <p:tgtEl>
                                          <p:spTgt spid="1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595014629"/>
              </p:ext>
            </p:extLst>
          </p:nvPr>
        </p:nvGraphicFramePr>
        <p:xfrm>
          <a:off x="333215" y="926346"/>
          <a:ext cx="8571894" cy="3093718"/>
        </p:xfrm>
        <a:graphic>
          <a:graphicData uri="http://schemas.openxmlformats.org/drawingml/2006/table">
            <a:tbl>
              <a:tblPr firstRow="1" bandRow="1">
                <a:tableStyleId>{5940675A-B579-460E-94D1-54222C63F5DA}</a:tableStyleId>
              </a:tblPr>
              <a:tblGrid>
                <a:gridCol w="718065">
                  <a:extLst>
                    <a:ext uri="{9D8B030D-6E8A-4147-A177-3AD203B41FA5}">
                      <a16:colId xmlns:a16="http://schemas.microsoft.com/office/drawing/2014/main" val="20000"/>
                    </a:ext>
                  </a:extLst>
                </a:gridCol>
                <a:gridCol w="2243951">
                  <a:extLst>
                    <a:ext uri="{9D8B030D-6E8A-4147-A177-3AD203B41FA5}">
                      <a16:colId xmlns:a16="http://schemas.microsoft.com/office/drawing/2014/main" val="20001"/>
                    </a:ext>
                  </a:extLst>
                </a:gridCol>
                <a:gridCol w="5609878">
                  <a:extLst>
                    <a:ext uri="{9D8B030D-6E8A-4147-A177-3AD203B41FA5}">
                      <a16:colId xmlns:a16="http://schemas.microsoft.com/office/drawing/2014/main" val="20002"/>
                    </a:ext>
                  </a:extLst>
                </a:gridCol>
              </a:tblGrid>
              <a:tr h="642212">
                <a:tc>
                  <a:txBody>
                    <a:bodyPr/>
                    <a:lstStyle/>
                    <a:p>
                      <a:pPr algn="ctr"/>
                      <a:r>
                        <a:rPr lang="en-US" sz="1600" dirty="0">
                          <a:solidFill>
                            <a:schemeClr val="bg1"/>
                          </a:solidFill>
                          <a:latin typeface="Gotham Medium" panose="02000603030000020004" pitchFamily="2" charset="0"/>
                        </a:rPr>
                        <a:t>Sr. No. </a:t>
                      </a:r>
                      <a:endParaRPr lang="en-US" sz="1600" b="1" dirty="0">
                        <a:solidFill>
                          <a:schemeClr val="bg1"/>
                        </a:solidFill>
                        <a:latin typeface="Gotham Medium" panose="02000603030000020004" pitchFamily="2" charset="0"/>
                        <a:cs typeface="Times New Roman" pitchFamily="18" charset="0"/>
                      </a:endParaRPr>
                    </a:p>
                  </a:txBody>
                  <a:tcPr marL="91442" marR="91442" marT="43073" marB="43073" anchor="ctr">
                    <a:solidFill>
                      <a:schemeClr val="tx1">
                        <a:lumMod val="50000"/>
                        <a:lumOff val="50000"/>
                      </a:schemeClr>
                    </a:solidFill>
                  </a:tcPr>
                </a:tc>
                <a:tc>
                  <a:txBody>
                    <a:bodyPr/>
                    <a:lstStyle/>
                    <a:p>
                      <a:pPr algn="ctr"/>
                      <a:r>
                        <a:rPr lang="en-US" sz="1600" dirty="0">
                          <a:solidFill>
                            <a:schemeClr val="bg1"/>
                          </a:solidFill>
                          <a:latin typeface="Gotham Medium" panose="02000603030000020004" pitchFamily="2" charset="0"/>
                        </a:rPr>
                        <a:t>Type of Candidate </a:t>
                      </a:r>
                      <a:endParaRPr lang="en-US" sz="1600" b="1" dirty="0">
                        <a:solidFill>
                          <a:schemeClr val="bg1"/>
                        </a:solidFill>
                        <a:latin typeface="Gotham Medium" panose="02000603030000020004" pitchFamily="2" charset="0"/>
                        <a:cs typeface="Times New Roman" pitchFamily="18" charset="0"/>
                      </a:endParaRPr>
                    </a:p>
                  </a:txBody>
                  <a:tcPr marL="91442" marR="91442" marT="43073" marB="43073" anchor="ctr">
                    <a:solidFill>
                      <a:schemeClr val="tx1">
                        <a:lumMod val="50000"/>
                        <a:lumOff val="50000"/>
                      </a:schemeClr>
                    </a:solidFill>
                  </a:tcPr>
                </a:tc>
                <a:tc>
                  <a:txBody>
                    <a:bodyPr/>
                    <a:lstStyle/>
                    <a:p>
                      <a:pPr algn="ctr"/>
                      <a:r>
                        <a:rPr lang="en-US" sz="1400" dirty="0">
                          <a:solidFill>
                            <a:schemeClr val="bg1"/>
                          </a:solidFill>
                          <a:latin typeface="Gotham Medium" panose="02000603030000020004" pitchFamily="2" charset="0"/>
                        </a:rPr>
                        <a:t>Attested true copies of documents to be attached along with application form for admission to Engineering </a:t>
                      </a:r>
                      <a:endParaRPr lang="en-US" sz="1400" b="1" dirty="0">
                        <a:solidFill>
                          <a:schemeClr val="bg1"/>
                        </a:solidFill>
                        <a:latin typeface="Gotham Medium" panose="02000603030000020004" pitchFamily="2" charset="0"/>
                        <a:cs typeface="Times New Roman" pitchFamily="18" charset="0"/>
                      </a:endParaRPr>
                    </a:p>
                  </a:txBody>
                  <a:tcPr marL="91442" marR="91442" marT="43073" marB="43073" anchor="ctr">
                    <a:solidFill>
                      <a:schemeClr val="tx1">
                        <a:lumMod val="50000"/>
                        <a:lumOff val="50000"/>
                      </a:schemeClr>
                    </a:solidFill>
                  </a:tcPr>
                </a:tc>
                <a:extLst>
                  <a:ext uri="{0D108BD9-81ED-4DB2-BD59-A6C34878D82A}">
                    <a16:rowId xmlns:a16="http://schemas.microsoft.com/office/drawing/2014/main" val="10000"/>
                  </a:ext>
                </a:extLst>
              </a:tr>
              <a:tr h="2451506">
                <a:tc>
                  <a:txBody>
                    <a:bodyPr/>
                    <a:lstStyle/>
                    <a:p>
                      <a:pPr algn="ctr"/>
                      <a:r>
                        <a:rPr lang="en-US" sz="1600" dirty="0">
                          <a:solidFill>
                            <a:schemeClr val="bg1"/>
                          </a:solidFill>
                          <a:latin typeface="Gotham Medium" panose="02000603030000020004" pitchFamily="2" charset="0"/>
                        </a:rPr>
                        <a:t>01</a:t>
                      </a:r>
                      <a:endParaRPr lang="en-US" sz="1600" b="1" dirty="0">
                        <a:solidFill>
                          <a:schemeClr val="bg1"/>
                        </a:solidFill>
                        <a:latin typeface="Gotham Medium" panose="02000603030000020004" pitchFamily="2" charset="0"/>
                        <a:cs typeface="Times New Roman" pitchFamily="18" charset="0"/>
                      </a:endParaRPr>
                    </a:p>
                  </a:txBody>
                  <a:tcPr marL="91442" marR="91442" marT="43073" marB="43073" anchor="ctr">
                    <a:solidFill>
                      <a:schemeClr val="tx1">
                        <a:lumMod val="50000"/>
                        <a:lumOff val="50000"/>
                      </a:schemeClr>
                    </a:solidFill>
                  </a:tcPr>
                </a:tc>
                <a:tc>
                  <a:txBody>
                    <a:bodyPr/>
                    <a:lstStyle/>
                    <a:p>
                      <a:pPr algn="ctr"/>
                      <a:r>
                        <a:rPr lang="en-US" sz="1600" dirty="0">
                          <a:latin typeface="Gotham Medium" panose="02000603030000020004" pitchFamily="2" charset="0"/>
                        </a:rPr>
                        <a:t>Type –A</a:t>
                      </a:r>
                      <a:r>
                        <a:rPr lang="en-US" sz="1600" baseline="0" dirty="0">
                          <a:latin typeface="Gotham Medium" panose="02000603030000020004" pitchFamily="2" charset="0"/>
                        </a:rPr>
                        <a:t> </a:t>
                      </a:r>
                    </a:p>
                    <a:p>
                      <a:pPr algn="ctr"/>
                      <a:r>
                        <a:rPr lang="en-US" sz="1600" baseline="0" dirty="0">
                          <a:latin typeface="Gotham Medium" panose="02000603030000020004" pitchFamily="2" charset="0"/>
                        </a:rPr>
                        <a:t>(</a:t>
                      </a:r>
                      <a:r>
                        <a:rPr lang="en-US" sz="1600" kern="1200" dirty="0">
                          <a:latin typeface="Gotham Medium" panose="02000603030000020004" pitchFamily="2" charset="0"/>
                        </a:rPr>
                        <a:t>Maharashtra State</a:t>
                      </a:r>
                    </a:p>
                    <a:p>
                      <a:pPr algn="ctr"/>
                      <a:r>
                        <a:rPr lang="en-US" sz="1600" kern="1200" dirty="0">
                          <a:latin typeface="Gotham Medium" panose="02000603030000020004" pitchFamily="2" charset="0"/>
                        </a:rPr>
                        <a:t>candidate) </a:t>
                      </a:r>
                    </a:p>
                    <a:p>
                      <a:pPr algn="ctr"/>
                      <a:endParaRPr lang="en-US" sz="1600" b="1" dirty="0">
                        <a:solidFill>
                          <a:schemeClr val="tx1"/>
                        </a:solidFill>
                        <a:latin typeface="Gotham Medium" panose="02000603030000020004" pitchFamily="2" charset="0"/>
                        <a:cs typeface="Times New Roman" pitchFamily="18" charset="0"/>
                      </a:endParaRPr>
                    </a:p>
                  </a:txBody>
                  <a:tcPr marL="91442" marR="91442" marT="43073" marB="43073" anchor="ctr"/>
                </a:tc>
                <a:tc>
                  <a:txBody>
                    <a:bodyPr/>
                    <a:lstStyle/>
                    <a:p>
                      <a:pPr marL="342900" indent="-342900" algn="l">
                        <a:lnSpc>
                          <a:spcPct val="150000"/>
                        </a:lnSpc>
                        <a:buAutoNum type="arabicPeriod"/>
                      </a:pPr>
                      <a:r>
                        <a:rPr lang="en-US" sz="1400" kern="1200" dirty="0">
                          <a:latin typeface="Gotham Medium" panose="02000603030000020004" pitchFamily="2" charset="0"/>
                        </a:rPr>
                        <a:t>SSC Mark sheet</a:t>
                      </a:r>
                    </a:p>
                    <a:p>
                      <a:pPr marL="342900" indent="-342900" algn="l">
                        <a:lnSpc>
                          <a:spcPct val="150000"/>
                        </a:lnSpc>
                        <a:buAutoNum type="arabicPeriod"/>
                      </a:pPr>
                      <a:r>
                        <a:rPr lang="en-US" sz="1400" kern="1200" dirty="0">
                          <a:latin typeface="Gotham Medium" panose="02000603030000020004" pitchFamily="2" charset="0"/>
                        </a:rPr>
                        <a:t>HSC Mark sheet</a:t>
                      </a:r>
                      <a:endParaRPr lang="en-US" sz="1400" kern="1200" baseline="0" dirty="0">
                        <a:latin typeface="Gotham Medium" panose="02000603030000020004" pitchFamily="2" charset="0"/>
                      </a:endParaRPr>
                    </a:p>
                    <a:p>
                      <a:pPr marL="342900" indent="-342900" algn="l">
                        <a:lnSpc>
                          <a:spcPct val="150000"/>
                        </a:lnSpc>
                        <a:buAutoNum type="arabicPeriod"/>
                      </a:pPr>
                      <a:r>
                        <a:rPr lang="en-US" sz="1400" kern="1200" baseline="0" dirty="0">
                          <a:latin typeface="Gotham Medium" panose="02000603030000020004" pitchFamily="2" charset="0"/>
                        </a:rPr>
                        <a:t>School Leaving Certificate after passing XII/Diploma</a:t>
                      </a:r>
                    </a:p>
                    <a:p>
                      <a:pPr marL="342900" indent="-342900" algn="l">
                        <a:lnSpc>
                          <a:spcPct val="150000"/>
                        </a:lnSpc>
                        <a:buAutoNum type="arabicPeriod"/>
                      </a:pPr>
                      <a:r>
                        <a:rPr lang="en-US" sz="1400" kern="1200" baseline="0" dirty="0">
                          <a:latin typeface="Gotham Medium" panose="02000603030000020004" pitchFamily="2" charset="0"/>
                        </a:rPr>
                        <a:t>Certificate of Indian Nationality of the Candidate</a:t>
                      </a:r>
                    </a:p>
                    <a:p>
                      <a:pPr marL="342900" indent="-342900" algn="l">
                        <a:lnSpc>
                          <a:spcPct val="150000"/>
                        </a:lnSpc>
                        <a:buAutoNum type="arabicPeriod"/>
                      </a:pPr>
                      <a:r>
                        <a:rPr lang="en-US" sz="1400" kern="1200" baseline="0" dirty="0">
                          <a:latin typeface="Gotham Medium" panose="02000603030000020004" pitchFamily="2" charset="0"/>
                        </a:rPr>
                        <a:t>Domicile Certificate</a:t>
                      </a:r>
                    </a:p>
                    <a:p>
                      <a:pPr marL="342900" indent="-342900" algn="l">
                        <a:lnSpc>
                          <a:spcPct val="150000"/>
                        </a:lnSpc>
                        <a:buAutoNum type="arabicPeriod"/>
                      </a:pPr>
                      <a:r>
                        <a:rPr lang="en-US" sz="1400" kern="1200" baseline="0" dirty="0">
                          <a:latin typeface="Gotham Medium" panose="02000603030000020004" pitchFamily="2" charset="0"/>
                        </a:rPr>
                        <a:t>MHT-CET 2021 Mark sheet &amp; JEE Mains (Paper I) 2021 Mark sheet (Online Print)</a:t>
                      </a:r>
                      <a:endParaRPr lang="en-US" sz="1400" b="1" kern="1200" baseline="0" dirty="0">
                        <a:solidFill>
                          <a:schemeClr val="tx1"/>
                        </a:solidFill>
                        <a:latin typeface="Gotham Medium" panose="02000603030000020004" pitchFamily="2" charset="0"/>
                        <a:ea typeface="+mn-ea"/>
                        <a:cs typeface="Times New Roman" pitchFamily="18" charset="0"/>
                      </a:endParaRPr>
                    </a:p>
                  </a:txBody>
                  <a:tcPr marL="91442" marR="91442" marT="43073" marB="43073" anchor="ctr"/>
                </a:tc>
                <a:extLst>
                  <a:ext uri="{0D108BD9-81ED-4DB2-BD59-A6C34878D82A}">
                    <a16:rowId xmlns:a16="http://schemas.microsoft.com/office/drawing/2014/main" val="10001"/>
                  </a:ext>
                </a:extLst>
              </a:tr>
            </a:tbl>
          </a:graphicData>
        </a:graphic>
      </p:graphicFrame>
      <p:sp>
        <p:nvSpPr>
          <p:cNvPr id="16" name="Google Shape;324;p7">
            <a:extLst>
              <a:ext uri="{FF2B5EF4-FFF2-40B4-BE49-F238E27FC236}">
                <a16:creationId xmlns:a16="http://schemas.microsoft.com/office/drawing/2014/main" id="{806F0F3B-BCA6-4877-86AE-98021CCA26D8}"/>
              </a:ext>
            </a:extLst>
          </p:cNvPr>
          <p:cNvSpPr/>
          <p:nvPr/>
        </p:nvSpPr>
        <p:spPr>
          <a:xfrm>
            <a:off x="0" y="0"/>
            <a:ext cx="152400" cy="51435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nvGrpSpPr>
          <p:cNvPr id="21" name="Google Shape;347;p7">
            <a:extLst>
              <a:ext uri="{FF2B5EF4-FFF2-40B4-BE49-F238E27FC236}">
                <a16:creationId xmlns:a16="http://schemas.microsoft.com/office/drawing/2014/main" id="{99D2EF23-FD70-48B0-AC72-EC63C36997E7}"/>
              </a:ext>
            </a:extLst>
          </p:cNvPr>
          <p:cNvGrpSpPr/>
          <p:nvPr/>
        </p:nvGrpSpPr>
        <p:grpSpPr>
          <a:xfrm>
            <a:off x="0" y="192762"/>
            <a:ext cx="311815" cy="653721"/>
            <a:chOff x="5385375" y="498300"/>
            <a:chExt cx="802200" cy="556500"/>
          </a:xfrm>
          <a:solidFill>
            <a:srgbClr val="FF5969"/>
          </a:solidFill>
        </p:grpSpPr>
        <p:sp>
          <p:nvSpPr>
            <p:cNvPr id="22" name="Google Shape;348;p7">
              <a:extLst>
                <a:ext uri="{FF2B5EF4-FFF2-40B4-BE49-F238E27FC236}">
                  <a16:creationId xmlns:a16="http://schemas.microsoft.com/office/drawing/2014/main" id="{E52F66B8-6125-4062-90D5-DFA66DC745AE}"/>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3" name="Google Shape;349;p7">
              <a:extLst>
                <a:ext uri="{FF2B5EF4-FFF2-40B4-BE49-F238E27FC236}">
                  <a16:creationId xmlns:a16="http://schemas.microsoft.com/office/drawing/2014/main" id="{7F9B09C4-562D-48A1-B980-C7779752BAF8}"/>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4" name="Google Shape;350;p7">
              <a:extLst>
                <a:ext uri="{FF2B5EF4-FFF2-40B4-BE49-F238E27FC236}">
                  <a16:creationId xmlns:a16="http://schemas.microsoft.com/office/drawing/2014/main" id="{59F550E6-47EC-4A8B-93F1-590676A4A010}"/>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sp>
        <p:nvSpPr>
          <p:cNvPr id="25" name="Title 1">
            <a:extLst>
              <a:ext uri="{FF2B5EF4-FFF2-40B4-BE49-F238E27FC236}">
                <a16:creationId xmlns:a16="http://schemas.microsoft.com/office/drawing/2014/main" id="{CCF811E1-D98E-44CD-B3D7-A168C406D31C}"/>
              </a:ext>
            </a:extLst>
          </p:cNvPr>
          <p:cNvSpPr txBox="1">
            <a:spLocks/>
          </p:cNvSpPr>
          <p:nvPr/>
        </p:nvSpPr>
        <p:spPr>
          <a:xfrm>
            <a:off x="311815" y="192762"/>
            <a:ext cx="8178485"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altLang="en-US" sz="2800" dirty="0">
                <a:solidFill>
                  <a:srgbClr val="FF5969"/>
                </a:solidFill>
                <a:latin typeface="Gotham Bold" panose="02000803030000020004" pitchFamily="2" charset="0"/>
              </a:rPr>
              <a:t>Documents to be Uploaded </a:t>
            </a:r>
            <a:endParaRPr lang="en-US" sz="2800" dirty="0">
              <a:solidFill>
                <a:srgbClr val="FF5969"/>
              </a:solidFill>
              <a:latin typeface="Gotham Bold" panose="02000803030000020004" pitchFamily="2" charset="0"/>
            </a:endParaRPr>
          </a:p>
        </p:txBody>
      </p:sp>
      <p:graphicFrame>
        <p:nvGraphicFramePr>
          <p:cNvPr id="2" name="Table 1">
            <a:extLst>
              <a:ext uri="{FF2B5EF4-FFF2-40B4-BE49-F238E27FC236}">
                <a16:creationId xmlns:a16="http://schemas.microsoft.com/office/drawing/2014/main" id="{A39BA294-A134-410C-87F1-D0888D4CB4C8}"/>
              </a:ext>
            </a:extLst>
          </p:cNvPr>
          <p:cNvGraphicFramePr>
            <a:graphicFrameLocks noGrp="1"/>
          </p:cNvGraphicFramePr>
          <p:nvPr>
            <p:extLst>
              <p:ext uri="{D42A27DB-BD31-4B8C-83A1-F6EECF244321}">
                <p14:modId xmlns:p14="http://schemas.microsoft.com/office/powerpoint/2010/main" val="3179784712"/>
              </p:ext>
            </p:extLst>
          </p:nvPr>
        </p:nvGraphicFramePr>
        <p:xfrm>
          <a:off x="333215" y="4020064"/>
          <a:ext cx="8571894" cy="893831"/>
        </p:xfrm>
        <a:graphic>
          <a:graphicData uri="http://schemas.openxmlformats.org/drawingml/2006/table">
            <a:tbl>
              <a:tblPr firstRow="1" bandRow="1">
                <a:tableStyleId>{5940675A-B579-460E-94D1-54222C63F5DA}</a:tableStyleId>
              </a:tblPr>
              <a:tblGrid>
                <a:gridCol w="718065">
                  <a:extLst>
                    <a:ext uri="{9D8B030D-6E8A-4147-A177-3AD203B41FA5}">
                      <a16:colId xmlns:a16="http://schemas.microsoft.com/office/drawing/2014/main" val="1890812007"/>
                    </a:ext>
                  </a:extLst>
                </a:gridCol>
                <a:gridCol w="2243951">
                  <a:extLst>
                    <a:ext uri="{9D8B030D-6E8A-4147-A177-3AD203B41FA5}">
                      <a16:colId xmlns:a16="http://schemas.microsoft.com/office/drawing/2014/main" val="2459390259"/>
                    </a:ext>
                  </a:extLst>
                </a:gridCol>
                <a:gridCol w="5609878">
                  <a:extLst>
                    <a:ext uri="{9D8B030D-6E8A-4147-A177-3AD203B41FA5}">
                      <a16:colId xmlns:a16="http://schemas.microsoft.com/office/drawing/2014/main" val="1938384003"/>
                    </a:ext>
                  </a:extLst>
                </a:gridCol>
              </a:tblGrid>
              <a:tr h="893831">
                <a:tc>
                  <a:txBody>
                    <a:bodyPr/>
                    <a:lstStyle/>
                    <a:p>
                      <a:pPr algn="ctr"/>
                      <a:r>
                        <a:rPr lang="en-US" sz="1600" dirty="0">
                          <a:solidFill>
                            <a:schemeClr val="bg1"/>
                          </a:solidFill>
                          <a:latin typeface="Gotham Medium" panose="02000603030000020004" pitchFamily="2" charset="0"/>
                        </a:rPr>
                        <a:t>02</a:t>
                      </a:r>
                      <a:endParaRPr lang="en-US" sz="1600" b="1" dirty="0">
                        <a:solidFill>
                          <a:schemeClr val="bg1"/>
                        </a:solidFill>
                        <a:latin typeface="Gotham Medium" panose="02000603030000020004" pitchFamily="2" charset="0"/>
                        <a:cs typeface="Times New Roman" pitchFamily="18" charset="0"/>
                      </a:endParaRPr>
                    </a:p>
                  </a:txBody>
                  <a:tcPr marL="91442" marR="91442" marT="43073" marB="43073" anchor="ctr">
                    <a:solidFill>
                      <a:schemeClr val="tx1">
                        <a:lumMod val="50000"/>
                        <a:lumOff val="50000"/>
                      </a:schemeClr>
                    </a:solidFill>
                  </a:tcPr>
                </a:tc>
                <a:tc>
                  <a:txBody>
                    <a:bodyPr/>
                    <a:lstStyle/>
                    <a:p>
                      <a:pPr algn="ctr"/>
                      <a:r>
                        <a:rPr lang="en-US" sz="1600" dirty="0">
                          <a:latin typeface="Gotham Medium" panose="02000603030000020004" pitchFamily="2" charset="0"/>
                        </a:rPr>
                        <a:t>Type –B</a:t>
                      </a:r>
                      <a:endParaRPr lang="en-US" sz="1600" baseline="0" dirty="0">
                        <a:latin typeface="Gotham Medium" panose="02000603030000020004" pitchFamily="2" charset="0"/>
                      </a:endParaRPr>
                    </a:p>
                    <a:p>
                      <a:pPr algn="ctr"/>
                      <a:r>
                        <a:rPr lang="en-US" sz="1600" baseline="0" dirty="0">
                          <a:latin typeface="Gotham Medium" panose="02000603030000020004" pitchFamily="2" charset="0"/>
                        </a:rPr>
                        <a:t>(</a:t>
                      </a:r>
                      <a:r>
                        <a:rPr lang="en-US" sz="1600" kern="1200" dirty="0">
                          <a:latin typeface="Gotham Medium" panose="02000603030000020004" pitchFamily="2" charset="0"/>
                        </a:rPr>
                        <a:t>Domicile Status )</a:t>
                      </a:r>
                      <a:endParaRPr lang="en-US" sz="1600" b="1" kern="1200" dirty="0">
                        <a:solidFill>
                          <a:schemeClr val="tx1"/>
                        </a:solidFill>
                        <a:latin typeface="Gotham Medium" panose="02000603030000020004" pitchFamily="2" charset="0"/>
                        <a:ea typeface="+mn-ea"/>
                        <a:cs typeface="Times New Roman" pitchFamily="18" charset="0"/>
                      </a:endParaRPr>
                    </a:p>
                  </a:txBody>
                  <a:tcPr marL="91442" marR="91442" marT="43073" marB="43073" anchor="ctr"/>
                </a:tc>
                <a:tc>
                  <a:txBody>
                    <a:bodyPr/>
                    <a:lstStyle/>
                    <a:p>
                      <a:pPr algn="ctr"/>
                      <a:r>
                        <a:rPr lang="en-US" sz="1600" kern="1200" dirty="0">
                          <a:latin typeface="Gotham Medium" panose="02000603030000020004" pitchFamily="2" charset="0"/>
                        </a:rPr>
                        <a:t>Domicile certificate of candidate</a:t>
                      </a:r>
                      <a:r>
                        <a:rPr lang="en-US" sz="1600" kern="1200" baseline="0" dirty="0">
                          <a:latin typeface="Gotham Medium" panose="02000603030000020004" pitchFamily="2" charset="0"/>
                        </a:rPr>
                        <a:t> or of father/mother/husband</a:t>
                      </a:r>
                    </a:p>
                    <a:p>
                      <a:pPr algn="ctr"/>
                      <a:r>
                        <a:rPr lang="en-US" sz="1600" kern="1200" baseline="0" dirty="0">
                          <a:latin typeface="Gotham Medium" panose="02000603030000020004" pitchFamily="2" charset="0"/>
                        </a:rPr>
                        <a:t>In addition to documents mentioned in Sr. No. 01  </a:t>
                      </a:r>
                      <a:endParaRPr lang="en-US" sz="1600" b="1" dirty="0">
                        <a:solidFill>
                          <a:schemeClr val="tx1"/>
                        </a:solidFill>
                        <a:latin typeface="Gotham Medium" panose="02000603030000020004" pitchFamily="2" charset="0"/>
                        <a:cs typeface="Times New Roman" pitchFamily="18" charset="0"/>
                      </a:endParaRPr>
                    </a:p>
                  </a:txBody>
                  <a:tcPr marL="91442" marR="91442" marT="43073" marB="43073" anchor="ctr"/>
                </a:tc>
                <a:extLst>
                  <a:ext uri="{0D108BD9-81ED-4DB2-BD59-A6C34878D82A}">
                    <a16:rowId xmlns:a16="http://schemas.microsoft.com/office/drawing/2014/main" val="3243572588"/>
                  </a:ext>
                </a:extLst>
              </a:tr>
            </a:tbl>
          </a:graphicData>
        </a:graphic>
      </p:graphicFrame>
    </p:spTree>
    <p:extLst>
      <p:ext uri="{BB962C8B-B14F-4D97-AF65-F5344CB8AC3E}">
        <p14:creationId xmlns:p14="http://schemas.microsoft.com/office/powerpoint/2010/main" val="2629520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Google Shape;324;p7">
            <a:extLst>
              <a:ext uri="{FF2B5EF4-FFF2-40B4-BE49-F238E27FC236}">
                <a16:creationId xmlns:a16="http://schemas.microsoft.com/office/drawing/2014/main" id="{806F0F3B-BCA6-4877-86AE-98021CCA26D8}"/>
              </a:ext>
            </a:extLst>
          </p:cNvPr>
          <p:cNvSpPr/>
          <p:nvPr/>
        </p:nvSpPr>
        <p:spPr>
          <a:xfrm>
            <a:off x="0" y="0"/>
            <a:ext cx="152400" cy="51435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nvGrpSpPr>
          <p:cNvPr id="21" name="Google Shape;347;p7">
            <a:extLst>
              <a:ext uri="{FF2B5EF4-FFF2-40B4-BE49-F238E27FC236}">
                <a16:creationId xmlns:a16="http://schemas.microsoft.com/office/drawing/2014/main" id="{99D2EF23-FD70-48B0-AC72-EC63C36997E7}"/>
              </a:ext>
            </a:extLst>
          </p:cNvPr>
          <p:cNvGrpSpPr/>
          <p:nvPr/>
        </p:nvGrpSpPr>
        <p:grpSpPr>
          <a:xfrm>
            <a:off x="0" y="192762"/>
            <a:ext cx="311815" cy="653721"/>
            <a:chOff x="5385375" y="498300"/>
            <a:chExt cx="802200" cy="556500"/>
          </a:xfrm>
          <a:solidFill>
            <a:srgbClr val="FF5969"/>
          </a:solidFill>
        </p:grpSpPr>
        <p:sp>
          <p:nvSpPr>
            <p:cNvPr id="22" name="Google Shape;348;p7">
              <a:extLst>
                <a:ext uri="{FF2B5EF4-FFF2-40B4-BE49-F238E27FC236}">
                  <a16:creationId xmlns:a16="http://schemas.microsoft.com/office/drawing/2014/main" id="{E52F66B8-6125-4062-90D5-DFA66DC745AE}"/>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3" name="Google Shape;349;p7">
              <a:extLst>
                <a:ext uri="{FF2B5EF4-FFF2-40B4-BE49-F238E27FC236}">
                  <a16:creationId xmlns:a16="http://schemas.microsoft.com/office/drawing/2014/main" id="{7F9B09C4-562D-48A1-B980-C7779752BAF8}"/>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4" name="Google Shape;350;p7">
              <a:extLst>
                <a:ext uri="{FF2B5EF4-FFF2-40B4-BE49-F238E27FC236}">
                  <a16:creationId xmlns:a16="http://schemas.microsoft.com/office/drawing/2014/main" id="{59F550E6-47EC-4A8B-93F1-590676A4A010}"/>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sp>
        <p:nvSpPr>
          <p:cNvPr id="25" name="Title 1">
            <a:extLst>
              <a:ext uri="{FF2B5EF4-FFF2-40B4-BE49-F238E27FC236}">
                <a16:creationId xmlns:a16="http://schemas.microsoft.com/office/drawing/2014/main" id="{CCF811E1-D98E-44CD-B3D7-A168C406D31C}"/>
              </a:ext>
            </a:extLst>
          </p:cNvPr>
          <p:cNvSpPr txBox="1">
            <a:spLocks/>
          </p:cNvSpPr>
          <p:nvPr/>
        </p:nvSpPr>
        <p:spPr>
          <a:xfrm>
            <a:off x="311815" y="192762"/>
            <a:ext cx="8178485"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altLang="en-US" sz="2800" dirty="0">
                <a:solidFill>
                  <a:srgbClr val="FF5969"/>
                </a:solidFill>
                <a:latin typeface="Gotham Bold" panose="02000803030000020004" pitchFamily="2" charset="0"/>
              </a:rPr>
              <a:t>Documents to be Uploaded </a:t>
            </a:r>
            <a:endParaRPr lang="en-US" sz="2800" dirty="0">
              <a:solidFill>
                <a:srgbClr val="FF5969"/>
              </a:solidFill>
              <a:latin typeface="Gotham Bold" panose="02000803030000020004" pitchFamily="2" charset="0"/>
            </a:endParaRPr>
          </a:p>
        </p:txBody>
      </p:sp>
      <p:graphicFrame>
        <p:nvGraphicFramePr>
          <p:cNvPr id="13" name="Table 12">
            <a:extLst>
              <a:ext uri="{FF2B5EF4-FFF2-40B4-BE49-F238E27FC236}">
                <a16:creationId xmlns:a16="http://schemas.microsoft.com/office/drawing/2014/main" id="{46305998-2471-4FD1-9DAC-D8DF37A6F977}"/>
              </a:ext>
            </a:extLst>
          </p:cNvPr>
          <p:cNvGraphicFramePr>
            <a:graphicFrameLocks noGrp="1"/>
          </p:cNvGraphicFramePr>
          <p:nvPr>
            <p:extLst>
              <p:ext uri="{D42A27DB-BD31-4B8C-83A1-F6EECF244321}">
                <p14:modId xmlns:p14="http://schemas.microsoft.com/office/powerpoint/2010/main" val="73341784"/>
              </p:ext>
            </p:extLst>
          </p:nvPr>
        </p:nvGraphicFramePr>
        <p:xfrm>
          <a:off x="318849" y="1088296"/>
          <a:ext cx="8686800" cy="1762534"/>
        </p:xfrm>
        <a:graphic>
          <a:graphicData uri="http://schemas.openxmlformats.org/drawingml/2006/table">
            <a:tbl>
              <a:tblPr firstRow="1" bandRow="1">
                <a:tableStyleId>{5940675A-B579-460E-94D1-54222C63F5DA}</a:tableStyleId>
              </a:tblPr>
              <a:tblGrid>
                <a:gridCol w="644553">
                  <a:extLst>
                    <a:ext uri="{9D8B030D-6E8A-4147-A177-3AD203B41FA5}">
                      <a16:colId xmlns:a16="http://schemas.microsoft.com/office/drawing/2014/main" val="20000"/>
                    </a:ext>
                  </a:extLst>
                </a:gridCol>
                <a:gridCol w="2357169">
                  <a:extLst>
                    <a:ext uri="{9D8B030D-6E8A-4147-A177-3AD203B41FA5}">
                      <a16:colId xmlns:a16="http://schemas.microsoft.com/office/drawing/2014/main" val="20001"/>
                    </a:ext>
                  </a:extLst>
                </a:gridCol>
                <a:gridCol w="5685078">
                  <a:extLst>
                    <a:ext uri="{9D8B030D-6E8A-4147-A177-3AD203B41FA5}">
                      <a16:colId xmlns:a16="http://schemas.microsoft.com/office/drawing/2014/main" val="20002"/>
                    </a:ext>
                  </a:extLst>
                </a:gridCol>
              </a:tblGrid>
              <a:tr h="479970">
                <a:tc>
                  <a:txBody>
                    <a:bodyPr/>
                    <a:lstStyle/>
                    <a:p>
                      <a:pPr algn="ctr"/>
                      <a:r>
                        <a:rPr lang="en-US" sz="1600" dirty="0">
                          <a:solidFill>
                            <a:schemeClr val="bg1"/>
                          </a:solidFill>
                          <a:latin typeface="Gotham Medium" panose="02000603030000020004" pitchFamily="2" charset="0"/>
                        </a:rPr>
                        <a:t>Sr. No. </a:t>
                      </a:r>
                      <a:endParaRPr lang="en-US" sz="1600" b="1" dirty="0">
                        <a:solidFill>
                          <a:schemeClr val="bg1"/>
                        </a:solidFill>
                        <a:latin typeface="Gotham Medium" panose="02000603030000020004" pitchFamily="2" charset="0"/>
                        <a:cs typeface="Times New Roman" pitchFamily="18" charset="0"/>
                      </a:endParaRPr>
                    </a:p>
                  </a:txBody>
                  <a:tcPr marL="91442" marR="91442" marT="43073" marB="43073" anchor="ctr">
                    <a:solidFill>
                      <a:schemeClr val="tx1">
                        <a:lumMod val="50000"/>
                        <a:lumOff val="50000"/>
                      </a:schemeClr>
                    </a:solidFill>
                  </a:tcPr>
                </a:tc>
                <a:tc>
                  <a:txBody>
                    <a:bodyPr/>
                    <a:lstStyle/>
                    <a:p>
                      <a:pPr marL="0" algn="ctr" defTabSz="914400" rtl="0" eaLnBrk="1" latinLnBrk="0" hangingPunct="1"/>
                      <a:r>
                        <a:rPr lang="en-US" sz="1600" kern="1200" dirty="0">
                          <a:solidFill>
                            <a:schemeClr val="bg1"/>
                          </a:solidFill>
                          <a:latin typeface="Gotham Medium" panose="02000603030000020004" pitchFamily="2" charset="0"/>
                        </a:rPr>
                        <a:t>Type of Candidate </a:t>
                      </a:r>
                      <a:endParaRPr lang="en-US" sz="1600" b="1" kern="1200" dirty="0">
                        <a:solidFill>
                          <a:schemeClr val="bg1"/>
                        </a:solidFill>
                        <a:latin typeface="Gotham Medium" panose="02000603030000020004" pitchFamily="2" charset="0"/>
                        <a:ea typeface="+mn-ea"/>
                        <a:cs typeface="+mn-cs"/>
                      </a:endParaRPr>
                    </a:p>
                  </a:txBody>
                  <a:tcPr marL="91442" marR="91442" marT="43073" marB="43073" anchor="ctr">
                    <a:solidFill>
                      <a:schemeClr val="tx1">
                        <a:lumMod val="50000"/>
                        <a:lumOff val="50000"/>
                      </a:schemeClr>
                    </a:solidFill>
                  </a:tcPr>
                </a:tc>
                <a:tc>
                  <a:txBody>
                    <a:bodyPr/>
                    <a:lstStyle/>
                    <a:p>
                      <a:pPr algn="ctr"/>
                      <a:r>
                        <a:rPr lang="en-US" sz="1400" dirty="0">
                          <a:solidFill>
                            <a:schemeClr val="bg1"/>
                          </a:solidFill>
                          <a:latin typeface="Gotham Medium" panose="02000603030000020004" pitchFamily="2" charset="0"/>
                        </a:rPr>
                        <a:t>Attested true copies of documents to be attached along with application form for admission to Engineering </a:t>
                      </a:r>
                      <a:endParaRPr lang="en-US" sz="1400" b="1" dirty="0">
                        <a:solidFill>
                          <a:schemeClr val="bg1"/>
                        </a:solidFill>
                        <a:latin typeface="Gotham Medium" panose="02000603030000020004" pitchFamily="2" charset="0"/>
                        <a:cs typeface="Times New Roman" pitchFamily="18" charset="0"/>
                      </a:endParaRPr>
                    </a:p>
                  </a:txBody>
                  <a:tcPr marL="91442" marR="91442" marT="43073" marB="43073" anchor="ctr">
                    <a:solidFill>
                      <a:schemeClr val="tx1">
                        <a:lumMod val="50000"/>
                        <a:lumOff val="50000"/>
                      </a:schemeClr>
                    </a:solidFill>
                  </a:tcPr>
                </a:tc>
                <a:extLst>
                  <a:ext uri="{0D108BD9-81ED-4DB2-BD59-A6C34878D82A}">
                    <a16:rowId xmlns:a16="http://schemas.microsoft.com/office/drawing/2014/main" val="10000"/>
                  </a:ext>
                </a:extLst>
              </a:tr>
              <a:tr h="1162018">
                <a:tc>
                  <a:txBody>
                    <a:bodyPr/>
                    <a:lstStyle/>
                    <a:p>
                      <a:pPr marL="0" algn="ctr" defTabSz="914400" rtl="0" eaLnBrk="1" latinLnBrk="0" hangingPunct="1"/>
                      <a:r>
                        <a:rPr lang="en-US" sz="1600" kern="1200" dirty="0">
                          <a:solidFill>
                            <a:schemeClr val="bg1"/>
                          </a:solidFill>
                          <a:latin typeface="Gotham Medium" panose="02000603030000020004" pitchFamily="2" charset="0"/>
                        </a:rPr>
                        <a:t>03</a:t>
                      </a:r>
                      <a:endParaRPr lang="en-US" sz="1600" kern="1200" dirty="0">
                        <a:solidFill>
                          <a:schemeClr val="bg1"/>
                        </a:solidFill>
                        <a:latin typeface="Gotham Medium" panose="02000603030000020004" pitchFamily="2" charset="0"/>
                        <a:ea typeface="+mn-ea"/>
                        <a:cs typeface="+mn-cs"/>
                      </a:endParaRPr>
                    </a:p>
                  </a:txBody>
                  <a:tcPr marL="91442" marR="91442" marT="45714" marB="45714" anchor="ctr">
                    <a:solidFill>
                      <a:schemeClr val="tx1">
                        <a:lumMod val="50000"/>
                        <a:lumOff val="50000"/>
                      </a:schemeClr>
                    </a:solidFill>
                  </a:tcPr>
                </a:tc>
                <a:tc>
                  <a:txBody>
                    <a:bodyPr/>
                    <a:lstStyle/>
                    <a:p>
                      <a:pPr marL="0" algn="ctr" defTabSz="914400" rtl="0" eaLnBrk="1" latinLnBrk="0" hangingPunct="1"/>
                      <a:r>
                        <a:rPr lang="en-US" sz="1600" kern="1200" dirty="0">
                          <a:latin typeface="Gotham Medium" panose="02000603030000020004" pitchFamily="2" charset="0"/>
                        </a:rPr>
                        <a:t>Type –C </a:t>
                      </a:r>
                    </a:p>
                    <a:p>
                      <a:pPr marL="0" algn="ctr" defTabSz="914400" rtl="0" eaLnBrk="1" latinLnBrk="0" hangingPunct="1"/>
                      <a:r>
                        <a:rPr lang="en-US" sz="1400" kern="1200" dirty="0">
                          <a:latin typeface="Gotham Medium" panose="02000603030000020004" pitchFamily="2" charset="0"/>
                        </a:rPr>
                        <a:t>(Sons &amp; Daughters of Central Govt./Govt. of India undertaking employee)</a:t>
                      </a:r>
                      <a:endParaRPr lang="en-US" sz="1400" kern="1200" dirty="0">
                        <a:solidFill>
                          <a:schemeClr val="tx1"/>
                        </a:solidFill>
                        <a:latin typeface="Gotham Medium" panose="02000603030000020004" pitchFamily="2" charset="0"/>
                        <a:ea typeface="+mn-ea"/>
                        <a:cs typeface="+mn-cs"/>
                      </a:endParaRPr>
                    </a:p>
                  </a:txBody>
                  <a:tcPr marL="91442" marR="91442" marT="45714" marB="45714" anchor="ctr"/>
                </a:tc>
                <a:tc>
                  <a:txBody>
                    <a:bodyPr/>
                    <a:lstStyle/>
                    <a:p>
                      <a:pPr marL="0" algn="ctr" defTabSz="914400" rtl="0" eaLnBrk="1" latinLnBrk="0" hangingPunct="1"/>
                      <a:r>
                        <a:rPr lang="en-US" sz="1600" kern="1200" dirty="0">
                          <a:latin typeface="Gotham Medium" panose="02000603030000020004" pitchFamily="2" charset="0"/>
                        </a:rPr>
                        <a:t>Certificate from the employer in Performa A</a:t>
                      </a:r>
                    </a:p>
                    <a:p>
                      <a:pPr marL="0" marR="0" indent="0" algn="ctr" defTabSz="914400" rtl="0" eaLnBrk="1" fontAlgn="auto" latinLnBrk="0" hangingPunct="1">
                        <a:lnSpc>
                          <a:spcPct val="100000"/>
                        </a:lnSpc>
                        <a:spcBef>
                          <a:spcPts val="0"/>
                        </a:spcBef>
                        <a:spcAft>
                          <a:spcPts val="0"/>
                        </a:spcAft>
                        <a:buClrTx/>
                        <a:buSzTx/>
                        <a:buFontTx/>
                        <a:buNone/>
                        <a:tabLst/>
                        <a:defRPr/>
                      </a:pPr>
                      <a:r>
                        <a:rPr lang="en-US" sz="1600" kern="1200" baseline="0" dirty="0">
                          <a:latin typeface="Gotham Medium" panose="02000603030000020004" pitchFamily="2" charset="0"/>
                        </a:rPr>
                        <a:t>In addition to documents mentioned in Sr. No. 01  </a:t>
                      </a:r>
                      <a:endParaRPr lang="en-US" sz="1600" b="1" kern="1200" baseline="0" dirty="0">
                        <a:solidFill>
                          <a:schemeClr val="tx1"/>
                        </a:solidFill>
                        <a:latin typeface="Gotham Medium" panose="02000603030000020004" pitchFamily="2" charset="0"/>
                        <a:ea typeface="+mn-ea"/>
                        <a:cs typeface="+mn-cs"/>
                      </a:endParaRPr>
                    </a:p>
                  </a:txBody>
                  <a:tcPr marL="91442" marR="91442" marT="45714" marB="45714" anchor="ctr"/>
                </a:tc>
                <a:extLst>
                  <a:ext uri="{0D108BD9-81ED-4DB2-BD59-A6C34878D82A}">
                    <a16:rowId xmlns:a16="http://schemas.microsoft.com/office/drawing/2014/main" val="10001"/>
                  </a:ext>
                </a:extLst>
              </a:tr>
            </a:tbl>
          </a:graphicData>
        </a:graphic>
      </p:graphicFrame>
      <p:graphicFrame>
        <p:nvGraphicFramePr>
          <p:cNvPr id="2" name="Table 1">
            <a:extLst>
              <a:ext uri="{FF2B5EF4-FFF2-40B4-BE49-F238E27FC236}">
                <a16:creationId xmlns:a16="http://schemas.microsoft.com/office/drawing/2014/main" id="{22EC397C-B3B2-4939-AD25-2C7607ED4F79}"/>
              </a:ext>
            </a:extLst>
          </p:cNvPr>
          <p:cNvGraphicFramePr>
            <a:graphicFrameLocks noGrp="1"/>
          </p:cNvGraphicFramePr>
          <p:nvPr>
            <p:extLst>
              <p:ext uri="{D42A27DB-BD31-4B8C-83A1-F6EECF244321}">
                <p14:modId xmlns:p14="http://schemas.microsoft.com/office/powerpoint/2010/main" val="4100743077"/>
              </p:ext>
            </p:extLst>
          </p:nvPr>
        </p:nvGraphicFramePr>
        <p:xfrm>
          <a:off x="318849" y="2850830"/>
          <a:ext cx="8686800" cy="1097268"/>
        </p:xfrm>
        <a:graphic>
          <a:graphicData uri="http://schemas.openxmlformats.org/drawingml/2006/table">
            <a:tbl>
              <a:tblPr firstRow="1" bandRow="1">
                <a:tableStyleId>{5940675A-B579-460E-94D1-54222C63F5DA}</a:tableStyleId>
              </a:tblPr>
              <a:tblGrid>
                <a:gridCol w="644553">
                  <a:extLst>
                    <a:ext uri="{9D8B030D-6E8A-4147-A177-3AD203B41FA5}">
                      <a16:colId xmlns:a16="http://schemas.microsoft.com/office/drawing/2014/main" val="345191837"/>
                    </a:ext>
                  </a:extLst>
                </a:gridCol>
                <a:gridCol w="2357169">
                  <a:extLst>
                    <a:ext uri="{9D8B030D-6E8A-4147-A177-3AD203B41FA5}">
                      <a16:colId xmlns:a16="http://schemas.microsoft.com/office/drawing/2014/main" val="4246129389"/>
                    </a:ext>
                  </a:extLst>
                </a:gridCol>
                <a:gridCol w="5685078">
                  <a:extLst>
                    <a:ext uri="{9D8B030D-6E8A-4147-A177-3AD203B41FA5}">
                      <a16:colId xmlns:a16="http://schemas.microsoft.com/office/drawing/2014/main" val="2924946626"/>
                    </a:ext>
                  </a:extLst>
                </a:gridCol>
              </a:tblGrid>
              <a:tr h="1072631">
                <a:tc>
                  <a:txBody>
                    <a:bodyPr/>
                    <a:lstStyle/>
                    <a:p>
                      <a:pPr marL="0" algn="ctr" defTabSz="914400" rtl="0" eaLnBrk="1" latinLnBrk="0" hangingPunct="1"/>
                      <a:r>
                        <a:rPr lang="en-US" sz="1600" kern="1200" dirty="0">
                          <a:solidFill>
                            <a:schemeClr val="bg1"/>
                          </a:solidFill>
                          <a:latin typeface="Gotham Medium" panose="02000603030000020004" pitchFamily="2" charset="0"/>
                        </a:rPr>
                        <a:t>04</a:t>
                      </a:r>
                      <a:endParaRPr lang="en-US" sz="1600" kern="1200" dirty="0">
                        <a:solidFill>
                          <a:schemeClr val="bg1"/>
                        </a:solidFill>
                        <a:latin typeface="Gotham Medium" panose="02000603030000020004" pitchFamily="2" charset="0"/>
                        <a:ea typeface="+mn-ea"/>
                        <a:cs typeface="+mn-cs"/>
                      </a:endParaRPr>
                    </a:p>
                  </a:txBody>
                  <a:tcPr marL="91442" marR="91442" marT="45714" marB="45714" anchor="ctr">
                    <a:solidFill>
                      <a:schemeClr val="tx1">
                        <a:lumMod val="50000"/>
                        <a:lumOff val="5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1200" dirty="0">
                          <a:latin typeface="Gotham Medium" panose="02000603030000020004" pitchFamily="2" charset="0"/>
                        </a:rPr>
                        <a:t>Type –D </a:t>
                      </a:r>
                      <a:br>
                        <a:rPr lang="en-US" sz="1600" kern="1200" dirty="0">
                          <a:latin typeface="Gotham Medium" panose="02000603030000020004" pitchFamily="2" charset="0"/>
                        </a:rPr>
                      </a:br>
                      <a:r>
                        <a:rPr lang="en-US" sz="1400" kern="1200" dirty="0">
                          <a:latin typeface="Gotham Medium" panose="02000603030000020004" pitchFamily="2" charset="0"/>
                        </a:rPr>
                        <a:t>(Sons &amp; </a:t>
                      </a:r>
                      <a:r>
                        <a:rPr lang="en-US" sz="1200" kern="1200" dirty="0">
                          <a:latin typeface="Gotham Medium" panose="02000603030000020004" pitchFamily="2" charset="0"/>
                        </a:rPr>
                        <a:t>Daughters of State Govt./ Govt. of Maharashtra undertaking employee)</a:t>
                      </a:r>
                      <a:endParaRPr lang="en-US" sz="1200" kern="1200" dirty="0">
                        <a:solidFill>
                          <a:schemeClr val="tx1"/>
                        </a:solidFill>
                        <a:latin typeface="Gotham Medium" panose="02000603030000020004" pitchFamily="2" charset="0"/>
                        <a:ea typeface="+mn-ea"/>
                        <a:cs typeface="+mn-cs"/>
                      </a:endParaRPr>
                    </a:p>
                  </a:txBody>
                  <a:tcPr marL="91442" marR="91442" marT="45714" marB="45714" anchor="ctr"/>
                </a:tc>
                <a:tc>
                  <a:txBody>
                    <a:bodyPr/>
                    <a:lstStyle/>
                    <a:p>
                      <a:pPr marL="0" algn="ctr" defTabSz="914400" rtl="0" eaLnBrk="1" latinLnBrk="0" hangingPunct="1"/>
                      <a:r>
                        <a:rPr lang="en-US" sz="1600" kern="1200" dirty="0">
                          <a:latin typeface="Gotham Medium" panose="02000603030000020004" pitchFamily="2" charset="0"/>
                        </a:rPr>
                        <a:t>Certificate from the employer in Performa B</a:t>
                      </a:r>
                    </a:p>
                    <a:p>
                      <a:pPr marL="0" marR="0" indent="0" algn="ctr" defTabSz="914400" rtl="0" eaLnBrk="1" fontAlgn="auto" latinLnBrk="0" hangingPunct="1">
                        <a:lnSpc>
                          <a:spcPct val="100000"/>
                        </a:lnSpc>
                        <a:spcBef>
                          <a:spcPts val="0"/>
                        </a:spcBef>
                        <a:spcAft>
                          <a:spcPts val="0"/>
                        </a:spcAft>
                        <a:buClrTx/>
                        <a:buSzTx/>
                        <a:buFontTx/>
                        <a:buNone/>
                        <a:tabLst/>
                        <a:defRPr/>
                      </a:pPr>
                      <a:r>
                        <a:rPr lang="en-US" sz="1600" kern="1200" baseline="0" dirty="0">
                          <a:latin typeface="Gotham Medium" panose="02000603030000020004" pitchFamily="2" charset="0"/>
                        </a:rPr>
                        <a:t>In addition to documents mentioned in Sr. No. 01  </a:t>
                      </a:r>
                      <a:endParaRPr lang="en-US" sz="1600" b="1" kern="1200" baseline="0" dirty="0">
                        <a:solidFill>
                          <a:schemeClr val="tx1"/>
                        </a:solidFill>
                        <a:latin typeface="Gotham Medium" panose="02000603030000020004" pitchFamily="2" charset="0"/>
                        <a:ea typeface="+mn-ea"/>
                        <a:cs typeface="+mn-cs"/>
                      </a:endParaRPr>
                    </a:p>
                  </a:txBody>
                  <a:tcPr marL="91442" marR="91442" marT="45714" marB="45714" anchor="ctr"/>
                </a:tc>
                <a:extLst>
                  <a:ext uri="{0D108BD9-81ED-4DB2-BD59-A6C34878D82A}">
                    <a16:rowId xmlns:a16="http://schemas.microsoft.com/office/drawing/2014/main" val="1658249897"/>
                  </a:ext>
                </a:extLst>
              </a:tr>
            </a:tbl>
          </a:graphicData>
        </a:graphic>
      </p:graphicFrame>
      <p:graphicFrame>
        <p:nvGraphicFramePr>
          <p:cNvPr id="3" name="Table 2">
            <a:extLst>
              <a:ext uri="{FF2B5EF4-FFF2-40B4-BE49-F238E27FC236}">
                <a16:creationId xmlns:a16="http://schemas.microsoft.com/office/drawing/2014/main" id="{CBCA6660-D490-4DC2-9A3B-D60B67148EDF}"/>
              </a:ext>
            </a:extLst>
          </p:cNvPr>
          <p:cNvGraphicFramePr>
            <a:graphicFrameLocks noGrp="1"/>
          </p:cNvGraphicFramePr>
          <p:nvPr>
            <p:extLst>
              <p:ext uri="{D42A27DB-BD31-4B8C-83A1-F6EECF244321}">
                <p14:modId xmlns:p14="http://schemas.microsoft.com/office/powerpoint/2010/main" val="521490759"/>
              </p:ext>
            </p:extLst>
          </p:nvPr>
        </p:nvGraphicFramePr>
        <p:xfrm>
          <a:off x="318849" y="3948098"/>
          <a:ext cx="8686800" cy="975348"/>
        </p:xfrm>
        <a:graphic>
          <a:graphicData uri="http://schemas.openxmlformats.org/drawingml/2006/table">
            <a:tbl>
              <a:tblPr firstRow="1" bandRow="1">
                <a:tableStyleId>{5940675A-B579-460E-94D1-54222C63F5DA}</a:tableStyleId>
              </a:tblPr>
              <a:tblGrid>
                <a:gridCol w="644553">
                  <a:extLst>
                    <a:ext uri="{9D8B030D-6E8A-4147-A177-3AD203B41FA5}">
                      <a16:colId xmlns:a16="http://schemas.microsoft.com/office/drawing/2014/main" val="3569202373"/>
                    </a:ext>
                  </a:extLst>
                </a:gridCol>
                <a:gridCol w="2357169">
                  <a:extLst>
                    <a:ext uri="{9D8B030D-6E8A-4147-A177-3AD203B41FA5}">
                      <a16:colId xmlns:a16="http://schemas.microsoft.com/office/drawing/2014/main" val="1578161745"/>
                    </a:ext>
                  </a:extLst>
                </a:gridCol>
                <a:gridCol w="5685078">
                  <a:extLst>
                    <a:ext uri="{9D8B030D-6E8A-4147-A177-3AD203B41FA5}">
                      <a16:colId xmlns:a16="http://schemas.microsoft.com/office/drawing/2014/main" val="1816851249"/>
                    </a:ext>
                  </a:extLst>
                </a:gridCol>
              </a:tblGrid>
              <a:tr h="953449">
                <a:tc>
                  <a:txBody>
                    <a:bodyPr/>
                    <a:lstStyle/>
                    <a:p>
                      <a:pPr marL="0" algn="ctr" defTabSz="914400" rtl="0" eaLnBrk="1" latinLnBrk="0" hangingPunct="1"/>
                      <a:r>
                        <a:rPr lang="en-US" sz="1600" kern="1200" dirty="0">
                          <a:solidFill>
                            <a:schemeClr val="bg1"/>
                          </a:solidFill>
                          <a:latin typeface="Gotham Medium" panose="02000603030000020004" pitchFamily="2" charset="0"/>
                        </a:rPr>
                        <a:t>05</a:t>
                      </a:r>
                      <a:endParaRPr lang="en-US" sz="1600" kern="1200" dirty="0">
                        <a:solidFill>
                          <a:schemeClr val="bg1"/>
                        </a:solidFill>
                        <a:latin typeface="Gotham Medium" panose="02000603030000020004" pitchFamily="2" charset="0"/>
                        <a:ea typeface="+mn-ea"/>
                        <a:cs typeface="+mn-cs"/>
                      </a:endParaRPr>
                    </a:p>
                  </a:txBody>
                  <a:tcPr marL="91442" marR="91442" marT="45714" marB="45714" anchor="ctr">
                    <a:solidFill>
                      <a:schemeClr val="tx1">
                        <a:lumMod val="50000"/>
                        <a:lumOff val="50000"/>
                      </a:schemeClr>
                    </a:solidFill>
                  </a:tcPr>
                </a:tc>
                <a:tc>
                  <a:txBody>
                    <a:bodyPr/>
                    <a:lstStyle/>
                    <a:p>
                      <a:pPr marL="0" algn="ctr" defTabSz="914400" rtl="0" eaLnBrk="1" latinLnBrk="0" hangingPunct="1"/>
                      <a:r>
                        <a:rPr lang="en-US" sz="1600" kern="1200" dirty="0">
                          <a:latin typeface="Gotham Medium" panose="02000603030000020004" pitchFamily="2" charset="0"/>
                        </a:rPr>
                        <a:t>Type –E </a:t>
                      </a:r>
                      <a:br>
                        <a:rPr lang="en-US" sz="1600" kern="1200" dirty="0">
                          <a:latin typeface="Gotham Medium" panose="02000603030000020004" pitchFamily="2" charset="0"/>
                        </a:rPr>
                      </a:br>
                      <a:r>
                        <a:rPr lang="en-US" sz="1400" kern="1200" dirty="0">
                          <a:latin typeface="Gotham Medium" panose="02000603030000020004" pitchFamily="2" charset="0"/>
                        </a:rPr>
                        <a:t>(Maharashtra – Karnataka Border Candidates)</a:t>
                      </a:r>
                      <a:endParaRPr lang="en-US" sz="1400" kern="1200" dirty="0">
                        <a:solidFill>
                          <a:schemeClr val="tx1"/>
                        </a:solidFill>
                        <a:latin typeface="Gotham Medium" panose="02000603030000020004" pitchFamily="2" charset="0"/>
                        <a:ea typeface="+mn-ea"/>
                        <a:cs typeface="+mn-cs"/>
                      </a:endParaRPr>
                    </a:p>
                  </a:txBody>
                  <a:tcPr marL="91442" marR="91442" marT="45714" marB="45714" anchor="ctr"/>
                </a:tc>
                <a:tc>
                  <a:txBody>
                    <a:bodyPr/>
                    <a:lstStyle/>
                    <a:p>
                      <a:pPr marL="0" algn="ctr" defTabSz="914400" rtl="0" eaLnBrk="1" latinLnBrk="0" hangingPunct="1"/>
                      <a:r>
                        <a:rPr lang="en-US" sz="1600" kern="1200" dirty="0">
                          <a:latin typeface="Gotham Medium" panose="02000603030000020004" pitchFamily="2" charset="0"/>
                        </a:rPr>
                        <a:t>Performa G1 &amp; G2 from schoo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600" kern="1200" baseline="0" dirty="0">
                          <a:latin typeface="Gotham Medium" panose="02000603030000020004" pitchFamily="2" charset="0"/>
                        </a:rPr>
                        <a:t>In addition to documents mentioned in Sr. No. 01  </a:t>
                      </a:r>
                      <a:endParaRPr lang="en-US" sz="1600" b="1" kern="1200" baseline="0" dirty="0">
                        <a:solidFill>
                          <a:schemeClr val="tx1"/>
                        </a:solidFill>
                        <a:latin typeface="Gotham Medium" panose="02000603030000020004" pitchFamily="2" charset="0"/>
                        <a:ea typeface="+mn-ea"/>
                        <a:cs typeface="+mn-cs"/>
                      </a:endParaRPr>
                    </a:p>
                  </a:txBody>
                  <a:tcPr marL="91442" marR="91442" marT="45714" marB="45714" anchor="ctr"/>
                </a:tc>
                <a:extLst>
                  <a:ext uri="{0D108BD9-81ED-4DB2-BD59-A6C34878D82A}">
                    <a16:rowId xmlns:a16="http://schemas.microsoft.com/office/drawing/2014/main" val="339449836"/>
                  </a:ext>
                </a:extLst>
              </a:tr>
            </a:tbl>
          </a:graphicData>
        </a:graphic>
      </p:graphicFrame>
    </p:spTree>
    <p:extLst>
      <p:ext uri="{BB962C8B-B14F-4D97-AF65-F5344CB8AC3E}">
        <p14:creationId xmlns:p14="http://schemas.microsoft.com/office/powerpoint/2010/main" val="1792374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C41E9-0CB4-42B9-B5FB-717F9FEE22B6}"/>
              </a:ext>
            </a:extLst>
          </p:cNvPr>
          <p:cNvSpPr txBox="1">
            <a:spLocks/>
          </p:cNvSpPr>
          <p:nvPr/>
        </p:nvSpPr>
        <p:spPr>
          <a:xfrm>
            <a:off x="203944" y="310304"/>
            <a:ext cx="9016255" cy="883864"/>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2800" dirty="0">
                <a:solidFill>
                  <a:srgbClr val="FF5969"/>
                </a:solidFill>
                <a:latin typeface="Gotham Bold" panose="02000803030000020004" pitchFamily="2" charset="0"/>
              </a:rPr>
              <a:t>Number of Students Studying in Various Streams</a:t>
            </a:r>
          </a:p>
        </p:txBody>
      </p:sp>
      <p:sp>
        <p:nvSpPr>
          <p:cNvPr id="4" name="Rectangle 3">
            <a:extLst>
              <a:ext uri="{FF2B5EF4-FFF2-40B4-BE49-F238E27FC236}">
                <a16:creationId xmlns:a16="http://schemas.microsoft.com/office/drawing/2014/main" id="{845C5EEB-5159-4629-9568-F22ED1B108D9}"/>
              </a:ext>
            </a:extLst>
          </p:cNvPr>
          <p:cNvSpPr/>
          <p:nvPr/>
        </p:nvSpPr>
        <p:spPr>
          <a:xfrm>
            <a:off x="-4482" y="-1"/>
            <a:ext cx="156881" cy="5142251"/>
          </a:xfrm>
          <a:prstGeom prst="rect">
            <a:avLst/>
          </a:prstGeom>
          <a:solidFill>
            <a:srgbClr val="52CBBE"/>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defRPr/>
            </a:pPr>
            <a:endParaRPr lang="en-US" sz="1350" dirty="0">
              <a:solidFill>
                <a:prstClr val="white"/>
              </a:solidFill>
              <a:latin typeface="Calibri Light"/>
            </a:endParaRPr>
          </a:p>
        </p:txBody>
      </p:sp>
      <p:graphicFrame>
        <p:nvGraphicFramePr>
          <p:cNvPr id="17" name="Chart 16">
            <a:extLst>
              <a:ext uri="{FF2B5EF4-FFF2-40B4-BE49-F238E27FC236}">
                <a16:creationId xmlns:a16="http://schemas.microsoft.com/office/drawing/2014/main" id="{973F3C4E-8012-4EBF-AC77-D9E8F2B888AF}"/>
              </a:ext>
            </a:extLst>
          </p:cNvPr>
          <p:cNvGraphicFramePr>
            <a:graphicFrameLocks/>
          </p:cNvGraphicFramePr>
          <p:nvPr>
            <p:extLst>
              <p:ext uri="{D42A27DB-BD31-4B8C-83A1-F6EECF244321}">
                <p14:modId xmlns:p14="http://schemas.microsoft.com/office/powerpoint/2010/main" val="608711272"/>
              </p:ext>
            </p:extLst>
          </p:nvPr>
        </p:nvGraphicFramePr>
        <p:xfrm>
          <a:off x="762000" y="1056979"/>
          <a:ext cx="7814357" cy="3825057"/>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p:cNvSpPr/>
          <p:nvPr/>
        </p:nvSpPr>
        <p:spPr>
          <a:xfrm>
            <a:off x="3733800" y="4833196"/>
            <a:ext cx="1478290" cy="270395"/>
          </a:xfrm>
          <a:prstGeom prst="rect">
            <a:avLst/>
          </a:prstGeom>
        </p:spPr>
        <p:txBody>
          <a:bodyPr wrap="none">
            <a:spAutoFit/>
          </a:bodyPr>
          <a:lstStyle/>
          <a:p>
            <a:pPr marL="285750" indent="-285750">
              <a:lnSpc>
                <a:spcPct val="120000"/>
              </a:lnSpc>
              <a:buFont typeface="Wingdings" panose="05000000000000000000" pitchFamily="2" charset="2"/>
              <a:buChar char="§"/>
            </a:pPr>
            <a:r>
              <a:rPr lang="en-US" sz="1050" dirty="0">
                <a:latin typeface="Gotham Medium" panose="02000603030000020004" pitchFamily="2" charset="0"/>
              </a:rPr>
              <a:t>Values in Lacs</a:t>
            </a:r>
          </a:p>
        </p:txBody>
      </p:sp>
      <p:sp>
        <p:nvSpPr>
          <p:cNvPr id="7" name="Rectangle 6">
            <a:extLst>
              <a:ext uri="{FF2B5EF4-FFF2-40B4-BE49-F238E27FC236}">
                <a16:creationId xmlns:a16="http://schemas.microsoft.com/office/drawing/2014/main" id="{02E9182E-0048-4220-BE33-C57F639C4F6F}"/>
              </a:ext>
            </a:extLst>
          </p:cNvPr>
          <p:cNvSpPr/>
          <p:nvPr/>
        </p:nvSpPr>
        <p:spPr>
          <a:xfrm flipH="1">
            <a:off x="78440" y="447494"/>
            <a:ext cx="148638" cy="609485"/>
          </a:xfrm>
          <a:prstGeom prst="rect">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200" dirty="0">
              <a:solidFill>
                <a:prstClr val="white"/>
              </a:solidFill>
            </a:endParaRPr>
          </a:p>
        </p:txBody>
      </p:sp>
    </p:spTree>
    <p:extLst>
      <p:ext uri="{BB962C8B-B14F-4D97-AF65-F5344CB8AC3E}">
        <p14:creationId xmlns:p14="http://schemas.microsoft.com/office/powerpoint/2010/main" val="1845664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a:extLst>
              <a:ext uri="{FF2B5EF4-FFF2-40B4-BE49-F238E27FC236}">
                <a16:creationId xmlns:a16="http://schemas.microsoft.com/office/drawing/2014/main" id="{D88D6A0B-C698-4662-AC37-A7311E8C243F}"/>
              </a:ext>
            </a:extLst>
          </p:cNvPr>
          <p:cNvGraphicFramePr>
            <a:graphicFrameLocks noGrp="1"/>
          </p:cNvGraphicFramePr>
          <p:nvPr>
            <p:extLst>
              <p:ext uri="{D42A27DB-BD31-4B8C-83A1-F6EECF244321}">
                <p14:modId xmlns:p14="http://schemas.microsoft.com/office/powerpoint/2010/main" val="1592220191"/>
              </p:ext>
            </p:extLst>
          </p:nvPr>
        </p:nvGraphicFramePr>
        <p:xfrm>
          <a:off x="318849" y="1076445"/>
          <a:ext cx="8686800" cy="1396784"/>
        </p:xfrm>
        <a:graphic>
          <a:graphicData uri="http://schemas.openxmlformats.org/drawingml/2006/table">
            <a:tbl>
              <a:tblPr firstRow="1" bandRow="1">
                <a:tableStyleId>{5940675A-B579-460E-94D1-54222C63F5DA}</a:tableStyleId>
              </a:tblPr>
              <a:tblGrid>
                <a:gridCol w="727690">
                  <a:extLst>
                    <a:ext uri="{9D8B030D-6E8A-4147-A177-3AD203B41FA5}">
                      <a16:colId xmlns:a16="http://schemas.microsoft.com/office/drawing/2014/main" val="20000"/>
                    </a:ext>
                  </a:extLst>
                </a:gridCol>
                <a:gridCol w="2274032">
                  <a:extLst>
                    <a:ext uri="{9D8B030D-6E8A-4147-A177-3AD203B41FA5}">
                      <a16:colId xmlns:a16="http://schemas.microsoft.com/office/drawing/2014/main" val="20001"/>
                    </a:ext>
                  </a:extLst>
                </a:gridCol>
                <a:gridCol w="5685078">
                  <a:extLst>
                    <a:ext uri="{9D8B030D-6E8A-4147-A177-3AD203B41FA5}">
                      <a16:colId xmlns:a16="http://schemas.microsoft.com/office/drawing/2014/main" val="20002"/>
                    </a:ext>
                  </a:extLst>
                </a:gridCol>
              </a:tblGrid>
              <a:tr h="572270">
                <a:tc>
                  <a:txBody>
                    <a:bodyPr/>
                    <a:lstStyle/>
                    <a:p>
                      <a:pPr algn="ctr"/>
                      <a:r>
                        <a:rPr lang="en-US" sz="1600" dirty="0">
                          <a:solidFill>
                            <a:schemeClr val="bg1"/>
                          </a:solidFill>
                          <a:latin typeface="Gotham Medium" panose="02000603030000020004" pitchFamily="2" charset="0"/>
                        </a:rPr>
                        <a:t>Sr. No. </a:t>
                      </a:r>
                      <a:endParaRPr lang="en-US" sz="1600" b="1" dirty="0">
                        <a:solidFill>
                          <a:schemeClr val="bg1"/>
                        </a:solidFill>
                        <a:latin typeface="Gotham Medium" panose="02000603030000020004" pitchFamily="2" charset="0"/>
                        <a:cs typeface="Times New Roman" pitchFamily="18" charset="0"/>
                      </a:endParaRPr>
                    </a:p>
                  </a:txBody>
                  <a:tcPr marL="91442" marR="91442" marT="43073" marB="43073" anchor="ctr">
                    <a:solidFill>
                      <a:schemeClr val="tx1">
                        <a:lumMod val="50000"/>
                        <a:lumOff val="50000"/>
                      </a:schemeClr>
                    </a:solidFill>
                  </a:tcPr>
                </a:tc>
                <a:tc>
                  <a:txBody>
                    <a:bodyPr/>
                    <a:lstStyle/>
                    <a:p>
                      <a:pPr marL="0" algn="ctr" defTabSz="914400" rtl="0" eaLnBrk="1" latinLnBrk="0" hangingPunct="1"/>
                      <a:r>
                        <a:rPr lang="en-US" sz="1600" kern="1200" dirty="0">
                          <a:solidFill>
                            <a:schemeClr val="bg1"/>
                          </a:solidFill>
                          <a:latin typeface="Gotham Medium" panose="02000603030000020004" pitchFamily="2" charset="0"/>
                        </a:rPr>
                        <a:t>Type of Candidate </a:t>
                      </a:r>
                      <a:endParaRPr lang="en-US" sz="1600" b="1" kern="1200" dirty="0">
                        <a:solidFill>
                          <a:schemeClr val="bg1"/>
                        </a:solidFill>
                        <a:latin typeface="Gotham Medium" panose="02000603030000020004" pitchFamily="2" charset="0"/>
                        <a:ea typeface="+mn-ea"/>
                        <a:cs typeface="+mn-cs"/>
                      </a:endParaRPr>
                    </a:p>
                  </a:txBody>
                  <a:tcPr marL="91442" marR="91442" marT="43073" marB="43073" anchor="ctr">
                    <a:solidFill>
                      <a:schemeClr val="tx1">
                        <a:lumMod val="50000"/>
                        <a:lumOff val="50000"/>
                      </a:schemeClr>
                    </a:solidFill>
                  </a:tcPr>
                </a:tc>
                <a:tc>
                  <a:txBody>
                    <a:bodyPr/>
                    <a:lstStyle/>
                    <a:p>
                      <a:pPr algn="ctr"/>
                      <a:r>
                        <a:rPr lang="en-US" sz="1400" dirty="0">
                          <a:solidFill>
                            <a:schemeClr val="bg1"/>
                          </a:solidFill>
                          <a:latin typeface="Gotham Medium" panose="02000603030000020004" pitchFamily="2" charset="0"/>
                        </a:rPr>
                        <a:t>Attested true copies of documents to be attached along with application form for admission to Engineering </a:t>
                      </a:r>
                      <a:endParaRPr lang="en-US" sz="1400" b="1" dirty="0">
                        <a:solidFill>
                          <a:schemeClr val="bg1"/>
                        </a:solidFill>
                        <a:latin typeface="Gotham Medium" panose="02000603030000020004" pitchFamily="2" charset="0"/>
                        <a:cs typeface="Times New Roman" pitchFamily="18" charset="0"/>
                      </a:endParaRPr>
                    </a:p>
                  </a:txBody>
                  <a:tcPr marL="91442" marR="91442" marT="43073" marB="43073" anchor="ctr">
                    <a:solidFill>
                      <a:schemeClr val="tx1">
                        <a:lumMod val="50000"/>
                        <a:lumOff val="50000"/>
                      </a:schemeClr>
                    </a:solidFill>
                  </a:tcPr>
                </a:tc>
                <a:extLst>
                  <a:ext uri="{0D108BD9-81ED-4DB2-BD59-A6C34878D82A}">
                    <a16:rowId xmlns:a16="http://schemas.microsoft.com/office/drawing/2014/main" val="10000"/>
                  </a:ext>
                </a:extLst>
              </a:tr>
              <a:tr h="809055">
                <a:tc>
                  <a:txBody>
                    <a:bodyPr/>
                    <a:lstStyle/>
                    <a:p>
                      <a:pPr marL="0" algn="ctr" defTabSz="914400" rtl="0" eaLnBrk="1" latinLnBrk="0" hangingPunct="1"/>
                      <a:r>
                        <a:rPr lang="en-US" sz="1600" kern="1200" dirty="0">
                          <a:solidFill>
                            <a:schemeClr val="bg1"/>
                          </a:solidFill>
                          <a:latin typeface="Gotham Medium" panose="02000603030000020004" pitchFamily="2" charset="0"/>
                        </a:rPr>
                        <a:t>06</a:t>
                      </a:r>
                      <a:endParaRPr lang="en-US" sz="1600" kern="1200" dirty="0">
                        <a:solidFill>
                          <a:schemeClr val="bg1"/>
                        </a:solidFill>
                        <a:latin typeface="Gotham Medium" panose="02000603030000020004" pitchFamily="2" charset="0"/>
                        <a:ea typeface="+mn-ea"/>
                        <a:cs typeface="+mn-cs"/>
                      </a:endParaRPr>
                    </a:p>
                  </a:txBody>
                  <a:tcPr marL="91442" marR="91442" marT="45714" marB="45714" anchor="ctr">
                    <a:solidFill>
                      <a:schemeClr val="tx1">
                        <a:lumMod val="50000"/>
                        <a:lumOff val="50000"/>
                      </a:schemeClr>
                    </a:solidFill>
                  </a:tcPr>
                </a:tc>
                <a:tc>
                  <a:txBody>
                    <a:bodyPr/>
                    <a:lstStyle/>
                    <a:p>
                      <a:pPr marL="0" algn="ctr" defTabSz="914400" rtl="0" eaLnBrk="1" latinLnBrk="0" hangingPunct="1">
                        <a:lnSpc>
                          <a:spcPct val="100000"/>
                        </a:lnSpc>
                      </a:pPr>
                      <a:r>
                        <a:rPr lang="en-US" sz="1600" kern="1200" dirty="0">
                          <a:latin typeface="Gotham Medium" panose="02000603030000020004" pitchFamily="2" charset="0"/>
                        </a:rPr>
                        <a:t>SC / ST Candidates </a:t>
                      </a:r>
                      <a:endParaRPr lang="en-US" sz="1600" kern="1200" dirty="0">
                        <a:solidFill>
                          <a:schemeClr val="tx1"/>
                        </a:solidFill>
                        <a:latin typeface="Gotham Medium" panose="02000603030000020004" pitchFamily="2" charset="0"/>
                        <a:ea typeface="+mn-ea"/>
                        <a:cs typeface="+mn-cs"/>
                      </a:endParaRPr>
                    </a:p>
                  </a:txBody>
                  <a:tcPr marL="91437" marR="91437" marT="45719" marB="45719" anchor="ctr"/>
                </a:tc>
                <a:tc>
                  <a:txBody>
                    <a:bodyPr/>
                    <a:lstStyle/>
                    <a:p>
                      <a:pPr marL="0" algn="ctr" defTabSz="914400" rtl="0" eaLnBrk="1" latinLnBrk="0" hangingPunct="1">
                        <a:lnSpc>
                          <a:spcPct val="100000"/>
                        </a:lnSpc>
                      </a:pPr>
                      <a:r>
                        <a:rPr lang="en-US" sz="1600" kern="1200" dirty="0">
                          <a:latin typeface="Gotham Medium" panose="02000603030000020004" pitchFamily="2" charset="0"/>
                        </a:rPr>
                        <a:t>Caste certificate </a:t>
                      </a:r>
                    </a:p>
                    <a:p>
                      <a:pPr marL="0" algn="ctr" defTabSz="914400" rtl="0" eaLnBrk="1" latinLnBrk="0" hangingPunct="1">
                        <a:lnSpc>
                          <a:spcPct val="100000"/>
                        </a:lnSpc>
                      </a:pPr>
                      <a:r>
                        <a:rPr lang="en-US" sz="1600" kern="1200" dirty="0">
                          <a:latin typeface="Gotham Medium" panose="02000603030000020004" pitchFamily="2" charset="0"/>
                        </a:rPr>
                        <a:t>Caste Validity Certificate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600" kern="1200" baseline="0" dirty="0">
                          <a:latin typeface="Gotham Medium" panose="02000603030000020004" pitchFamily="2" charset="0"/>
                        </a:rPr>
                        <a:t>In addition to documents mentioned in Sr. No. 01</a:t>
                      </a:r>
                      <a:endParaRPr lang="en-US" sz="1600" b="1" kern="1200" baseline="0" dirty="0">
                        <a:solidFill>
                          <a:schemeClr val="tx1"/>
                        </a:solidFill>
                        <a:latin typeface="Gotham Medium" panose="02000603030000020004" pitchFamily="2" charset="0"/>
                        <a:ea typeface="+mn-ea"/>
                        <a:cs typeface="+mn-cs"/>
                      </a:endParaRPr>
                    </a:p>
                  </a:txBody>
                  <a:tcPr marL="91437" marR="91437" marT="45719" marB="45719" anchor="ctr"/>
                </a:tc>
                <a:extLst>
                  <a:ext uri="{0D108BD9-81ED-4DB2-BD59-A6C34878D82A}">
                    <a16:rowId xmlns:a16="http://schemas.microsoft.com/office/drawing/2014/main" val="10001"/>
                  </a:ext>
                </a:extLst>
              </a:tr>
            </a:tbl>
          </a:graphicData>
        </a:graphic>
      </p:graphicFrame>
      <p:sp>
        <p:nvSpPr>
          <p:cNvPr id="16" name="Google Shape;324;p7">
            <a:extLst>
              <a:ext uri="{FF2B5EF4-FFF2-40B4-BE49-F238E27FC236}">
                <a16:creationId xmlns:a16="http://schemas.microsoft.com/office/drawing/2014/main" id="{806F0F3B-BCA6-4877-86AE-98021CCA26D8}"/>
              </a:ext>
            </a:extLst>
          </p:cNvPr>
          <p:cNvSpPr/>
          <p:nvPr/>
        </p:nvSpPr>
        <p:spPr>
          <a:xfrm>
            <a:off x="0" y="0"/>
            <a:ext cx="152400" cy="51435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nvGrpSpPr>
          <p:cNvPr id="21" name="Google Shape;347;p7">
            <a:extLst>
              <a:ext uri="{FF2B5EF4-FFF2-40B4-BE49-F238E27FC236}">
                <a16:creationId xmlns:a16="http://schemas.microsoft.com/office/drawing/2014/main" id="{99D2EF23-FD70-48B0-AC72-EC63C36997E7}"/>
              </a:ext>
            </a:extLst>
          </p:cNvPr>
          <p:cNvGrpSpPr/>
          <p:nvPr/>
        </p:nvGrpSpPr>
        <p:grpSpPr>
          <a:xfrm>
            <a:off x="0" y="192762"/>
            <a:ext cx="311815" cy="653721"/>
            <a:chOff x="5385375" y="498300"/>
            <a:chExt cx="802200" cy="556500"/>
          </a:xfrm>
          <a:solidFill>
            <a:srgbClr val="FF5969"/>
          </a:solidFill>
        </p:grpSpPr>
        <p:sp>
          <p:nvSpPr>
            <p:cNvPr id="22" name="Google Shape;348;p7">
              <a:extLst>
                <a:ext uri="{FF2B5EF4-FFF2-40B4-BE49-F238E27FC236}">
                  <a16:creationId xmlns:a16="http://schemas.microsoft.com/office/drawing/2014/main" id="{E52F66B8-6125-4062-90D5-DFA66DC745AE}"/>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3" name="Google Shape;349;p7">
              <a:extLst>
                <a:ext uri="{FF2B5EF4-FFF2-40B4-BE49-F238E27FC236}">
                  <a16:creationId xmlns:a16="http://schemas.microsoft.com/office/drawing/2014/main" id="{7F9B09C4-562D-48A1-B980-C7779752BAF8}"/>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4" name="Google Shape;350;p7">
              <a:extLst>
                <a:ext uri="{FF2B5EF4-FFF2-40B4-BE49-F238E27FC236}">
                  <a16:creationId xmlns:a16="http://schemas.microsoft.com/office/drawing/2014/main" id="{59F550E6-47EC-4A8B-93F1-590676A4A010}"/>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sp>
        <p:nvSpPr>
          <p:cNvPr id="25" name="Title 1">
            <a:extLst>
              <a:ext uri="{FF2B5EF4-FFF2-40B4-BE49-F238E27FC236}">
                <a16:creationId xmlns:a16="http://schemas.microsoft.com/office/drawing/2014/main" id="{CCF811E1-D98E-44CD-B3D7-A168C406D31C}"/>
              </a:ext>
            </a:extLst>
          </p:cNvPr>
          <p:cNvSpPr txBox="1">
            <a:spLocks/>
          </p:cNvSpPr>
          <p:nvPr/>
        </p:nvSpPr>
        <p:spPr>
          <a:xfrm>
            <a:off x="311815" y="192762"/>
            <a:ext cx="8178485"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altLang="en-US" sz="2800" dirty="0">
                <a:solidFill>
                  <a:srgbClr val="FF5969"/>
                </a:solidFill>
                <a:latin typeface="Gotham Bold" panose="02000803030000020004" pitchFamily="2" charset="0"/>
              </a:rPr>
              <a:t>Documents to be Uploaded </a:t>
            </a:r>
            <a:endParaRPr lang="en-US" sz="2800" dirty="0">
              <a:solidFill>
                <a:srgbClr val="FF5969"/>
              </a:solidFill>
              <a:latin typeface="Gotham Bold" panose="02000803030000020004" pitchFamily="2" charset="0"/>
            </a:endParaRPr>
          </a:p>
        </p:txBody>
      </p:sp>
      <p:graphicFrame>
        <p:nvGraphicFramePr>
          <p:cNvPr id="2" name="Table 1">
            <a:extLst>
              <a:ext uri="{FF2B5EF4-FFF2-40B4-BE49-F238E27FC236}">
                <a16:creationId xmlns:a16="http://schemas.microsoft.com/office/drawing/2014/main" id="{EDF179C9-4D82-4419-9629-337FF63F1E18}"/>
              </a:ext>
            </a:extLst>
          </p:cNvPr>
          <p:cNvGraphicFramePr>
            <a:graphicFrameLocks noGrp="1"/>
          </p:cNvGraphicFramePr>
          <p:nvPr>
            <p:extLst>
              <p:ext uri="{D42A27DB-BD31-4B8C-83A1-F6EECF244321}">
                <p14:modId xmlns:p14="http://schemas.microsoft.com/office/powerpoint/2010/main" val="3223133788"/>
              </p:ext>
            </p:extLst>
          </p:nvPr>
        </p:nvGraphicFramePr>
        <p:xfrm>
          <a:off x="318849" y="2473229"/>
          <a:ext cx="8686800" cy="1169482"/>
        </p:xfrm>
        <a:graphic>
          <a:graphicData uri="http://schemas.openxmlformats.org/drawingml/2006/table">
            <a:tbl>
              <a:tblPr firstRow="1" bandRow="1">
                <a:tableStyleId>{5940675A-B579-460E-94D1-54222C63F5DA}</a:tableStyleId>
              </a:tblPr>
              <a:tblGrid>
                <a:gridCol w="727690">
                  <a:extLst>
                    <a:ext uri="{9D8B030D-6E8A-4147-A177-3AD203B41FA5}">
                      <a16:colId xmlns:a16="http://schemas.microsoft.com/office/drawing/2014/main" val="1047473660"/>
                    </a:ext>
                  </a:extLst>
                </a:gridCol>
                <a:gridCol w="2274032">
                  <a:extLst>
                    <a:ext uri="{9D8B030D-6E8A-4147-A177-3AD203B41FA5}">
                      <a16:colId xmlns:a16="http://schemas.microsoft.com/office/drawing/2014/main" val="3484512921"/>
                    </a:ext>
                  </a:extLst>
                </a:gridCol>
                <a:gridCol w="5685078">
                  <a:extLst>
                    <a:ext uri="{9D8B030D-6E8A-4147-A177-3AD203B41FA5}">
                      <a16:colId xmlns:a16="http://schemas.microsoft.com/office/drawing/2014/main" val="2051116583"/>
                    </a:ext>
                  </a:extLst>
                </a:gridCol>
              </a:tblGrid>
              <a:tr h="1169482">
                <a:tc>
                  <a:txBody>
                    <a:bodyPr/>
                    <a:lstStyle/>
                    <a:p>
                      <a:pPr marL="0" algn="ctr" defTabSz="914400" rtl="0" eaLnBrk="1" latinLnBrk="0" hangingPunct="1">
                        <a:lnSpc>
                          <a:spcPct val="100000"/>
                        </a:lnSpc>
                      </a:pPr>
                      <a:r>
                        <a:rPr lang="en-US" sz="1600" kern="1200" dirty="0">
                          <a:solidFill>
                            <a:schemeClr val="bg1"/>
                          </a:solidFill>
                          <a:latin typeface="Gotham Medium" panose="02000603030000020004" pitchFamily="2" charset="0"/>
                        </a:rPr>
                        <a:t>07</a:t>
                      </a:r>
                      <a:endParaRPr lang="en-US" sz="1600" kern="1200" dirty="0">
                        <a:solidFill>
                          <a:schemeClr val="bg1"/>
                        </a:solidFill>
                        <a:latin typeface="Gotham Medium" panose="02000603030000020004" pitchFamily="2" charset="0"/>
                        <a:ea typeface="+mn-ea"/>
                        <a:cs typeface="+mn-cs"/>
                      </a:endParaRPr>
                    </a:p>
                  </a:txBody>
                  <a:tcPr marL="91437" marR="91437" marT="45719" marB="45719" anchor="ctr">
                    <a:solidFill>
                      <a:schemeClr val="tx1">
                        <a:lumMod val="50000"/>
                        <a:lumOff val="50000"/>
                      </a:schemeClr>
                    </a:solidFill>
                  </a:tcPr>
                </a:tc>
                <a:tc>
                  <a:txBody>
                    <a:bodyPr/>
                    <a:lstStyle/>
                    <a:p>
                      <a:pPr marL="0" algn="ctr" defTabSz="914400" rtl="0" eaLnBrk="1" latinLnBrk="0" hangingPunct="1">
                        <a:lnSpc>
                          <a:spcPct val="100000"/>
                        </a:lnSpc>
                      </a:pPr>
                      <a:r>
                        <a:rPr lang="en-US" sz="1600" kern="1200" dirty="0">
                          <a:latin typeface="Gotham Medium" panose="02000603030000020004" pitchFamily="2" charset="0"/>
                        </a:rPr>
                        <a:t>VJ / DT/ NT(A) / NT(B) / NT(C) / NT(D) / OBC/ SBC / Candidates </a:t>
                      </a:r>
                      <a:endParaRPr lang="en-US" sz="1600" kern="1200" dirty="0">
                        <a:solidFill>
                          <a:schemeClr val="tx1"/>
                        </a:solidFill>
                        <a:latin typeface="Gotham Medium" panose="02000603030000020004" pitchFamily="2" charset="0"/>
                        <a:ea typeface="+mn-ea"/>
                        <a:cs typeface="+mn-cs"/>
                      </a:endParaRPr>
                    </a:p>
                  </a:txBody>
                  <a:tcPr marL="91437" marR="91437" marT="45719" marB="45719" anchor="ctr"/>
                </a:tc>
                <a:tc>
                  <a:txBody>
                    <a:bodyPr/>
                    <a:lstStyle/>
                    <a:p>
                      <a:pPr marL="0" algn="ctr" defTabSz="914400" rtl="0" eaLnBrk="1" latinLnBrk="0" hangingPunct="1">
                        <a:lnSpc>
                          <a:spcPct val="100000"/>
                        </a:lnSpc>
                      </a:pPr>
                      <a:r>
                        <a:rPr lang="en-US" sz="1400" kern="1200" dirty="0">
                          <a:latin typeface="Gotham Medium" panose="02000603030000020004" pitchFamily="2" charset="0"/>
                        </a:rPr>
                        <a:t>Caste certificate </a:t>
                      </a:r>
                    </a:p>
                    <a:p>
                      <a:pPr marL="0" algn="ctr" defTabSz="914400" rtl="0" eaLnBrk="1" latinLnBrk="0" hangingPunct="1">
                        <a:lnSpc>
                          <a:spcPct val="100000"/>
                        </a:lnSpc>
                      </a:pPr>
                      <a:r>
                        <a:rPr lang="en-US" sz="1400" kern="1200" dirty="0">
                          <a:latin typeface="Gotham Medium" panose="02000603030000020004" pitchFamily="2" charset="0"/>
                        </a:rPr>
                        <a:t>Caste Validity Certificate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a:latin typeface="Gotham Medium" panose="02000603030000020004" pitchFamily="2" charset="0"/>
                        </a:rPr>
                        <a:t>Non-Creamy Layer Certificate valid up to 31</a:t>
                      </a:r>
                      <a:r>
                        <a:rPr lang="en-US" sz="1400" kern="1200" baseline="30000" dirty="0">
                          <a:latin typeface="Gotham Medium" panose="02000603030000020004" pitchFamily="2" charset="0"/>
                        </a:rPr>
                        <a:t>st</a:t>
                      </a:r>
                      <a:r>
                        <a:rPr lang="en-US" sz="1400" kern="1200" dirty="0">
                          <a:latin typeface="Gotham Medium" panose="02000603030000020004" pitchFamily="2" charset="0"/>
                        </a:rPr>
                        <a:t>  March 2022</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a:latin typeface="Gotham Medium" panose="02000603030000020004" pitchFamily="2" charset="0"/>
                        </a:rPr>
                        <a:t>In addition to documents mentioned in Sr. No. 01</a:t>
                      </a:r>
                      <a:endParaRPr lang="en-US" sz="1400" b="1" kern="1200" baseline="0" dirty="0">
                        <a:solidFill>
                          <a:schemeClr val="tx1"/>
                        </a:solidFill>
                        <a:latin typeface="Gotham Medium" panose="02000603030000020004" pitchFamily="2" charset="0"/>
                        <a:ea typeface="+mn-ea"/>
                        <a:cs typeface="+mn-cs"/>
                      </a:endParaRPr>
                    </a:p>
                  </a:txBody>
                  <a:tcPr marL="91437" marR="91437" marT="45719" marB="45719" anchor="ctr"/>
                </a:tc>
                <a:extLst>
                  <a:ext uri="{0D108BD9-81ED-4DB2-BD59-A6C34878D82A}">
                    <a16:rowId xmlns:a16="http://schemas.microsoft.com/office/drawing/2014/main" val="3335864884"/>
                  </a:ext>
                </a:extLst>
              </a:tr>
            </a:tbl>
          </a:graphicData>
        </a:graphic>
      </p:graphicFrame>
      <p:graphicFrame>
        <p:nvGraphicFramePr>
          <p:cNvPr id="3" name="Table 2">
            <a:extLst>
              <a:ext uri="{FF2B5EF4-FFF2-40B4-BE49-F238E27FC236}">
                <a16:creationId xmlns:a16="http://schemas.microsoft.com/office/drawing/2014/main" id="{9CF50756-203D-42F8-8CFA-9BCBB3E2FF12}"/>
              </a:ext>
            </a:extLst>
          </p:cNvPr>
          <p:cNvGraphicFramePr>
            <a:graphicFrameLocks noGrp="1"/>
          </p:cNvGraphicFramePr>
          <p:nvPr>
            <p:extLst>
              <p:ext uri="{D42A27DB-BD31-4B8C-83A1-F6EECF244321}">
                <p14:modId xmlns:p14="http://schemas.microsoft.com/office/powerpoint/2010/main" val="487819068"/>
              </p:ext>
            </p:extLst>
          </p:nvPr>
        </p:nvGraphicFramePr>
        <p:xfrm>
          <a:off x="318849" y="3642711"/>
          <a:ext cx="8686800" cy="661743"/>
        </p:xfrm>
        <a:graphic>
          <a:graphicData uri="http://schemas.openxmlformats.org/drawingml/2006/table">
            <a:tbl>
              <a:tblPr firstRow="1" bandRow="1">
                <a:tableStyleId>{5940675A-B579-460E-94D1-54222C63F5DA}</a:tableStyleId>
              </a:tblPr>
              <a:tblGrid>
                <a:gridCol w="727690">
                  <a:extLst>
                    <a:ext uri="{9D8B030D-6E8A-4147-A177-3AD203B41FA5}">
                      <a16:colId xmlns:a16="http://schemas.microsoft.com/office/drawing/2014/main" val="1994556082"/>
                    </a:ext>
                  </a:extLst>
                </a:gridCol>
                <a:gridCol w="2274032">
                  <a:extLst>
                    <a:ext uri="{9D8B030D-6E8A-4147-A177-3AD203B41FA5}">
                      <a16:colId xmlns:a16="http://schemas.microsoft.com/office/drawing/2014/main" val="2674219030"/>
                    </a:ext>
                  </a:extLst>
                </a:gridCol>
                <a:gridCol w="5685078">
                  <a:extLst>
                    <a:ext uri="{9D8B030D-6E8A-4147-A177-3AD203B41FA5}">
                      <a16:colId xmlns:a16="http://schemas.microsoft.com/office/drawing/2014/main" val="3786532551"/>
                    </a:ext>
                  </a:extLst>
                </a:gridCol>
              </a:tblGrid>
              <a:tr h="661743">
                <a:tc>
                  <a:txBody>
                    <a:bodyPr/>
                    <a:lstStyle/>
                    <a:p>
                      <a:pPr marL="0" algn="ctr" defTabSz="914400" rtl="0" eaLnBrk="1" latinLnBrk="0" hangingPunct="1">
                        <a:lnSpc>
                          <a:spcPct val="100000"/>
                        </a:lnSpc>
                      </a:pPr>
                      <a:r>
                        <a:rPr lang="en-US" sz="1600" kern="1200" dirty="0">
                          <a:solidFill>
                            <a:schemeClr val="bg1"/>
                          </a:solidFill>
                          <a:latin typeface="Gotham Medium" panose="02000603030000020004" pitchFamily="2" charset="0"/>
                          <a:ea typeface="+mn-ea"/>
                          <a:cs typeface="+mn-cs"/>
                        </a:rPr>
                        <a:t>08</a:t>
                      </a:r>
                    </a:p>
                  </a:txBody>
                  <a:tcPr marL="91437" marR="91437" marT="45719" marB="45719" anchor="ctr">
                    <a:solidFill>
                      <a:schemeClr val="tx1">
                        <a:lumMod val="50000"/>
                        <a:lumOff val="50000"/>
                      </a:schemeClr>
                    </a:solidFill>
                  </a:tcPr>
                </a:tc>
                <a:tc>
                  <a:txBody>
                    <a:bodyPr/>
                    <a:lstStyle/>
                    <a:p>
                      <a:pPr marL="0" algn="ctr" defTabSz="914400" rtl="0" eaLnBrk="1" latinLnBrk="0" hangingPunct="1">
                        <a:lnSpc>
                          <a:spcPct val="100000"/>
                        </a:lnSpc>
                      </a:pPr>
                      <a:r>
                        <a:rPr lang="en-US" sz="1600" kern="1200" dirty="0">
                          <a:solidFill>
                            <a:schemeClr val="tx1"/>
                          </a:solidFill>
                          <a:latin typeface="Gotham Medium" panose="02000603030000020004" pitchFamily="2" charset="0"/>
                          <a:ea typeface="+mn-ea"/>
                          <a:cs typeface="+mn-cs"/>
                        </a:rPr>
                        <a:t>EWS</a:t>
                      </a:r>
                    </a:p>
                  </a:txBody>
                  <a:tcPr marL="91437" marR="91437" marT="45719" marB="45719"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kern="1200" baseline="0" dirty="0">
                          <a:solidFill>
                            <a:schemeClr val="tx1"/>
                          </a:solidFill>
                          <a:latin typeface="Gotham Medium" panose="02000603030000020004" pitchFamily="2" charset="0"/>
                          <a:ea typeface="+mn-ea"/>
                          <a:cs typeface="+mn-cs"/>
                        </a:rPr>
                        <a:t>Proforma-V</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a:latin typeface="Gotham Medium" panose="02000603030000020004" pitchFamily="2" charset="0"/>
                        </a:rPr>
                        <a:t>In addition to documents mentioned in Sr. No. 01</a:t>
                      </a:r>
                      <a:endParaRPr lang="en-US" sz="1400" b="1" kern="1200" baseline="0" dirty="0">
                        <a:solidFill>
                          <a:schemeClr val="tx1"/>
                        </a:solidFill>
                        <a:latin typeface="Gotham Medium" panose="02000603030000020004" pitchFamily="2" charset="0"/>
                        <a:ea typeface="+mn-ea"/>
                        <a:cs typeface="+mn-cs"/>
                      </a:endParaRPr>
                    </a:p>
                  </a:txBody>
                  <a:tcPr marL="91437" marR="91437" marT="45719" marB="45719" anchor="ctr"/>
                </a:tc>
                <a:extLst>
                  <a:ext uri="{0D108BD9-81ED-4DB2-BD59-A6C34878D82A}">
                    <a16:rowId xmlns:a16="http://schemas.microsoft.com/office/drawing/2014/main" val="2758975940"/>
                  </a:ext>
                </a:extLst>
              </a:tr>
            </a:tbl>
          </a:graphicData>
        </a:graphic>
      </p:graphicFrame>
      <p:graphicFrame>
        <p:nvGraphicFramePr>
          <p:cNvPr id="4" name="Table 3">
            <a:extLst>
              <a:ext uri="{FF2B5EF4-FFF2-40B4-BE49-F238E27FC236}">
                <a16:creationId xmlns:a16="http://schemas.microsoft.com/office/drawing/2014/main" id="{807CFD6F-A0F2-4E5E-B938-553024A49910}"/>
              </a:ext>
            </a:extLst>
          </p:cNvPr>
          <p:cNvGraphicFramePr>
            <a:graphicFrameLocks noGrp="1"/>
          </p:cNvGraphicFramePr>
          <p:nvPr>
            <p:extLst>
              <p:ext uri="{D42A27DB-BD31-4B8C-83A1-F6EECF244321}">
                <p14:modId xmlns:p14="http://schemas.microsoft.com/office/powerpoint/2010/main" val="1824764067"/>
              </p:ext>
            </p:extLst>
          </p:nvPr>
        </p:nvGraphicFramePr>
        <p:xfrm>
          <a:off x="318849" y="4304454"/>
          <a:ext cx="8686800" cy="661743"/>
        </p:xfrm>
        <a:graphic>
          <a:graphicData uri="http://schemas.openxmlformats.org/drawingml/2006/table">
            <a:tbl>
              <a:tblPr firstRow="1" bandRow="1">
                <a:tableStyleId>{5940675A-B579-460E-94D1-54222C63F5DA}</a:tableStyleId>
              </a:tblPr>
              <a:tblGrid>
                <a:gridCol w="727690">
                  <a:extLst>
                    <a:ext uri="{9D8B030D-6E8A-4147-A177-3AD203B41FA5}">
                      <a16:colId xmlns:a16="http://schemas.microsoft.com/office/drawing/2014/main" val="2241862947"/>
                    </a:ext>
                  </a:extLst>
                </a:gridCol>
                <a:gridCol w="2274032">
                  <a:extLst>
                    <a:ext uri="{9D8B030D-6E8A-4147-A177-3AD203B41FA5}">
                      <a16:colId xmlns:a16="http://schemas.microsoft.com/office/drawing/2014/main" val="3997119700"/>
                    </a:ext>
                  </a:extLst>
                </a:gridCol>
                <a:gridCol w="5685078">
                  <a:extLst>
                    <a:ext uri="{9D8B030D-6E8A-4147-A177-3AD203B41FA5}">
                      <a16:colId xmlns:a16="http://schemas.microsoft.com/office/drawing/2014/main" val="3447008810"/>
                    </a:ext>
                  </a:extLst>
                </a:gridCol>
              </a:tblGrid>
              <a:tr h="661743">
                <a:tc>
                  <a:txBody>
                    <a:bodyPr/>
                    <a:lstStyle/>
                    <a:p>
                      <a:pPr marL="0" algn="ctr" defTabSz="914400" rtl="0" eaLnBrk="1" latinLnBrk="0" hangingPunct="1">
                        <a:lnSpc>
                          <a:spcPct val="100000"/>
                        </a:lnSpc>
                      </a:pPr>
                      <a:r>
                        <a:rPr lang="en-US" sz="1600" kern="1200" dirty="0">
                          <a:solidFill>
                            <a:schemeClr val="bg1"/>
                          </a:solidFill>
                          <a:latin typeface="Gotham Medium" panose="02000603030000020004" pitchFamily="2" charset="0"/>
                          <a:ea typeface="+mn-ea"/>
                          <a:cs typeface="+mn-cs"/>
                        </a:rPr>
                        <a:t>09</a:t>
                      </a:r>
                    </a:p>
                  </a:txBody>
                  <a:tcPr marL="91437" marR="91437" marT="45719" marB="45719" anchor="ctr">
                    <a:solidFill>
                      <a:schemeClr val="tx1">
                        <a:lumMod val="50000"/>
                        <a:lumOff val="50000"/>
                      </a:schemeClr>
                    </a:solidFill>
                  </a:tcPr>
                </a:tc>
                <a:tc>
                  <a:txBody>
                    <a:bodyPr/>
                    <a:lstStyle/>
                    <a:p>
                      <a:pPr marL="0" algn="ctr" defTabSz="914400" rtl="0" eaLnBrk="1" latinLnBrk="0" hangingPunct="1">
                        <a:lnSpc>
                          <a:spcPct val="100000"/>
                        </a:lnSpc>
                      </a:pPr>
                      <a:r>
                        <a:rPr lang="en-US" sz="1600" kern="1200" dirty="0">
                          <a:solidFill>
                            <a:schemeClr val="tx1"/>
                          </a:solidFill>
                          <a:latin typeface="Gotham Medium" panose="02000603030000020004" pitchFamily="2" charset="0"/>
                          <a:ea typeface="+mn-ea"/>
                          <a:cs typeface="+mn-cs"/>
                        </a:rPr>
                        <a:t>TFWS</a:t>
                      </a:r>
                    </a:p>
                  </a:txBody>
                  <a:tcPr marL="91437" marR="91437" marT="45719" marB="45719"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baseline="0" dirty="0">
                          <a:solidFill>
                            <a:schemeClr val="tx1"/>
                          </a:solidFill>
                          <a:latin typeface="Gotham Medium" panose="02000603030000020004" pitchFamily="2" charset="0"/>
                          <a:ea typeface="+mn-ea"/>
                          <a:cs typeface="+mn-cs"/>
                        </a:rPr>
                        <a:t>Income Certificate of Parents (Annual Income below 8 Lacs)</a:t>
                      </a:r>
                      <a:r>
                        <a:rPr lang="en-US" sz="1400" kern="1200" baseline="0" dirty="0">
                          <a:latin typeface="Gotham Medium" panose="02000603030000020004" pitchFamily="2" charset="0"/>
                        </a:rPr>
                        <a:t> In addition to documents mentioned in Sr. No. 01</a:t>
                      </a:r>
                      <a:endParaRPr lang="en-US" sz="1400" b="1" kern="1200" baseline="0" dirty="0">
                        <a:solidFill>
                          <a:schemeClr val="tx1"/>
                        </a:solidFill>
                        <a:latin typeface="Gotham Medium" panose="02000603030000020004" pitchFamily="2" charset="0"/>
                        <a:ea typeface="+mn-ea"/>
                        <a:cs typeface="+mn-cs"/>
                      </a:endParaRPr>
                    </a:p>
                  </a:txBody>
                  <a:tcPr marL="91437" marR="91437" marT="45719" marB="45719" anchor="ctr"/>
                </a:tc>
                <a:extLst>
                  <a:ext uri="{0D108BD9-81ED-4DB2-BD59-A6C34878D82A}">
                    <a16:rowId xmlns:a16="http://schemas.microsoft.com/office/drawing/2014/main" val="2943321275"/>
                  </a:ext>
                </a:extLst>
              </a:tr>
            </a:tbl>
          </a:graphicData>
        </a:graphic>
      </p:graphicFrame>
    </p:spTree>
    <p:extLst>
      <p:ext uri="{BB962C8B-B14F-4D97-AF65-F5344CB8AC3E}">
        <p14:creationId xmlns:p14="http://schemas.microsoft.com/office/powerpoint/2010/main" val="991953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324;p7">
            <a:extLst>
              <a:ext uri="{FF2B5EF4-FFF2-40B4-BE49-F238E27FC236}">
                <a16:creationId xmlns:a16="http://schemas.microsoft.com/office/drawing/2014/main" id="{20EC8EBF-95FE-4530-BD0A-384421DA4067}"/>
              </a:ext>
            </a:extLst>
          </p:cNvPr>
          <p:cNvSpPr/>
          <p:nvPr/>
        </p:nvSpPr>
        <p:spPr>
          <a:xfrm>
            <a:off x="0" y="0"/>
            <a:ext cx="653700" cy="5143500"/>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3" name="Title 1">
            <a:extLst>
              <a:ext uri="{FF2B5EF4-FFF2-40B4-BE49-F238E27FC236}">
                <a16:creationId xmlns:a16="http://schemas.microsoft.com/office/drawing/2014/main" id="{D6CD76F9-85E8-4914-8E2B-8B7CFA5177CE}"/>
              </a:ext>
            </a:extLst>
          </p:cNvPr>
          <p:cNvSpPr txBox="1">
            <a:spLocks/>
          </p:cNvSpPr>
          <p:nvPr/>
        </p:nvSpPr>
        <p:spPr>
          <a:xfrm>
            <a:off x="653699" y="192762"/>
            <a:ext cx="8185859"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altLang="en-US" sz="2800" dirty="0">
                <a:solidFill>
                  <a:srgbClr val="FF5969"/>
                </a:solidFill>
                <a:latin typeface="Gotham Bold" panose="02000803030000020004" pitchFamily="2" charset="0"/>
              </a:rPr>
              <a:t>Document Verification and Confirmation</a:t>
            </a:r>
          </a:p>
        </p:txBody>
      </p:sp>
      <p:grpSp>
        <p:nvGrpSpPr>
          <p:cNvPr id="26" name="Google Shape;347;p7">
            <a:extLst>
              <a:ext uri="{FF2B5EF4-FFF2-40B4-BE49-F238E27FC236}">
                <a16:creationId xmlns:a16="http://schemas.microsoft.com/office/drawing/2014/main" id="{C3CB0FF7-8A44-4EB0-9792-F116402E4A68}"/>
              </a:ext>
            </a:extLst>
          </p:cNvPr>
          <p:cNvGrpSpPr/>
          <p:nvPr/>
        </p:nvGrpSpPr>
        <p:grpSpPr>
          <a:xfrm>
            <a:off x="0" y="192762"/>
            <a:ext cx="311815" cy="653721"/>
            <a:chOff x="5385375" y="498300"/>
            <a:chExt cx="802200" cy="556500"/>
          </a:xfrm>
          <a:solidFill>
            <a:srgbClr val="52CBBE"/>
          </a:solidFill>
        </p:grpSpPr>
        <p:sp>
          <p:nvSpPr>
            <p:cNvPr id="27" name="Google Shape;348;p7">
              <a:extLst>
                <a:ext uri="{FF2B5EF4-FFF2-40B4-BE49-F238E27FC236}">
                  <a16:creationId xmlns:a16="http://schemas.microsoft.com/office/drawing/2014/main" id="{98370779-31D0-4228-83DE-BA24112FD8F7}"/>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8" name="Google Shape;349;p7">
              <a:extLst>
                <a:ext uri="{FF2B5EF4-FFF2-40B4-BE49-F238E27FC236}">
                  <a16:creationId xmlns:a16="http://schemas.microsoft.com/office/drawing/2014/main" id="{3FA17BE1-C7B3-46C6-A908-F82FA189A5C5}"/>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9" name="Google Shape;350;p7">
              <a:extLst>
                <a:ext uri="{FF2B5EF4-FFF2-40B4-BE49-F238E27FC236}">
                  <a16:creationId xmlns:a16="http://schemas.microsoft.com/office/drawing/2014/main" id="{F311C074-973A-433C-8588-0F8431F4777C}"/>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sp>
        <p:nvSpPr>
          <p:cNvPr id="14" name="TextBox 13">
            <a:extLst>
              <a:ext uri="{FF2B5EF4-FFF2-40B4-BE49-F238E27FC236}">
                <a16:creationId xmlns:a16="http://schemas.microsoft.com/office/drawing/2014/main" id="{2A57E2D0-6AE7-4C26-A887-4383E07B9744}"/>
              </a:ext>
            </a:extLst>
          </p:cNvPr>
          <p:cNvSpPr txBox="1"/>
          <p:nvPr/>
        </p:nvSpPr>
        <p:spPr>
          <a:xfrm>
            <a:off x="660049" y="1504950"/>
            <a:ext cx="8337901" cy="2277290"/>
          </a:xfrm>
          <a:prstGeom prst="rect">
            <a:avLst/>
          </a:prstGeom>
          <a:noFill/>
        </p:spPr>
        <p:txBody>
          <a:bodyPr wrap="square" rtlCol="0">
            <a:spAutoFit/>
          </a:bodyPr>
          <a:lstStyle/>
          <a:p>
            <a:pPr marL="342900" indent="-342900">
              <a:lnSpc>
                <a:spcPct val="150000"/>
              </a:lnSpc>
              <a:spcBef>
                <a:spcPts val="600"/>
              </a:spcBef>
              <a:buFont typeface="+mj-lt"/>
              <a:buAutoNum type="arabicPeriod"/>
            </a:pPr>
            <a:r>
              <a:rPr lang="en-US" dirty="0">
                <a:latin typeface="Gotham Medium" panose="02000603030000020004" pitchFamily="2" charset="0"/>
              </a:rPr>
              <a:t>Application and Documents shall be </a:t>
            </a:r>
            <a:r>
              <a:rPr lang="en-US" dirty="0">
                <a:solidFill>
                  <a:srgbClr val="FF5969"/>
                </a:solidFill>
                <a:latin typeface="Gotham Medium" panose="02000603030000020004" pitchFamily="2" charset="0"/>
              </a:rPr>
              <a:t>Verified</a:t>
            </a:r>
            <a:r>
              <a:rPr lang="en-US" dirty="0">
                <a:latin typeface="Gotham Medium" panose="02000603030000020004" pitchFamily="2" charset="0"/>
              </a:rPr>
              <a:t> &amp; </a:t>
            </a:r>
            <a:r>
              <a:rPr lang="en-US" dirty="0">
                <a:solidFill>
                  <a:srgbClr val="FF5969"/>
                </a:solidFill>
                <a:latin typeface="Gotham Medium" panose="02000603030000020004" pitchFamily="2" charset="0"/>
              </a:rPr>
              <a:t>Confirmed</a:t>
            </a:r>
            <a:r>
              <a:rPr lang="en-US" dirty="0">
                <a:latin typeface="Gotham Medium" panose="02000603030000020004" pitchFamily="2" charset="0"/>
              </a:rPr>
              <a:t> through–</a:t>
            </a:r>
          </a:p>
          <a:p>
            <a:pPr marL="800100" lvl="1" indent="-342900">
              <a:lnSpc>
                <a:spcPct val="150000"/>
              </a:lnSpc>
              <a:spcBef>
                <a:spcPts val="600"/>
              </a:spcBef>
              <a:buFont typeface="Arial" panose="020B0604020202020204" pitchFamily="34" charset="0"/>
              <a:buChar char="•"/>
            </a:pPr>
            <a:r>
              <a:rPr lang="en-US" dirty="0">
                <a:latin typeface="Gotham Medium" panose="02000603030000020004" pitchFamily="2" charset="0"/>
              </a:rPr>
              <a:t>E-Scrutiny mode</a:t>
            </a:r>
          </a:p>
          <a:p>
            <a:pPr marL="800100" lvl="1" indent="-342900">
              <a:lnSpc>
                <a:spcPct val="150000"/>
              </a:lnSpc>
              <a:spcBef>
                <a:spcPts val="600"/>
              </a:spcBef>
              <a:buFont typeface="Arial" panose="020B0604020202020204" pitchFamily="34" charset="0"/>
              <a:buChar char="•"/>
            </a:pPr>
            <a:r>
              <a:rPr lang="en-US" dirty="0">
                <a:latin typeface="Gotham Medium" panose="02000603030000020004" pitchFamily="2" charset="0"/>
              </a:rPr>
              <a:t>Physical Scrutiny mode</a:t>
            </a:r>
          </a:p>
          <a:p>
            <a:pPr marL="800100" lvl="1" indent="-342900">
              <a:lnSpc>
                <a:spcPct val="150000"/>
              </a:lnSpc>
              <a:spcBef>
                <a:spcPts val="600"/>
              </a:spcBef>
              <a:buFont typeface="Arial" panose="020B0604020202020204" pitchFamily="34" charset="0"/>
              <a:buChar char="•"/>
            </a:pPr>
            <a:endParaRPr lang="en-US" sz="1100" dirty="0">
              <a:latin typeface="Gotham Medium" panose="02000603030000020004" pitchFamily="2" charset="0"/>
            </a:endParaRPr>
          </a:p>
          <a:p>
            <a:pPr marL="342900" indent="-342900">
              <a:lnSpc>
                <a:spcPct val="150000"/>
              </a:lnSpc>
              <a:spcBef>
                <a:spcPts val="600"/>
              </a:spcBef>
              <a:buFont typeface="+mj-lt"/>
              <a:buAutoNum type="arabicPeriod"/>
            </a:pPr>
            <a:r>
              <a:rPr lang="en-US" dirty="0">
                <a:latin typeface="Gotham Medium" panose="02000603030000020004" pitchFamily="2" charset="0"/>
              </a:rPr>
              <a:t>Verify </a:t>
            </a:r>
            <a:r>
              <a:rPr lang="en-US" dirty="0">
                <a:solidFill>
                  <a:srgbClr val="FF0000"/>
                </a:solidFill>
                <a:latin typeface="Gotham Medium" panose="02000603030000020004" pitchFamily="2" charset="0"/>
              </a:rPr>
              <a:t>Acknowledgement Receipt </a:t>
            </a:r>
            <a:r>
              <a:rPr lang="en-US" dirty="0">
                <a:latin typeface="Gotham Medium" panose="02000603030000020004" pitchFamily="2" charset="0"/>
              </a:rPr>
              <a:t>received from FC</a:t>
            </a:r>
          </a:p>
        </p:txBody>
      </p:sp>
    </p:spTree>
    <p:extLst>
      <p:ext uri="{BB962C8B-B14F-4D97-AF65-F5344CB8AC3E}">
        <p14:creationId xmlns:p14="http://schemas.microsoft.com/office/powerpoint/2010/main" val="2961843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xEl>
                                              <p:pRg st="1" end="1"/>
                                            </p:txEl>
                                          </p:spTgt>
                                        </p:tgtEl>
                                        <p:attrNameLst>
                                          <p:attrName>style.visibility</p:attrName>
                                        </p:attrNameLst>
                                      </p:cBhvr>
                                      <p:to>
                                        <p:strVal val="visible"/>
                                      </p:to>
                                    </p:set>
                                    <p:animEffect transition="in" filter="fade">
                                      <p:cBhvr>
                                        <p:cTn id="12" dur="500"/>
                                        <p:tgtEl>
                                          <p:spTgt spid="1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xEl>
                                              <p:pRg st="2" end="2"/>
                                            </p:txEl>
                                          </p:spTgt>
                                        </p:tgtEl>
                                        <p:attrNameLst>
                                          <p:attrName>style.visibility</p:attrName>
                                        </p:attrNameLst>
                                      </p:cBhvr>
                                      <p:to>
                                        <p:strVal val="visible"/>
                                      </p:to>
                                    </p:set>
                                    <p:animEffect transition="in" filter="fade">
                                      <p:cBhvr>
                                        <p:cTn id="17" dur="500"/>
                                        <p:tgtEl>
                                          <p:spTgt spid="1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xEl>
                                              <p:pRg st="4" end="4"/>
                                            </p:txEl>
                                          </p:spTgt>
                                        </p:tgtEl>
                                        <p:attrNameLst>
                                          <p:attrName>style.visibility</p:attrName>
                                        </p:attrNameLst>
                                      </p:cBhvr>
                                      <p:to>
                                        <p:strVal val="visible"/>
                                      </p:to>
                                    </p:set>
                                    <p:animEffect transition="in" filter="fade">
                                      <p:cBhvr>
                                        <p:cTn id="22" dur="500"/>
                                        <p:tgtEl>
                                          <p:spTgt spid="1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55726F5-E115-4999-B719-54A4ED037444}"/>
              </a:ext>
            </a:extLst>
          </p:cNvPr>
          <p:cNvSpPr txBox="1">
            <a:spLocks/>
          </p:cNvSpPr>
          <p:nvPr/>
        </p:nvSpPr>
        <p:spPr>
          <a:xfrm>
            <a:off x="311815" y="256504"/>
            <a:ext cx="8610600" cy="521748"/>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Document Verification and Confirmation</a:t>
            </a:r>
          </a:p>
        </p:txBody>
      </p:sp>
      <p:sp>
        <p:nvSpPr>
          <p:cNvPr id="7" name="Google Shape;324;p7">
            <a:extLst>
              <a:ext uri="{FF2B5EF4-FFF2-40B4-BE49-F238E27FC236}">
                <a16:creationId xmlns:a16="http://schemas.microsoft.com/office/drawing/2014/main" id="{B46430E2-23AC-4F06-B465-0EE9E0C026AF}"/>
              </a:ext>
            </a:extLst>
          </p:cNvPr>
          <p:cNvSpPr/>
          <p:nvPr/>
        </p:nvSpPr>
        <p:spPr>
          <a:xfrm>
            <a:off x="0" y="0"/>
            <a:ext cx="152400" cy="51435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11" name="Google Shape;349;p7">
            <a:extLst>
              <a:ext uri="{FF2B5EF4-FFF2-40B4-BE49-F238E27FC236}">
                <a16:creationId xmlns:a16="http://schemas.microsoft.com/office/drawing/2014/main" id="{C003572C-773D-45CF-8902-E5DBAD0A6A51}"/>
              </a:ext>
            </a:extLst>
          </p:cNvPr>
          <p:cNvSpPr/>
          <p:nvPr/>
        </p:nvSpPr>
        <p:spPr>
          <a:xfrm>
            <a:off x="92407" y="256504"/>
            <a:ext cx="139700" cy="685799"/>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pic>
        <p:nvPicPr>
          <p:cNvPr id="6" name="Picture 5">
            <a:extLst>
              <a:ext uri="{FF2B5EF4-FFF2-40B4-BE49-F238E27FC236}">
                <a16:creationId xmlns:a16="http://schemas.microsoft.com/office/drawing/2014/main" id="{F9720E17-CFAF-4769-877A-D3A9A27AF9B5}"/>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l="24004" t="7037" r="1010" b="4074"/>
          <a:stretch/>
        </p:blipFill>
        <p:spPr>
          <a:xfrm>
            <a:off x="1828800" y="895350"/>
            <a:ext cx="5986297" cy="3991646"/>
          </a:xfrm>
          <a:prstGeom prst="rect">
            <a:avLst/>
          </a:prstGeom>
        </p:spPr>
      </p:pic>
    </p:spTree>
    <p:extLst>
      <p:ext uri="{BB962C8B-B14F-4D97-AF65-F5344CB8AC3E}">
        <p14:creationId xmlns:p14="http://schemas.microsoft.com/office/powerpoint/2010/main" val="1220789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55726F5-E115-4999-B719-54A4ED037444}"/>
              </a:ext>
            </a:extLst>
          </p:cNvPr>
          <p:cNvSpPr txBox="1">
            <a:spLocks/>
          </p:cNvSpPr>
          <p:nvPr/>
        </p:nvSpPr>
        <p:spPr>
          <a:xfrm>
            <a:off x="311815" y="256504"/>
            <a:ext cx="8610600" cy="521748"/>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Document Verification and Confirmation</a:t>
            </a:r>
          </a:p>
        </p:txBody>
      </p:sp>
      <p:sp>
        <p:nvSpPr>
          <p:cNvPr id="7" name="Google Shape;324;p7">
            <a:extLst>
              <a:ext uri="{FF2B5EF4-FFF2-40B4-BE49-F238E27FC236}">
                <a16:creationId xmlns:a16="http://schemas.microsoft.com/office/drawing/2014/main" id="{B46430E2-23AC-4F06-B465-0EE9E0C026AF}"/>
              </a:ext>
            </a:extLst>
          </p:cNvPr>
          <p:cNvSpPr/>
          <p:nvPr/>
        </p:nvSpPr>
        <p:spPr>
          <a:xfrm>
            <a:off x="0" y="0"/>
            <a:ext cx="152400" cy="51435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11" name="Google Shape;349;p7">
            <a:extLst>
              <a:ext uri="{FF2B5EF4-FFF2-40B4-BE49-F238E27FC236}">
                <a16:creationId xmlns:a16="http://schemas.microsoft.com/office/drawing/2014/main" id="{C003572C-773D-45CF-8902-E5DBAD0A6A51}"/>
              </a:ext>
            </a:extLst>
          </p:cNvPr>
          <p:cNvSpPr/>
          <p:nvPr/>
        </p:nvSpPr>
        <p:spPr>
          <a:xfrm>
            <a:off x="92407" y="256504"/>
            <a:ext cx="139700" cy="685799"/>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pic>
        <p:nvPicPr>
          <p:cNvPr id="6" name="Picture 5">
            <a:extLst>
              <a:ext uri="{FF2B5EF4-FFF2-40B4-BE49-F238E27FC236}">
                <a16:creationId xmlns:a16="http://schemas.microsoft.com/office/drawing/2014/main" id="{EA1D286A-353D-4E45-B83E-BAE89DB3135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l="24347" t="7037" r="1011" b="2593"/>
          <a:stretch/>
        </p:blipFill>
        <p:spPr>
          <a:xfrm>
            <a:off x="1905000" y="942303"/>
            <a:ext cx="5814182" cy="3959640"/>
          </a:xfrm>
          <a:prstGeom prst="rect">
            <a:avLst/>
          </a:prstGeom>
        </p:spPr>
      </p:pic>
    </p:spTree>
    <p:extLst>
      <p:ext uri="{BB962C8B-B14F-4D97-AF65-F5344CB8AC3E}">
        <p14:creationId xmlns:p14="http://schemas.microsoft.com/office/powerpoint/2010/main" val="190871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55726F5-E115-4999-B719-54A4ED037444}"/>
              </a:ext>
            </a:extLst>
          </p:cNvPr>
          <p:cNvSpPr txBox="1">
            <a:spLocks/>
          </p:cNvSpPr>
          <p:nvPr/>
        </p:nvSpPr>
        <p:spPr>
          <a:xfrm>
            <a:off x="311815" y="256504"/>
            <a:ext cx="8610600" cy="521748"/>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Document Verification and Confirmation</a:t>
            </a:r>
          </a:p>
        </p:txBody>
      </p:sp>
      <p:sp>
        <p:nvSpPr>
          <p:cNvPr id="7" name="Google Shape;324;p7">
            <a:extLst>
              <a:ext uri="{FF2B5EF4-FFF2-40B4-BE49-F238E27FC236}">
                <a16:creationId xmlns:a16="http://schemas.microsoft.com/office/drawing/2014/main" id="{B46430E2-23AC-4F06-B465-0EE9E0C026AF}"/>
              </a:ext>
            </a:extLst>
          </p:cNvPr>
          <p:cNvSpPr/>
          <p:nvPr/>
        </p:nvSpPr>
        <p:spPr>
          <a:xfrm>
            <a:off x="0" y="0"/>
            <a:ext cx="152400" cy="51435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11" name="Google Shape;349;p7">
            <a:extLst>
              <a:ext uri="{FF2B5EF4-FFF2-40B4-BE49-F238E27FC236}">
                <a16:creationId xmlns:a16="http://schemas.microsoft.com/office/drawing/2014/main" id="{C003572C-773D-45CF-8902-E5DBAD0A6A51}"/>
              </a:ext>
            </a:extLst>
          </p:cNvPr>
          <p:cNvSpPr/>
          <p:nvPr/>
        </p:nvSpPr>
        <p:spPr>
          <a:xfrm>
            <a:off x="92407" y="256504"/>
            <a:ext cx="139700" cy="685799"/>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pic>
        <p:nvPicPr>
          <p:cNvPr id="6" name="Picture 5">
            <a:extLst>
              <a:ext uri="{FF2B5EF4-FFF2-40B4-BE49-F238E27FC236}">
                <a16:creationId xmlns:a16="http://schemas.microsoft.com/office/drawing/2014/main" id="{951BFBA1-61B7-4D43-8B14-0E5ED7228C50}"/>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l="25000" t="8518" r="1010" b="11482"/>
          <a:stretch/>
        </p:blipFill>
        <p:spPr>
          <a:xfrm>
            <a:off x="1234318" y="895350"/>
            <a:ext cx="6765593" cy="4114800"/>
          </a:xfrm>
          <a:prstGeom prst="rect">
            <a:avLst/>
          </a:prstGeom>
        </p:spPr>
      </p:pic>
    </p:spTree>
    <p:extLst>
      <p:ext uri="{BB962C8B-B14F-4D97-AF65-F5344CB8AC3E}">
        <p14:creationId xmlns:p14="http://schemas.microsoft.com/office/powerpoint/2010/main" val="1298990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55726F5-E115-4999-B719-54A4ED037444}"/>
              </a:ext>
            </a:extLst>
          </p:cNvPr>
          <p:cNvSpPr txBox="1">
            <a:spLocks/>
          </p:cNvSpPr>
          <p:nvPr/>
        </p:nvSpPr>
        <p:spPr>
          <a:xfrm>
            <a:off x="311815" y="256504"/>
            <a:ext cx="8610600" cy="521748"/>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Document Verification and Confirmation</a:t>
            </a:r>
          </a:p>
        </p:txBody>
      </p:sp>
      <p:sp>
        <p:nvSpPr>
          <p:cNvPr id="7" name="Google Shape;324;p7">
            <a:extLst>
              <a:ext uri="{FF2B5EF4-FFF2-40B4-BE49-F238E27FC236}">
                <a16:creationId xmlns:a16="http://schemas.microsoft.com/office/drawing/2014/main" id="{B46430E2-23AC-4F06-B465-0EE9E0C026AF}"/>
              </a:ext>
            </a:extLst>
          </p:cNvPr>
          <p:cNvSpPr/>
          <p:nvPr/>
        </p:nvSpPr>
        <p:spPr>
          <a:xfrm>
            <a:off x="0" y="0"/>
            <a:ext cx="152400" cy="51435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11" name="Google Shape;349;p7">
            <a:extLst>
              <a:ext uri="{FF2B5EF4-FFF2-40B4-BE49-F238E27FC236}">
                <a16:creationId xmlns:a16="http://schemas.microsoft.com/office/drawing/2014/main" id="{C003572C-773D-45CF-8902-E5DBAD0A6A51}"/>
              </a:ext>
            </a:extLst>
          </p:cNvPr>
          <p:cNvSpPr/>
          <p:nvPr/>
        </p:nvSpPr>
        <p:spPr>
          <a:xfrm>
            <a:off x="92407" y="256504"/>
            <a:ext cx="139700" cy="685799"/>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pic>
        <p:nvPicPr>
          <p:cNvPr id="6" name="Picture 5">
            <a:extLst>
              <a:ext uri="{FF2B5EF4-FFF2-40B4-BE49-F238E27FC236}">
                <a16:creationId xmlns:a16="http://schemas.microsoft.com/office/drawing/2014/main" id="{3F37E5DD-F4DA-4FDE-A48B-D265DE030B64}"/>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l="25000" t="7037" r="833" b="7037"/>
          <a:stretch/>
        </p:blipFill>
        <p:spPr>
          <a:xfrm>
            <a:off x="1333500" y="942303"/>
            <a:ext cx="6477000" cy="4220966"/>
          </a:xfrm>
          <a:prstGeom prst="rect">
            <a:avLst/>
          </a:prstGeom>
        </p:spPr>
      </p:pic>
    </p:spTree>
    <p:extLst>
      <p:ext uri="{BB962C8B-B14F-4D97-AF65-F5344CB8AC3E}">
        <p14:creationId xmlns:p14="http://schemas.microsoft.com/office/powerpoint/2010/main" val="1922406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55726F5-E115-4999-B719-54A4ED037444}"/>
              </a:ext>
            </a:extLst>
          </p:cNvPr>
          <p:cNvSpPr txBox="1">
            <a:spLocks/>
          </p:cNvSpPr>
          <p:nvPr/>
        </p:nvSpPr>
        <p:spPr>
          <a:xfrm>
            <a:off x="311815" y="256504"/>
            <a:ext cx="8610600" cy="521748"/>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a:solidFill>
                  <a:srgbClr val="FF5969"/>
                </a:solidFill>
                <a:latin typeface="Gotham Bold" panose="02000803030000020004" pitchFamily="2" charset="0"/>
              </a:rPr>
              <a:t>Document Verification and Confirmation</a:t>
            </a:r>
          </a:p>
        </p:txBody>
      </p:sp>
      <p:sp>
        <p:nvSpPr>
          <p:cNvPr id="7" name="Google Shape;324;p7">
            <a:extLst>
              <a:ext uri="{FF2B5EF4-FFF2-40B4-BE49-F238E27FC236}">
                <a16:creationId xmlns:a16="http://schemas.microsoft.com/office/drawing/2014/main" id="{B46430E2-23AC-4F06-B465-0EE9E0C026AF}"/>
              </a:ext>
            </a:extLst>
          </p:cNvPr>
          <p:cNvSpPr/>
          <p:nvPr/>
        </p:nvSpPr>
        <p:spPr>
          <a:xfrm>
            <a:off x="0" y="0"/>
            <a:ext cx="152400" cy="51435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11" name="Google Shape;349;p7">
            <a:extLst>
              <a:ext uri="{FF2B5EF4-FFF2-40B4-BE49-F238E27FC236}">
                <a16:creationId xmlns:a16="http://schemas.microsoft.com/office/drawing/2014/main" id="{C003572C-773D-45CF-8902-E5DBAD0A6A51}"/>
              </a:ext>
            </a:extLst>
          </p:cNvPr>
          <p:cNvSpPr/>
          <p:nvPr/>
        </p:nvSpPr>
        <p:spPr>
          <a:xfrm>
            <a:off x="92407" y="256504"/>
            <a:ext cx="139700" cy="685799"/>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pic>
        <p:nvPicPr>
          <p:cNvPr id="6" name="Picture 5">
            <a:extLst>
              <a:ext uri="{FF2B5EF4-FFF2-40B4-BE49-F238E27FC236}">
                <a16:creationId xmlns:a16="http://schemas.microsoft.com/office/drawing/2014/main" id="{5F535466-F6DA-4AD6-852F-EE2EB0DD9302}"/>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l="25833" t="26297" b="4074"/>
          <a:stretch/>
        </p:blipFill>
        <p:spPr>
          <a:xfrm>
            <a:off x="1146507" y="971550"/>
            <a:ext cx="6850985" cy="4032368"/>
          </a:xfrm>
          <a:prstGeom prst="rect">
            <a:avLst/>
          </a:prstGeom>
        </p:spPr>
      </p:pic>
    </p:spTree>
    <p:extLst>
      <p:ext uri="{BB962C8B-B14F-4D97-AF65-F5344CB8AC3E}">
        <p14:creationId xmlns:p14="http://schemas.microsoft.com/office/powerpoint/2010/main" val="57044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324;p7">
            <a:extLst>
              <a:ext uri="{FF2B5EF4-FFF2-40B4-BE49-F238E27FC236}">
                <a16:creationId xmlns:a16="http://schemas.microsoft.com/office/drawing/2014/main" id="{20EC8EBF-95FE-4530-BD0A-384421DA4067}"/>
              </a:ext>
            </a:extLst>
          </p:cNvPr>
          <p:cNvSpPr/>
          <p:nvPr/>
        </p:nvSpPr>
        <p:spPr>
          <a:xfrm>
            <a:off x="0" y="0"/>
            <a:ext cx="653700" cy="51435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3" name="Title 1">
            <a:extLst>
              <a:ext uri="{FF2B5EF4-FFF2-40B4-BE49-F238E27FC236}">
                <a16:creationId xmlns:a16="http://schemas.microsoft.com/office/drawing/2014/main" id="{D6CD76F9-85E8-4914-8E2B-8B7CFA5177CE}"/>
              </a:ext>
            </a:extLst>
          </p:cNvPr>
          <p:cNvSpPr txBox="1">
            <a:spLocks/>
          </p:cNvSpPr>
          <p:nvPr/>
        </p:nvSpPr>
        <p:spPr>
          <a:xfrm>
            <a:off x="653699" y="192762"/>
            <a:ext cx="8185859"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altLang="en-US" sz="2800" dirty="0">
                <a:solidFill>
                  <a:srgbClr val="FF5969"/>
                </a:solidFill>
                <a:latin typeface="Gotham Bold" panose="02000803030000020004" pitchFamily="2" charset="0"/>
              </a:rPr>
              <a:t>Display of Merit List</a:t>
            </a:r>
          </a:p>
        </p:txBody>
      </p:sp>
      <p:grpSp>
        <p:nvGrpSpPr>
          <p:cNvPr id="26" name="Google Shape;347;p7">
            <a:extLst>
              <a:ext uri="{FF2B5EF4-FFF2-40B4-BE49-F238E27FC236}">
                <a16:creationId xmlns:a16="http://schemas.microsoft.com/office/drawing/2014/main" id="{C3CB0FF7-8A44-4EB0-9792-F116402E4A68}"/>
              </a:ext>
            </a:extLst>
          </p:cNvPr>
          <p:cNvGrpSpPr/>
          <p:nvPr/>
        </p:nvGrpSpPr>
        <p:grpSpPr>
          <a:xfrm>
            <a:off x="0" y="192762"/>
            <a:ext cx="311815" cy="653721"/>
            <a:chOff x="5385375" y="498300"/>
            <a:chExt cx="802200" cy="556500"/>
          </a:xfrm>
          <a:solidFill>
            <a:srgbClr val="FF5969"/>
          </a:solidFill>
        </p:grpSpPr>
        <p:sp>
          <p:nvSpPr>
            <p:cNvPr id="27" name="Google Shape;348;p7">
              <a:extLst>
                <a:ext uri="{FF2B5EF4-FFF2-40B4-BE49-F238E27FC236}">
                  <a16:creationId xmlns:a16="http://schemas.microsoft.com/office/drawing/2014/main" id="{98370779-31D0-4228-83DE-BA24112FD8F7}"/>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8" name="Google Shape;349;p7">
              <a:extLst>
                <a:ext uri="{FF2B5EF4-FFF2-40B4-BE49-F238E27FC236}">
                  <a16:creationId xmlns:a16="http://schemas.microsoft.com/office/drawing/2014/main" id="{3FA17BE1-C7B3-46C6-A908-F82FA189A5C5}"/>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9" name="Google Shape;350;p7">
              <a:extLst>
                <a:ext uri="{FF2B5EF4-FFF2-40B4-BE49-F238E27FC236}">
                  <a16:creationId xmlns:a16="http://schemas.microsoft.com/office/drawing/2014/main" id="{F311C074-973A-433C-8588-0F8431F4777C}"/>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sp>
        <p:nvSpPr>
          <p:cNvPr id="13" name="TextBox 12">
            <a:extLst>
              <a:ext uri="{FF2B5EF4-FFF2-40B4-BE49-F238E27FC236}">
                <a16:creationId xmlns:a16="http://schemas.microsoft.com/office/drawing/2014/main" id="{D869041C-F804-4191-A085-34DA8D58BD80}"/>
              </a:ext>
            </a:extLst>
          </p:cNvPr>
          <p:cNvSpPr txBox="1"/>
          <p:nvPr/>
        </p:nvSpPr>
        <p:spPr>
          <a:xfrm>
            <a:off x="647349" y="895350"/>
            <a:ext cx="8496651" cy="3446841"/>
          </a:xfrm>
          <a:prstGeom prst="rect">
            <a:avLst/>
          </a:prstGeom>
          <a:noFill/>
        </p:spPr>
        <p:txBody>
          <a:bodyPr wrap="square" rtlCol="0">
            <a:spAutoFit/>
          </a:bodyPr>
          <a:lstStyle/>
          <a:p>
            <a:pPr marL="342900" indent="-342900">
              <a:lnSpc>
                <a:spcPct val="150000"/>
              </a:lnSpc>
              <a:buFont typeface="+mj-lt"/>
              <a:buAutoNum type="arabicPeriod"/>
            </a:pPr>
            <a:r>
              <a:rPr lang="en-US" dirty="0">
                <a:latin typeface="Gotham Medium" panose="02000603030000020004" pitchFamily="2" charset="0"/>
              </a:rPr>
              <a:t>Display of Provisional Merit List</a:t>
            </a:r>
          </a:p>
          <a:p>
            <a:pPr marL="342900" indent="-342900">
              <a:lnSpc>
                <a:spcPct val="150000"/>
              </a:lnSpc>
              <a:buFont typeface="+mj-lt"/>
              <a:buAutoNum type="arabicPeriod"/>
            </a:pPr>
            <a:r>
              <a:rPr lang="en-US" dirty="0">
                <a:latin typeface="Gotham Medium" panose="02000603030000020004" pitchFamily="2" charset="0"/>
              </a:rPr>
              <a:t>Check – </a:t>
            </a:r>
          </a:p>
          <a:p>
            <a:pPr marL="800100" lvl="1" indent="-342900">
              <a:buFont typeface="Wingdings" panose="05000000000000000000" pitchFamily="2" charset="2"/>
              <a:buChar char="§"/>
            </a:pPr>
            <a:r>
              <a:rPr lang="en-US" dirty="0">
                <a:latin typeface="Gotham Medium" panose="02000603030000020004" pitchFamily="2" charset="0"/>
              </a:rPr>
              <a:t>Personal Information</a:t>
            </a:r>
          </a:p>
          <a:p>
            <a:pPr marL="800100" lvl="1" indent="-342900">
              <a:buFont typeface="Wingdings" panose="05000000000000000000" pitchFamily="2" charset="2"/>
              <a:buChar char="§"/>
            </a:pPr>
            <a:r>
              <a:rPr lang="en-US" dirty="0">
                <a:latin typeface="Gotham Medium" panose="02000603030000020004" pitchFamily="2" charset="0"/>
              </a:rPr>
              <a:t>Gender</a:t>
            </a:r>
          </a:p>
          <a:p>
            <a:pPr marL="800100" lvl="1" indent="-342900">
              <a:buFont typeface="Wingdings" panose="05000000000000000000" pitchFamily="2" charset="2"/>
              <a:buChar char="§"/>
            </a:pPr>
            <a:r>
              <a:rPr lang="en-US" dirty="0">
                <a:latin typeface="Gotham Medium" panose="02000603030000020004" pitchFamily="2" charset="0"/>
              </a:rPr>
              <a:t>Type of Candidature</a:t>
            </a:r>
          </a:p>
          <a:p>
            <a:pPr marL="800100" lvl="1" indent="-342900">
              <a:buFont typeface="Wingdings" panose="05000000000000000000" pitchFamily="2" charset="2"/>
              <a:buChar char="§"/>
            </a:pPr>
            <a:r>
              <a:rPr lang="en-US" dirty="0">
                <a:latin typeface="Gotham Medium" panose="02000603030000020004" pitchFamily="2" charset="0"/>
              </a:rPr>
              <a:t>Category</a:t>
            </a:r>
          </a:p>
          <a:p>
            <a:pPr marL="800100" lvl="1" indent="-342900">
              <a:buFont typeface="Wingdings" panose="05000000000000000000" pitchFamily="2" charset="2"/>
              <a:buChar char="§"/>
            </a:pPr>
            <a:r>
              <a:rPr lang="en-US" dirty="0">
                <a:latin typeface="Gotham Medium" panose="02000603030000020004" pitchFamily="2" charset="0"/>
              </a:rPr>
              <a:t>Academic Details</a:t>
            </a:r>
          </a:p>
          <a:p>
            <a:pPr marL="342900" indent="-342900">
              <a:lnSpc>
                <a:spcPct val="150000"/>
              </a:lnSpc>
              <a:buFont typeface="+mj-lt"/>
              <a:buAutoNum type="arabicPeriod"/>
            </a:pPr>
            <a:r>
              <a:rPr lang="en-US" sz="1700" dirty="0">
                <a:latin typeface="Gotham Medium" panose="02000603030000020004" pitchFamily="2" charset="0"/>
              </a:rPr>
              <a:t>If any grievance, raise query through candidate Login for rectification</a:t>
            </a:r>
          </a:p>
          <a:p>
            <a:pPr marL="342900" indent="-342900">
              <a:lnSpc>
                <a:spcPct val="150000"/>
              </a:lnSpc>
              <a:buFont typeface="+mj-lt"/>
              <a:buAutoNum type="arabicPeriod"/>
            </a:pPr>
            <a:r>
              <a:rPr lang="en-US" dirty="0">
                <a:latin typeface="Gotham Medium" panose="02000603030000020004" pitchFamily="2" charset="0"/>
              </a:rPr>
              <a:t>Display of Final Merit List</a:t>
            </a:r>
          </a:p>
          <a:p>
            <a:pPr marL="342900" indent="-342900">
              <a:lnSpc>
                <a:spcPct val="150000"/>
              </a:lnSpc>
              <a:buFont typeface="+mj-lt"/>
              <a:buAutoNum type="arabicPeriod"/>
            </a:pPr>
            <a:r>
              <a:rPr lang="en-US" dirty="0">
                <a:latin typeface="Gotham Medium" panose="02000603030000020004" pitchFamily="2" charset="0"/>
              </a:rPr>
              <a:t>Note down State Merit List (SML) Number</a:t>
            </a:r>
          </a:p>
        </p:txBody>
      </p:sp>
    </p:spTree>
    <p:extLst>
      <p:ext uri="{BB962C8B-B14F-4D97-AF65-F5344CB8AC3E}">
        <p14:creationId xmlns:p14="http://schemas.microsoft.com/office/powerpoint/2010/main" val="306815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fade">
                                      <p:cBhvr>
                                        <p:cTn id="12" dur="500"/>
                                        <p:tgtEl>
                                          <p:spTgt spid="13">
                                            <p:txEl>
                                              <p:pRg st="1" end="1"/>
                                            </p:txEl>
                                          </p:spTgt>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3">
                                            <p:txEl>
                                              <p:pRg st="2" end="2"/>
                                            </p:txEl>
                                          </p:spTgt>
                                        </p:tgtEl>
                                        <p:attrNameLst>
                                          <p:attrName>style.visibility</p:attrName>
                                        </p:attrNameLst>
                                      </p:cBhvr>
                                      <p:to>
                                        <p:strVal val="visible"/>
                                      </p:to>
                                    </p:set>
                                    <p:animEffect transition="in" filter="fade">
                                      <p:cBhvr>
                                        <p:cTn id="16" dur="500"/>
                                        <p:tgtEl>
                                          <p:spTgt spid="13">
                                            <p:txEl>
                                              <p:pRg st="2" end="2"/>
                                            </p:txEl>
                                          </p:spTgt>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13">
                                            <p:txEl>
                                              <p:pRg st="3" end="3"/>
                                            </p:txEl>
                                          </p:spTgt>
                                        </p:tgtEl>
                                        <p:attrNameLst>
                                          <p:attrName>style.visibility</p:attrName>
                                        </p:attrNameLst>
                                      </p:cBhvr>
                                      <p:to>
                                        <p:strVal val="visible"/>
                                      </p:to>
                                    </p:set>
                                    <p:animEffect transition="in" filter="fade">
                                      <p:cBhvr>
                                        <p:cTn id="20" dur="500"/>
                                        <p:tgtEl>
                                          <p:spTgt spid="13">
                                            <p:txEl>
                                              <p:pRg st="3" end="3"/>
                                            </p:txEl>
                                          </p:spTgt>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13">
                                            <p:txEl>
                                              <p:pRg st="4" end="4"/>
                                            </p:txEl>
                                          </p:spTgt>
                                        </p:tgtEl>
                                        <p:attrNameLst>
                                          <p:attrName>style.visibility</p:attrName>
                                        </p:attrNameLst>
                                      </p:cBhvr>
                                      <p:to>
                                        <p:strVal val="visible"/>
                                      </p:to>
                                    </p:set>
                                    <p:animEffect transition="in" filter="fade">
                                      <p:cBhvr>
                                        <p:cTn id="24" dur="500"/>
                                        <p:tgtEl>
                                          <p:spTgt spid="13">
                                            <p:txEl>
                                              <p:pRg st="4" end="4"/>
                                            </p:txEl>
                                          </p:spTgt>
                                        </p:tgtEl>
                                      </p:cBhvr>
                                    </p:animEffect>
                                  </p:childTnLst>
                                </p:cTn>
                              </p:par>
                            </p:childTnLst>
                          </p:cTn>
                        </p:par>
                        <p:par>
                          <p:cTn id="25" fill="hold">
                            <p:stCondLst>
                              <p:cond delay="2000"/>
                            </p:stCondLst>
                            <p:childTnLst>
                              <p:par>
                                <p:cTn id="26" presetID="10" presetClass="entr" presetSubtype="0" fill="hold" nodeType="afterEffect">
                                  <p:stCondLst>
                                    <p:cond delay="0"/>
                                  </p:stCondLst>
                                  <p:childTnLst>
                                    <p:set>
                                      <p:cBhvr>
                                        <p:cTn id="27" dur="1" fill="hold">
                                          <p:stCondLst>
                                            <p:cond delay="0"/>
                                          </p:stCondLst>
                                        </p:cTn>
                                        <p:tgtEl>
                                          <p:spTgt spid="13">
                                            <p:txEl>
                                              <p:pRg st="5" end="5"/>
                                            </p:txEl>
                                          </p:spTgt>
                                        </p:tgtEl>
                                        <p:attrNameLst>
                                          <p:attrName>style.visibility</p:attrName>
                                        </p:attrNameLst>
                                      </p:cBhvr>
                                      <p:to>
                                        <p:strVal val="visible"/>
                                      </p:to>
                                    </p:set>
                                    <p:animEffect transition="in" filter="fade">
                                      <p:cBhvr>
                                        <p:cTn id="28" dur="500"/>
                                        <p:tgtEl>
                                          <p:spTgt spid="13">
                                            <p:txEl>
                                              <p:pRg st="5" end="5"/>
                                            </p:txEl>
                                          </p:spTgt>
                                        </p:tgtEl>
                                      </p:cBhvr>
                                    </p:animEffect>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13">
                                            <p:txEl>
                                              <p:pRg st="6" end="6"/>
                                            </p:txEl>
                                          </p:spTgt>
                                        </p:tgtEl>
                                        <p:attrNameLst>
                                          <p:attrName>style.visibility</p:attrName>
                                        </p:attrNameLst>
                                      </p:cBhvr>
                                      <p:to>
                                        <p:strVal val="visible"/>
                                      </p:to>
                                    </p:set>
                                    <p:animEffect transition="in" filter="fade">
                                      <p:cBhvr>
                                        <p:cTn id="32" dur="500"/>
                                        <p:tgtEl>
                                          <p:spTgt spid="13">
                                            <p:txEl>
                                              <p:pRg st="6" end="6"/>
                                            </p:txEl>
                                          </p:spTgt>
                                        </p:tgtEl>
                                      </p:cBhvr>
                                    </p:animEffect>
                                  </p:childTnLst>
                                </p:cTn>
                              </p:par>
                            </p:childTnLst>
                          </p:cTn>
                        </p:par>
                        <p:par>
                          <p:cTn id="33" fill="hold">
                            <p:stCondLst>
                              <p:cond delay="3000"/>
                            </p:stCondLst>
                            <p:childTnLst>
                              <p:par>
                                <p:cTn id="34" presetID="10" presetClass="entr" presetSubtype="0" fill="hold" nodeType="afterEffect">
                                  <p:stCondLst>
                                    <p:cond delay="0"/>
                                  </p:stCondLst>
                                  <p:childTnLst>
                                    <p:set>
                                      <p:cBhvr>
                                        <p:cTn id="35" dur="1" fill="hold">
                                          <p:stCondLst>
                                            <p:cond delay="0"/>
                                          </p:stCondLst>
                                        </p:cTn>
                                        <p:tgtEl>
                                          <p:spTgt spid="13">
                                            <p:txEl>
                                              <p:pRg st="7" end="7"/>
                                            </p:txEl>
                                          </p:spTgt>
                                        </p:tgtEl>
                                        <p:attrNameLst>
                                          <p:attrName>style.visibility</p:attrName>
                                        </p:attrNameLst>
                                      </p:cBhvr>
                                      <p:to>
                                        <p:strVal val="visible"/>
                                      </p:to>
                                    </p:set>
                                    <p:animEffect transition="in" filter="fade">
                                      <p:cBhvr>
                                        <p:cTn id="36" dur="500"/>
                                        <p:tgtEl>
                                          <p:spTgt spid="13">
                                            <p:txEl>
                                              <p:pRg st="7" end="7"/>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3">
                                            <p:txEl>
                                              <p:pRg st="8" end="8"/>
                                            </p:txEl>
                                          </p:spTgt>
                                        </p:tgtEl>
                                        <p:attrNameLst>
                                          <p:attrName>style.visibility</p:attrName>
                                        </p:attrNameLst>
                                      </p:cBhvr>
                                      <p:to>
                                        <p:strVal val="visible"/>
                                      </p:to>
                                    </p:set>
                                    <p:animEffect transition="in" filter="fade">
                                      <p:cBhvr>
                                        <p:cTn id="41" dur="500"/>
                                        <p:tgtEl>
                                          <p:spTgt spid="13">
                                            <p:txEl>
                                              <p:pRg st="8" end="8"/>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3">
                                            <p:txEl>
                                              <p:pRg st="9" end="9"/>
                                            </p:txEl>
                                          </p:spTgt>
                                        </p:tgtEl>
                                        <p:attrNameLst>
                                          <p:attrName>style.visibility</p:attrName>
                                        </p:attrNameLst>
                                      </p:cBhvr>
                                      <p:to>
                                        <p:strVal val="visible"/>
                                      </p:to>
                                    </p:set>
                                    <p:animEffect transition="in" filter="fade">
                                      <p:cBhvr>
                                        <p:cTn id="46" dur="500"/>
                                        <p:tgtEl>
                                          <p:spTgt spid="1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324;p7">
            <a:extLst>
              <a:ext uri="{FF2B5EF4-FFF2-40B4-BE49-F238E27FC236}">
                <a16:creationId xmlns:a16="http://schemas.microsoft.com/office/drawing/2014/main" id="{20EC8EBF-95FE-4530-BD0A-384421DA4067}"/>
              </a:ext>
            </a:extLst>
          </p:cNvPr>
          <p:cNvSpPr/>
          <p:nvPr/>
        </p:nvSpPr>
        <p:spPr>
          <a:xfrm>
            <a:off x="0" y="0"/>
            <a:ext cx="653700" cy="5143500"/>
          </a:xfrm>
          <a:prstGeom prst="rect">
            <a:avLst/>
          </a:prstGeom>
          <a:solidFill>
            <a:srgbClr val="FF596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3" name="Title 1">
            <a:extLst>
              <a:ext uri="{FF2B5EF4-FFF2-40B4-BE49-F238E27FC236}">
                <a16:creationId xmlns:a16="http://schemas.microsoft.com/office/drawing/2014/main" id="{D6CD76F9-85E8-4914-8E2B-8B7CFA5177CE}"/>
              </a:ext>
            </a:extLst>
          </p:cNvPr>
          <p:cNvSpPr txBox="1">
            <a:spLocks/>
          </p:cNvSpPr>
          <p:nvPr/>
        </p:nvSpPr>
        <p:spPr>
          <a:xfrm>
            <a:off x="653699" y="192762"/>
            <a:ext cx="8185859"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altLang="en-US" sz="2800" dirty="0">
                <a:solidFill>
                  <a:srgbClr val="52CBBE"/>
                </a:solidFill>
                <a:latin typeface="Gotham Bold" panose="02000803030000020004" pitchFamily="2" charset="0"/>
              </a:rPr>
              <a:t>Homework Before Filling </a:t>
            </a:r>
            <a:r>
              <a:rPr lang="en-IN" altLang="en-US" sz="2800" dirty="0">
                <a:solidFill>
                  <a:srgbClr val="FF5969"/>
                </a:solidFill>
                <a:latin typeface="Gotham Bold" panose="02000803030000020004" pitchFamily="2" charset="0"/>
              </a:rPr>
              <a:t>Option Form</a:t>
            </a:r>
          </a:p>
        </p:txBody>
      </p:sp>
      <p:grpSp>
        <p:nvGrpSpPr>
          <p:cNvPr id="26" name="Google Shape;347;p7">
            <a:extLst>
              <a:ext uri="{FF2B5EF4-FFF2-40B4-BE49-F238E27FC236}">
                <a16:creationId xmlns:a16="http://schemas.microsoft.com/office/drawing/2014/main" id="{C3CB0FF7-8A44-4EB0-9792-F116402E4A68}"/>
              </a:ext>
            </a:extLst>
          </p:cNvPr>
          <p:cNvGrpSpPr/>
          <p:nvPr/>
        </p:nvGrpSpPr>
        <p:grpSpPr>
          <a:xfrm>
            <a:off x="0" y="192762"/>
            <a:ext cx="311815" cy="653721"/>
            <a:chOff x="5385375" y="498300"/>
            <a:chExt cx="802200" cy="556500"/>
          </a:xfrm>
          <a:solidFill>
            <a:srgbClr val="52CBBE"/>
          </a:solidFill>
        </p:grpSpPr>
        <p:sp>
          <p:nvSpPr>
            <p:cNvPr id="27" name="Google Shape;348;p7">
              <a:extLst>
                <a:ext uri="{FF2B5EF4-FFF2-40B4-BE49-F238E27FC236}">
                  <a16:creationId xmlns:a16="http://schemas.microsoft.com/office/drawing/2014/main" id="{98370779-31D0-4228-83DE-BA24112FD8F7}"/>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8" name="Google Shape;349;p7">
              <a:extLst>
                <a:ext uri="{FF2B5EF4-FFF2-40B4-BE49-F238E27FC236}">
                  <a16:creationId xmlns:a16="http://schemas.microsoft.com/office/drawing/2014/main" id="{3FA17BE1-C7B3-46C6-A908-F82FA189A5C5}"/>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9" name="Google Shape;350;p7">
              <a:extLst>
                <a:ext uri="{FF2B5EF4-FFF2-40B4-BE49-F238E27FC236}">
                  <a16:creationId xmlns:a16="http://schemas.microsoft.com/office/drawing/2014/main" id="{F311C074-973A-433C-8588-0F8431F4777C}"/>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sp>
        <p:nvSpPr>
          <p:cNvPr id="14" name="TextBox 13">
            <a:extLst>
              <a:ext uri="{FF2B5EF4-FFF2-40B4-BE49-F238E27FC236}">
                <a16:creationId xmlns:a16="http://schemas.microsoft.com/office/drawing/2014/main" id="{8364365A-F6C1-46DD-8514-9E70D05DDF8F}"/>
              </a:ext>
            </a:extLst>
          </p:cNvPr>
          <p:cNvSpPr txBox="1"/>
          <p:nvPr/>
        </p:nvSpPr>
        <p:spPr>
          <a:xfrm>
            <a:off x="653699" y="905916"/>
            <a:ext cx="8178486" cy="3624647"/>
          </a:xfrm>
          <a:prstGeom prst="rect">
            <a:avLst/>
          </a:prstGeom>
          <a:noFill/>
        </p:spPr>
        <p:txBody>
          <a:bodyPr wrap="square" rtlCol="0">
            <a:spAutoFit/>
          </a:bodyPr>
          <a:lstStyle/>
          <a:p>
            <a:pPr marL="342900" indent="-342900">
              <a:lnSpc>
                <a:spcPct val="150000"/>
              </a:lnSpc>
              <a:buFont typeface="+mj-lt"/>
              <a:buAutoNum type="arabicPeriod"/>
            </a:pPr>
            <a:r>
              <a:rPr lang="en-US" sz="2000" dirty="0">
                <a:latin typeface="Gotham Medium" panose="02000603030000020004" pitchFamily="2" charset="0"/>
              </a:rPr>
              <a:t>Prepare List of Colleges and Branches as per Your Choice</a:t>
            </a:r>
          </a:p>
          <a:p>
            <a:pPr marL="342900" indent="-342900">
              <a:lnSpc>
                <a:spcPct val="150000"/>
              </a:lnSpc>
              <a:buFont typeface="+mj-lt"/>
              <a:buAutoNum type="arabicPeriod"/>
            </a:pPr>
            <a:r>
              <a:rPr lang="en-US" sz="2000" dirty="0">
                <a:latin typeface="Gotham Medium" panose="02000603030000020004" pitchFamily="2" charset="0"/>
              </a:rPr>
              <a:t>Brainstorm your choices/options based on – </a:t>
            </a:r>
          </a:p>
          <a:p>
            <a:pPr marL="800100" lvl="1" indent="-342900">
              <a:buFont typeface="Wingdings" panose="05000000000000000000" pitchFamily="2" charset="2"/>
              <a:buChar char="§"/>
            </a:pPr>
            <a:r>
              <a:rPr lang="en-US" dirty="0">
                <a:latin typeface="Gotham Medium" panose="02000603030000020004" pitchFamily="2" charset="0"/>
              </a:rPr>
              <a:t>College or Branch</a:t>
            </a:r>
          </a:p>
          <a:p>
            <a:pPr marL="800100" lvl="1" indent="-342900">
              <a:buFont typeface="Wingdings" panose="05000000000000000000" pitchFamily="2" charset="2"/>
              <a:buChar char="§"/>
            </a:pPr>
            <a:r>
              <a:rPr lang="en-US" dirty="0">
                <a:latin typeface="Gotham Medium" panose="02000603030000020004" pitchFamily="2" charset="0"/>
              </a:rPr>
              <a:t>Fee</a:t>
            </a:r>
          </a:p>
          <a:p>
            <a:pPr marL="800100" lvl="1" indent="-342900">
              <a:buFont typeface="Wingdings" panose="05000000000000000000" pitchFamily="2" charset="2"/>
              <a:buChar char="§"/>
            </a:pPr>
            <a:r>
              <a:rPr lang="en-US" dirty="0">
                <a:latin typeface="Gotham Medium" panose="02000603030000020004" pitchFamily="2" charset="0"/>
              </a:rPr>
              <a:t>Type of College – Autonomous or Non-Autonomous</a:t>
            </a:r>
          </a:p>
          <a:p>
            <a:pPr marL="800100" lvl="1" indent="-342900">
              <a:buFont typeface="Wingdings" panose="05000000000000000000" pitchFamily="2" charset="2"/>
              <a:buChar char="§"/>
            </a:pPr>
            <a:r>
              <a:rPr lang="en-US" dirty="0">
                <a:latin typeface="Gotham Medium" panose="02000603030000020004" pitchFamily="2" charset="0"/>
              </a:rPr>
              <a:t>Location</a:t>
            </a:r>
          </a:p>
          <a:p>
            <a:pPr marL="800100" lvl="1" indent="-342900">
              <a:buFont typeface="Wingdings" panose="05000000000000000000" pitchFamily="2" charset="2"/>
              <a:buChar char="§"/>
            </a:pPr>
            <a:r>
              <a:rPr lang="en-US" dirty="0">
                <a:latin typeface="Gotham Medium" panose="02000603030000020004" pitchFamily="2" charset="0"/>
              </a:rPr>
              <a:t>Placements</a:t>
            </a:r>
          </a:p>
          <a:p>
            <a:pPr marL="800100" lvl="1" indent="-342900">
              <a:buFont typeface="Wingdings" panose="05000000000000000000" pitchFamily="2" charset="2"/>
              <a:buChar char="§"/>
            </a:pPr>
            <a:r>
              <a:rPr lang="en-US" dirty="0">
                <a:latin typeface="Gotham Medium" panose="02000603030000020004" pitchFamily="2" charset="0"/>
              </a:rPr>
              <a:t>Experienced Faculty</a:t>
            </a:r>
          </a:p>
          <a:p>
            <a:pPr marL="800100" lvl="1" indent="-342900">
              <a:buFont typeface="Wingdings" panose="05000000000000000000" pitchFamily="2" charset="2"/>
              <a:buChar char="§"/>
            </a:pPr>
            <a:r>
              <a:rPr lang="en-US" dirty="0">
                <a:latin typeface="Gotham Medium" panose="02000603030000020004" pitchFamily="2" charset="0"/>
              </a:rPr>
              <a:t>Infrastructure</a:t>
            </a:r>
          </a:p>
          <a:p>
            <a:pPr marL="800100" lvl="1" indent="-342900">
              <a:buFont typeface="Wingdings" panose="05000000000000000000" pitchFamily="2" charset="2"/>
              <a:buChar char="§"/>
            </a:pPr>
            <a:r>
              <a:rPr lang="en-US" dirty="0">
                <a:latin typeface="Gotham Medium" panose="02000603030000020004" pitchFamily="2" charset="0"/>
              </a:rPr>
              <a:t>Quality of Laboratories</a:t>
            </a:r>
          </a:p>
          <a:p>
            <a:pPr marL="342900" indent="-342900">
              <a:lnSpc>
                <a:spcPct val="150000"/>
              </a:lnSpc>
              <a:buFont typeface="+mj-lt"/>
              <a:buAutoNum type="arabicPeriod"/>
            </a:pPr>
            <a:r>
              <a:rPr lang="en-US" sz="2000" dirty="0">
                <a:latin typeface="Gotham Medium" panose="02000603030000020004" pitchFamily="2" charset="0"/>
              </a:rPr>
              <a:t>Prepare Final List of Options</a:t>
            </a:r>
          </a:p>
        </p:txBody>
      </p:sp>
    </p:spTree>
    <p:extLst>
      <p:ext uri="{BB962C8B-B14F-4D97-AF65-F5344CB8AC3E}">
        <p14:creationId xmlns:p14="http://schemas.microsoft.com/office/powerpoint/2010/main" val="491520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xEl>
                                              <p:pRg st="1" end="1"/>
                                            </p:txEl>
                                          </p:spTgt>
                                        </p:tgtEl>
                                        <p:attrNameLst>
                                          <p:attrName>style.visibility</p:attrName>
                                        </p:attrNameLst>
                                      </p:cBhvr>
                                      <p:to>
                                        <p:strVal val="visible"/>
                                      </p:to>
                                    </p:set>
                                    <p:animEffect transition="in" filter="fade">
                                      <p:cBhvr>
                                        <p:cTn id="12" dur="500"/>
                                        <p:tgtEl>
                                          <p:spTgt spid="1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xEl>
                                              <p:pRg st="2" end="2"/>
                                            </p:txEl>
                                          </p:spTgt>
                                        </p:tgtEl>
                                        <p:attrNameLst>
                                          <p:attrName>style.visibility</p:attrName>
                                        </p:attrNameLst>
                                      </p:cBhvr>
                                      <p:to>
                                        <p:strVal val="visible"/>
                                      </p:to>
                                    </p:set>
                                    <p:animEffect transition="in" filter="fade">
                                      <p:cBhvr>
                                        <p:cTn id="17" dur="500"/>
                                        <p:tgtEl>
                                          <p:spTgt spid="1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xEl>
                                              <p:pRg st="3" end="3"/>
                                            </p:txEl>
                                          </p:spTgt>
                                        </p:tgtEl>
                                        <p:attrNameLst>
                                          <p:attrName>style.visibility</p:attrName>
                                        </p:attrNameLst>
                                      </p:cBhvr>
                                      <p:to>
                                        <p:strVal val="visible"/>
                                      </p:to>
                                    </p:set>
                                    <p:animEffect transition="in" filter="fade">
                                      <p:cBhvr>
                                        <p:cTn id="22" dur="500"/>
                                        <p:tgtEl>
                                          <p:spTgt spid="1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xEl>
                                              <p:pRg st="4" end="4"/>
                                            </p:txEl>
                                          </p:spTgt>
                                        </p:tgtEl>
                                        <p:attrNameLst>
                                          <p:attrName>style.visibility</p:attrName>
                                        </p:attrNameLst>
                                      </p:cBhvr>
                                      <p:to>
                                        <p:strVal val="visible"/>
                                      </p:to>
                                    </p:set>
                                    <p:animEffect transition="in" filter="fade">
                                      <p:cBhvr>
                                        <p:cTn id="27" dur="500"/>
                                        <p:tgtEl>
                                          <p:spTgt spid="1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4">
                                            <p:txEl>
                                              <p:pRg st="5" end="5"/>
                                            </p:txEl>
                                          </p:spTgt>
                                        </p:tgtEl>
                                        <p:attrNameLst>
                                          <p:attrName>style.visibility</p:attrName>
                                        </p:attrNameLst>
                                      </p:cBhvr>
                                      <p:to>
                                        <p:strVal val="visible"/>
                                      </p:to>
                                    </p:set>
                                    <p:animEffect transition="in" filter="fade">
                                      <p:cBhvr>
                                        <p:cTn id="32" dur="500"/>
                                        <p:tgtEl>
                                          <p:spTgt spid="14">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4">
                                            <p:txEl>
                                              <p:pRg st="6" end="6"/>
                                            </p:txEl>
                                          </p:spTgt>
                                        </p:tgtEl>
                                        <p:attrNameLst>
                                          <p:attrName>style.visibility</p:attrName>
                                        </p:attrNameLst>
                                      </p:cBhvr>
                                      <p:to>
                                        <p:strVal val="visible"/>
                                      </p:to>
                                    </p:set>
                                    <p:animEffect transition="in" filter="fade">
                                      <p:cBhvr>
                                        <p:cTn id="37" dur="500"/>
                                        <p:tgtEl>
                                          <p:spTgt spid="14">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4">
                                            <p:txEl>
                                              <p:pRg st="7" end="7"/>
                                            </p:txEl>
                                          </p:spTgt>
                                        </p:tgtEl>
                                        <p:attrNameLst>
                                          <p:attrName>style.visibility</p:attrName>
                                        </p:attrNameLst>
                                      </p:cBhvr>
                                      <p:to>
                                        <p:strVal val="visible"/>
                                      </p:to>
                                    </p:set>
                                    <p:animEffect transition="in" filter="fade">
                                      <p:cBhvr>
                                        <p:cTn id="42" dur="500"/>
                                        <p:tgtEl>
                                          <p:spTgt spid="14">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4">
                                            <p:txEl>
                                              <p:pRg st="8" end="8"/>
                                            </p:txEl>
                                          </p:spTgt>
                                        </p:tgtEl>
                                        <p:attrNameLst>
                                          <p:attrName>style.visibility</p:attrName>
                                        </p:attrNameLst>
                                      </p:cBhvr>
                                      <p:to>
                                        <p:strVal val="visible"/>
                                      </p:to>
                                    </p:set>
                                    <p:animEffect transition="in" filter="fade">
                                      <p:cBhvr>
                                        <p:cTn id="47" dur="500"/>
                                        <p:tgtEl>
                                          <p:spTgt spid="14">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4">
                                            <p:txEl>
                                              <p:pRg st="9" end="9"/>
                                            </p:txEl>
                                          </p:spTgt>
                                        </p:tgtEl>
                                        <p:attrNameLst>
                                          <p:attrName>style.visibility</p:attrName>
                                        </p:attrNameLst>
                                      </p:cBhvr>
                                      <p:to>
                                        <p:strVal val="visible"/>
                                      </p:to>
                                    </p:set>
                                    <p:animEffect transition="in" filter="fade">
                                      <p:cBhvr>
                                        <p:cTn id="52" dur="500"/>
                                        <p:tgtEl>
                                          <p:spTgt spid="14">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4">
                                            <p:txEl>
                                              <p:pRg st="10" end="10"/>
                                            </p:txEl>
                                          </p:spTgt>
                                        </p:tgtEl>
                                        <p:attrNameLst>
                                          <p:attrName>style.visibility</p:attrName>
                                        </p:attrNameLst>
                                      </p:cBhvr>
                                      <p:to>
                                        <p:strVal val="visible"/>
                                      </p:to>
                                    </p:set>
                                    <p:animEffect transition="in" filter="fade">
                                      <p:cBhvr>
                                        <p:cTn id="57" dur="500"/>
                                        <p:tgtEl>
                                          <p:spTgt spid="1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324;p7">
            <a:extLst>
              <a:ext uri="{FF2B5EF4-FFF2-40B4-BE49-F238E27FC236}">
                <a16:creationId xmlns:a16="http://schemas.microsoft.com/office/drawing/2014/main" id="{20EC8EBF-95FE-4530-BD0A-384421DA4067}"/>
              </a:ext>
            </a:extLst>
          </p:cNvPr>
          <p:cNvSpPr/>
          <p:nvPr/>
        </p:nvSpPr>
        <p:spPr>
          <a:xfrm>
            <a:off x="0" y="0"/>
            <a:ext cx="653700" cy="5143500"/>
          </a:xfrm>
          <a:prstGeom prst="rect">
            <a:avLst/>
          </a:prstGeom>
          <a:solidFill>
            <a:srgbClr val="52CB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3" name="Title 1">
            <a:extLst>
              <a:ext uri="{FF2B5EF4-FFF2-40B4-BE49-F238E27FC236}">
                <a16:creationId xmlns:a16="http://schemas.microsoft.com/office/drawing/2014/main" id="{D6CD76F9-85E8-4914-8E2B-8B7CFA5177CE}"/>
              </a:ext>
            </a:extLst>
          </p:cNvPr>
          <p:cNvSpPr txBox="1">
            <a:spLocks/>
          </p:cNvSpPr>
          <p:nvPr/>
        </p:nvSpPr>
        <p:spPr>
          <a:xfrm>
            <a:off x="641000" y="402974"/>
            <a:ext cx="5213701" cy="653721"/>
          </a:xfrm>
          <a:prstGeom prst="rect">
            <a:avLst/>
          </a:prstGeom>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altLang="en-US" sz="2800" dirty="0">
                <a:solidFill>
                  <a:srgbClr val="52CBBE"/>
                </a:solidFill>
                <a:latin typeface="Gotham Bold" panose="02000803030000020004" pitchFamily="2" charset="0"/>
              </a:rPr>
              <a:t>Filling Online Option Form </a:t>
            </a:r>
            <a:r>
              <a:rPr lang="en-IN" altLang="en-US" sz="2800" dirty="0">
                <a:solidFill>
                  <a:srgbClr val="FF5969"/>
                </a:solidFill>
                <a:latin typeface="Gotham Bold" panose="02000803030000020004" pitchFamily="2" charset="0"/>
              </a:rPr>
              <a:t>for CAP Round-I</a:t>
            </a:r>
          </a:p>
        </p:txBody>
      </p:sp>
      <p:grpSp>
        <p:nvGrpSpPr>
          <p:cNvPr id="26" name="Google Shape;347;p7">
            <a:extLst>
              <a:ext uri="{FF2B5EF4-FFF2-40B4-BE49-F238E27FC236}">
                <a16:creationId xmlns:a16="http://schemas.microsoft.com/office/drawing/2014/main" id="{C3CB0FF7-8A44-4EB0-9792-F116402E4A68}"/>
              </a:ext>
            </a:extLst>
          </p:cNvPr>
          <p:cNvGrpSpPr/>
          <p:nvPr/>
        </p:nvGrpSpPr>
        <p:grpSpPr>
          <a:xfrm>
            <a:off x="0" y="402973"/>
            <a:ext cx="311815" cy="653721"/>
            <a:chOff x="5385375" y="498300"/>
            <a:chExt cx="802200" cy="556500"/>
          </a:xfrm>
          <a:solidFill>
            <a:srgbClr val="FF5969"/>
          </a:solidFill>
        </p:grpSpPr>
        <p:sp>
          <p:nvSpPr>
            <p:cNvPr id="27" name="Google Shape;348;p7">
              <a:extLst>
                <a:ext uri="{FF2B5EF4-FFF2-40B4-BE49-F238E27FC236}">
                  <a16:creationId xmlns:a16="http://schemas.microsoft.com/office/drawing/2014/main" id="{98370779-31D0-4228-83DE-BA24112FD8F7}"/>
                </a:ext>
              </a:extLst>
            </p:cNvPr>
            <p:cNvSpPr/>
            <p:nvPr/>
          </p:nvSpPr>
          <p:spPr>
            <a:xfrm>
              <a:off x="5385375" y="4983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8" name="Google Shape;349;p7">
              <a:extLst>
                <a:ext uri="{FF2B5EF4-FFF2-40B4-BE49-F238E27FC236}">
                  <a16:creationId xmlns:a16="http://schemas.microsoft.com/office/drawing/2014/main" id="{3FA17BE1-C7B3-46C6-A908-F82FA189A5C5}"/>
                </a:ext>
              </a:extLst>
            </p:cNvPr>
            <p:cNvSpPr/>
            <p:nvPr/>
          </p:nvSpPr>
          <p:spPr>
            <a:xfrm>
              <a:off x="5385375" y="7269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sp>
          <p:nvSpPr>
            <p:cNvPr id="29" name="Google Shape;350;p7">
              <a:extLst>
                <a:ext uri="{FF2B5EF4-FFF2-40B4-BE49-F238E27FC236}">
                  <a16:creationId xmlns:a16="http://schemas.microsoft.com/office/drawing/2014/main" id="{F311C074-973A-433C-8588-0F8431F4777C}"/>
                </a:ext>
              </a:extLst>
            </p:cNvPr>
            <p:cNvSpPr/>
            <p:nvPr/>
          </p:nvSpPr>
          <p:spPr>
            <a:xfrm>
              <a:off x="5385375" y="955500"/>
              <a:ext cx="802200" cy="993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sz="1200">
                <a:solidFill>
                  <a:prstClr val="white"/>
                </a:solidFill>
              </a:endParaRPr>
            </a:p>
          </p:txBody>
        </p:sp>
      </p:grpSp>
      <p:sp>
        <p:nvSpPr>
          <p:cNvPr id="14" name="TextBox 13">
            <a:extLst>
              <a:ext uri="{FF2B5EF4-FFF2-40B4-BE49-F238E27FC236}">
                <a16:creationId xmlns:a16="http://schemas.microsoft.com/office/drawing/2014/main" id="{8364365A-F6C1-46DD-8514-9E70D05DDF8F}"/>
              </a:ext>
            </a:extLst>
          </p:cNvPr>
          <p:cNvSpPr txBox="1"/>
          <p:nvPr/>
        </p:nvSpPr>
        <p:spPr>
          <a:xfrm>
            <a:off x="838200" y="1405757"/>
            <a:ext cx="7086600" cy="2331985"/>
          </a:xfrm>
          <a:prstGeom prst="rect">
            <a:avLst/>
          </a:prstGeom>
          <a:noFill/>
        </p:spPr>
        <p:txBody>
          <a:bodyPr wrap="square" rtlCol="0">
            <a:spAutoFit/>
          </a:bodyPr>
          <a:lstStyle/>
          <a:p>
            <a:pPr marL="457200" indent="-457200">
              <a:lnSpc>
                <a:spcPct val="150000"/>
              </a:lnSpc>
              <a:buFont typeface="+mj-lt"/>
              <a:buAutoNum type="arabicPeriod"/>
            </a:pPr>
            <a:r>
              <a:rPr lang="en-US" sz="2000" dirty="0">
                <a:latin typeface="Gotham Medium" panose="02000603030000020004" pitchFamily="2" charset="0"/>
              </a:rPr>
              <a:t>Fill Option Form online through Login ID</a:t>
            </a:r>
          </a:p>
          <a:p>
            <a:pPr marL="457200" indent="-457200">
              <a:lnSpc>
                <a:spcPct val="150000"/>
              </a:lnSpc>
              <a:buFont typeface="+mj-lt"/>
              <a:buAutoNum type="arabicPeriod"/>
            </a:pPr>
            <a:r>
              <a:rPr lang="en-US" sz="2000" dirty="0">
                <a:latin typeface="Gotham Medium" panose="02000603030000020004" pitchFamily="2" charset="0"/>
              </a:rPr>
              <a:t>Minimum 1 and Maximum 300 options</a:t>
            </a:r>
          </a:p>
          <a:p>
            <a:pPr marL="457200" indent="-457200">
              <a:lnSpc>
                <a:spcPct val="150000"/>
              </a:lnSpc>
              <a:buFont typeface="+mj-lt"/>
              <a:buAutoNum type="arabicPeriod"/>
            </a:pPr>
            <a:r>
              <a:rPr lang="en-US" sz="2000" dirty="0">
                <a:latin typeface="Gotham Medium" panose="02000603030000020004" pitchFamily="2" charset="0"/>
              </a:rPr>
              <a:t>First Option is Mandatory</a:t>
            </a:r>
          </a:p>
          <a:p>
            <a:pPr marL="457200" indent="-457200">
              <a:lnSpc>
                <a:spcPct val="150000"/>
              </a:lnSpc>
              <a:buFont typeface="+mj-lt"/>
              <a:buAutoNum type="arabicPeriod"/>
            </a:pPr>
            <a:r>
              <a:rPr lang="en-US" sz="2000" dirty="0">
                <a:latin typeface="Gotham Medium" panose="02000603030000020004" pitchFamily="2" charset="0"/>
              </a:rPr>
              <a:t>Confirm Option Form using Password and OTP</a:t>
            </a:r>
          </a:p>
          <a:p>
            <a:pPr marL="457200" indent="-457200">
              <a:lnSpc>
                <a:spcPct val="150000"/>
              </a:lnSpc>
              <a:buFont typeface="+mj-lt"/>
              <a:buAutoNum type="arabicPeriod"/>
            </a:pPr>
            <a:r>
              <a:rPr lang="en-US" sz="2000" dirty="0">
                <a:latin typeface="Gotham Medium" panose="02000603030000020004" pitchFamily="2" charset="0"/>
              </a:rPr>
              <a:t>Once option form confirmed, cannot be modified</a:t>
            </a:r>
          </a:p>
        </p:txBody>
      </p:sp>
    </p:spTree>
    <p:extLst>
      <p:ext uri="{BB962C8B-B14F-4D97-AF65-F5344CB8AC3E}">
        <p14:creationId xmlns:p14="http://schemas.microsoft.com/office/powerpoint/2010/main" val="426027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xEl>
                                              <p:pRg st="1" end="1"/>
                                            </p:txEl>
                                          </p:spTgt>
                                        </p:tgtEl>
                                        <p:attrNameLst>
                                          <p:attrName>style.visibility</p:attrName>
                                        </p:attrNameLst>
                                      </p:cBhvr>
                                      <p:to>
                                        <p:strVal val="visible"/>
                                      </p:to>
                                    </p:set>
                                    <p:animEffect transition="in" filter="fade">
                                      <p:cBhvr>
                                        <p:cTn id="12" dur="500"/>
                                        <p:tgtEl>
                                          <p:spTgt spid="1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xEl>
                                              <p:pRg st="2" end="2"/>
                                            </p:txEl>
                                          </p:spTgt>
                                        </p:tgtEl>
                                        <p:attrNameLst>
                                          <p:attrName>style.visibility</p:attrName>
                                        </p:attrNameLst>
                                      </p:cBhvr>
                                      <p:to>
                                        <p:strVal val="visible"/>
                                      </p:to>
                                    </p:set>
                                    <p:animEffect transition="in" filter="fade">
                                      <p:cBhvr>
                                        <p:cTn id="17" dur="500"/>
                                        <p:tgtEl>
                                          <p:spTgt spid="1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xEl>
                                              <p:pRg st="3" end="3"/>
                                            </p:txEl>
                                          </p:spTgt>
                                        </p:tgtEl>
                                        <p:attrNameLst>
                                          <p:attrName>style.visibility</p:attrName>
                                        </p:attrNameLst>
                                      </p:cBhvr>
                                      <p:to>
                                        <p:strVal val="visible"/>
                                      </p:to>
                                    </p:set>
                                    <p:animEffect transition="in" filter="fade">
                                      <p:cBhvr>
                                        <p:cTn id="22" dur="500"/>
                                        <p:tgtEl>
                                          <p:spTgt spid="1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xEl>
                                              <p:pRg st="4" end="4"/>
                                            </p:txEl>
                                          </p:spTgt>
                                        </p:tgtEl>
                                        <p:attrNameLst>
                                          <p:attrName>style.visibility</p:attrName>
                                        </p:attrNameLst>
                                      </p:cBhvr>
                                      <p:to>
                                        <p:strVal val="visible"/>
                                      </p:to>
                                    </p:set>
                                    <p:animEffect transition="in" filter="fade">
                                      <p:cBhvr>
                                        <p:cTn id="27" dur="500"/>
                                        <p:tgtEl>
                                          <p:spTgt spid="1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7qoms7yKcShj3BwfHXf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7qoms7yKcShj3BwfHXf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7qoms7yKcShj3BwfHXf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7qoms7yKcShj3BwfHXf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7qoms7yKcShj3BwfHXf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7qoms7yKcShj3BwfHXf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7qoms7yKcShj3BwfHXfM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7qoms7yKcShj3BwfHXfM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7qoms7yKcShj3BwfHXf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7qoms7yKcShj3BwfHXf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7qoms7yKcShj3BwfHXf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7qoms7yKcShj3BwfHXf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ontents Slide Master">
  <a:themeElements>
    <a:clrScheme name="ALLPPT-HIKER">
      <a:dk1>
        <a:sysClr val="windowText" lastClr="000000"/>
      </a:dk1>
      <a:lt1>
        <a:sysClr val="window" lastClr="FFFFFF"/>
      </a:lt1>
      <a:dk2>
        <a:srgbClr val="44546A"/>
      </a:dk2>
      <a:lt2>
        <a:srgbClr val="E7E6E6"/>
      </a:lt2>
      <a:accent1>
        <a:srgbClr val="5B9BD5"/>
      </a:accent1>
      <a:accent2>
        <a:srgbClr val="3F3F3F"/>
      </a:accent2>
      <a:accent3>
        <a:srgbClr val="5B9BD5"/>
      </a:accent3>
      <a:accent4>
        <a:srgbClr val="3F3F3F"/>
      </a:accent4>
      <a:accent5>
        <a:srgbClr val="5B9BD5"/>
      </a:accent5>
      <a:accent6>
        <a:srgbClr val="3F3F3F"/>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hef CV by Slides Go">
  <a:themeElements>
    <a:clrScheme name="Simple Light">
      <a:dk1>
        <a:srgbClr val="434343"/>
      </a:dk1>
      <a:lt1>
        <a:srgbClr val="FFFFFF"/>
      </a:lt1>
      <a:dk2>
        <a:srgbClr val="000000"/>
      </a:dk2>
      <a:lt2>
        <a:srgbClr val="CC000F"/>
      </a:lt2>
      <a:accent1>
        <a:srgbClr val="CCCCCC"/>
      </a:accent1>
      <a:accent2>
        <a:srgbClr val="D9D9D9"/>
      </a:accent2>
      <a:accent3>
        <a:srgbClr val="666666"/>
      </a:accent3>
      <a:accent4>
        <a:srgbClr val="980000"/>
      </a:accent4>
      <a:accent5>
        <a:srgbClr val="999999"/>
      </a:accent5>
      <a:accent6>
        <a:srgbClr val="F3F3F3"/>
      </a:accent6>
      <a:hlink>
        <a:srgbClr val="434343"/>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Contents Slide Master">
  <a:themeElements>
    <a:clrScheme name="ALLPPT-404">
      <a:dk1>
        <a:sysClr val="windowText" lastClr="000000"/>
      </a:dk1>
      <a:lt1>
        <a:sysClr val="window" lastClr="FFFFFF"/>
      </a:lt1>
      <a:dk2>
        <a:srgbClr val="44546A"/>
      </a:dk2>
      <a:lt2>
        <a:srgbClr val="E7E6E6"/>
      </a:lt2>
      <a:accent1>
        <a:srgbClr val="5A9BD5"/>
      </a:accent1>
      <a:accent2>
        <a:srgbClr val="224A90"/>
      </a:accent2>
      <a:accent3>
        <a:srgbClr val="010A4F"/>
      </a:accent3>
      <a:accent4>
        <a:srgbClr val="5A9BD5"/>
      </a:accent4>
      <a:accent5>
        <a:srgbClr val="224A90"/>
      </a:accent5>
      <a:accent6>
        <a:srgbClr val="010A4F"/>
      </a:accent6>
      <a:hlink>
        <a:srgbClr val="262626"/>
      </a:hlink>
      <a:folHlink>
        <a:srgbClr val="262626"/>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icago</Template>
  <TotalTime>6876</TotalTime>
  <Words>5633</Words>
  <Application>Microsoft Office PowerPoint</Application>
  <PresentationFormat>On-screen Show (16:9)</PresentationFormat>
  <Paragraphs>1780</Paragraphs>
  <Slides>114</Slides>
  <Notes>46</Notes>
  <HiddenSlides>0</HiddenSlides>
  <MMClips>0</MMClips>
  <ScaleCrop>false</ScaleCrop>
  <HeadingPairs>
    <vt:vector size="8" baseType="variant">
      <vt:variant>
        <vt:lpstr>Fonts Used</vt:lpstr>
      </vt:variant>
      <vt:variant>
        <vt:i4>29</vt:i4>
      </vt:variant>
      <vt:variant>
        <vt:lpstr>Theme</vt:lpstr>
      </vt:variant>
      <vt:variant>
        <vt:i4>5</vt:i4>
      </vt:variant>
      <vt:variant>
        <vt:lpstr>Embedded OLE Servers</vt:lpstr>
      </vt:variant>
      <vt:variant>
        <vt:i4>1</vt:i4>
      </vt:variant>
      <vt:variant>
        <vt:lpstr>Slide Titles</vt:lpstr>
      </vt:variant>
      <vt:variant>
        <vt:i4>114</vt:i4>
      </vt:variant>
    </vt:vector>
  </HeadingPairs>
  <TitlesOfParts>
    <vt:vector size="149" baseType="lpstr">
      <vt:lpstr>맑은 고딕</vt:lpstr>
      <vt:lpstr>Adobe Fan Heiti Std B</vt:lpstr>
      <vt:lpstr>Arial</vt:lpstr>
      <vt:lpstr>Arial Unicode MS</vt:lpstr>
      <vt:lpstr>Bahnschrift Light</vt:lpstr>
      <vt:lpstr>Calibri</vt:lpstr>
      <vt:lpstr>Calibri Light</vt:lpstr>
      <vt:lpstr>Calisto MT</vt:lpstr>
      <vt:lpstr>Gotham Bold</vt:lpstr>
      <vt:lpstr>Gotham Book</vt:lpstr>
      <vt:lpstr>Gotham Medium</vt:lpstr>
      <vt:lpstr>Gotham Narrow Book</vt:lpstr>
      <vt:lpstr>Gotham Narrow Medium</vt:lpstr>
      <vt:lpstr>Lato</vt:lpstr>
      <vt:lpstr>Lato Black</vt:lpstr>
      <vt:lpstr>Livvic</vt:lpstr>
      <vt:lpstr>Monotype Corsiva</vt:lpstr>
      <vt:lpstr>Montserrat</vt:lpstr>
      <vt:lpstr>Montserrat Black</vt:lpstr>
      <vt:lpstr>Montserrat ExtraBold</vt:lpstr>
      <vt:lpstr>Montserrat ExtraLight</vt:lpstr>
      <vt:lpstr>Montserrat Light</vt:lpstr>
      <vt:lpstr>Montserrat Medium</vt:lpstr>
      <vt:lpstr>Montserrat SemiBold</vt:lpstr>
      <vt:lpstr>Quattrocento Sans</vt:lpstr>
      <vt:lpstr>Segoe UI</vt:lpstr>
      <vt:lpstr>Times New Roman</vt:lpstr>
      <vt:lpstr>Verdana</vt:lpstr>
      <vt:lpstr>Wingdings</vt:lpstr>
      <vt:lpstr>Office Theme</vt:lpstr>
      <vt:lpstr>1_Office Theme</vt:lpstr>
      <vt:lpstr>Contents Slide Master</vt:lpstr>
      <vt:lpstr>Chef CV by Slides Go</vt:lpstr>
      <vt:lpstr>4_Contents Slide Master</vt:lpstr>
      <vt:lpstr>think-cell Slide</vt:lpstr>
      <vt:lpstr>PowerPoint Presentation</vt:lpstr>
      <vt:lpstr>PowerPoint Presentation</vt:lpstr>
      <vt:lpstr>PowerPoint Presentation</vt:lpstr>
      <vt:lpstr>PowerPoint Presentation</vt:lpstr>
      <vt:lpstr>PowerPoint Presentation</vt:lpstr>
      <vt:lpstr>Misconceptions /  Myths about Engineering</vt:lpstr>
      <vt:lpstr>PowerPoint Presentation</vt:lpstr>
      <vt:lpstr>Engineering at its Best</vt:lpstr>
      <vt:lpstr>PowerPoint Presentation</vt:lpstr>
      <vt:lpstr>Career Opportunities after  Engineering?</vt:lpstr>
      <vt:lpstr>PowerPoint Presentation</vt:lpstr>
      <vt:lpstr>PowerPoint Presentation</vt:lpstr>
      <vt:lpstr>PowerPoint Presentation</vt:lpstr>
      <vt:lpstr>Employment Opportunities for Indians</vt:lpstr>
      <vt:lpstr>Situation After COVID-19</vt:lpstr>
      <vt:lpstr>National Electronics Policies</vt:lpstr>
      <vt:lpstr>National Electronics Policies 2019</vt:lpstr>
      <vt:lpstr>What is Engineering?</vt:lpstr>
      <vt:lpstr>What is Engineering?</vt:lpstr>
      <vt:lpstr>Who are Engineers?</vt:lpstr>
      <vt:lpstr>Exploring Careers in Engineering</vt:lpstr>
      <vt:lpstr>What are various Branches of Engineering?</vt:lpstr>
      <vt:lpstr>PowerPoint Presentation</vt:lpstr>
      <vt:lpstr>PowerPoint Presentation</vt:lpstr>
      <vt:lpstr>Civil Engineering</vt:lpstr>
      <vt:lpstr>PowerPoint Presentation</vt:lpstr>
      <vt:lpstr>Civil Engineering Scop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ther Specific Branches of Engineering </vt:lpstr>
      <vt:lpstr>Eligibility Criteria for Engineering</vt:lpstr>
      <vt:lpstr>Eligibility Criteria</vt:lpstr>
      <vt:lpstr>Eligibility Criteria for Diploma Holders </vt:lpstr>
      <vt:lpstr>Distribution of Seats</vt:lpstr>
      <vt:lpstr>PowerPoint Presentation</vt:lpstr>
      <vt:lpstr>PowerPoint Presentation</vt:lpstr>
      <vt:lpstr>PowerPoint Presentation</vt:lpstr>
      <vt:lpstr>Seat Matrix</vt:lpstr>
      <vt:lpstr>PowerPoint Presentation</vt:lpstr>
      <vt:lpstr>PowerPoint Presentation</vt:lpstr>
      <vt:lpstr>PowerPoint Presentation</vt:lpstr>
      <vt:lpstr>PowerPoint Presentation</vt:lpstr>
      <vt:lpstr>What is TFWS &amp; EWS</vt:lpstr>
      <vt:lpstr>PowerPoint Presentation</vt:lpstr>
      <vt:lpstr>PowerPoint Presentation</vt:lpstr>
      <vt:lpstr>Various Scholarships Available from Government</vt:lpstr>
      <vt:lpstr>PowerPoint Presentation</vt:lpstr>
      <vt:lpstr>MHT-CET Analysis</vt:lpstr>
      <vt:lpstr>MHT-CET 2021 Analysis</vt:lpstr>
      <vt:lpstr>MHT-CET 2021: Category wise Student Rankers </vt:lpstr>
      <vt:lpstr>PowerPoint Presentation</vt:lpstr>
      <vt:lpstr>State Rank of MHT-CET-2021</vt:lpstr>
      <vt:lpstr>CAP 2020  SML Numbers </vt:lpstr>
      <vt:lpstr>Cut Offs of Top Colleges</vt:lpstr>
      <vt:lpstr>Last Year Cut Offs – CAP Round-I</vt:lpstr>
      <vt:lpstr>Last Year Cut Offs – CAP Round-I</vt:lpstr>
      <vt:lpstr>Last Year Cut Offs – CAP Round-I</vt:lpstr>
      <vt:lpstr>Last Year Cut Offs – CAP Round-I</vt:lpstr>
      <vt:lpstr>Centralized Admission Process (CAP) 2021-2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YP</dc:creator>
  <cp:lastModifiedBy>D Y Patil Group , Kolhapur</cp:lastModifiedBy>
  <cp:revision>2056</cp:revision>
  <dcterms:created xsi:type="dcterms:W3CDTF">2006-08-16T00:00:00Z</dcterms:created>
  <dcterms:modified xsi:type="dcterms:W3CDTF">2021-10-28T09:02:49Z</dcterms:modified>
</cp:coreProperties>
</file>